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0.xml" ContentType="application/vnd.openxmlformats-officedocument.presentationml.notesSlide+xml"/>
  <Override PartName="/ppt/charts/chart3.xml" ContentType="application/vnd.openxmlformats-officedocument.drawingml.chart+xml"/>
  <Override PartName="/ppt/tags/tag29.xml" ContentType="application/vnd.openxmlformats-officedocument.presentationml.tags+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7.xml" ContentType="application/vnd.openxmlformats-officedocument.presentationml.tags+xml"/>
  <Override PartName="/ppt/notesSlides/notesSlide1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8.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9.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3.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4.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25.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26.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7.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28.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29.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32.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33.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34.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3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36.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37.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38.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39.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40.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4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42.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43.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44.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45.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46.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47.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48.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49.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1" r:id="rId1"/>
    <p:sldMasterId id="2147483648" r:id="rId2"/>
  </p:sldMasterIdLst>
  <p:notesMasterIdLst>
    <p:notesMasterId r:id="rId55"/>
  </p:notesMasterIdLst>
  <p:sldIdLst>
    <p:sldId id="317" r:id="rId3"/>
    <p:sldId id="3322" r:id="rId4"/>
    <p:sldId id="362" r:id="rId5"/>
    <p:sldId id="318" r:id="rId6"/>
    <p:sldId id="319" r:id="rId7"/>
    <p:sldId id="320" r:id="rId8"/>
    <p:sldId id="321" r:id="rId9"/>
    <p:sldId id="322" r:id="rId10"/>
    <p:sldId id="323" r:id="rId11"/>
    <p:sldId id="324" r:id="rId12"/>
    <p:sldId id="325" r:id="rId13"/>
    <p:sldId id="4622" r:id="rId14"/>
    <p:sldId id="4623" r:id="rId15"/>
    <p:sldId id="327" r:id="rId16"/>
    <p:sldId id="4627" r:id="rId17"/>
    <p:sldId id="4624" r:id="rId18"/>
    <p:sldId id="328" r:id="rId19"/>
    <p:sldId id="4625" r:id="rId20"/>
    <p:sldId id="329" r:id="rId21"/>
    <p:sldId id="331" r:id="rId22"/>
    <p:sldId id="332" r:id="rId23"/>
    <p:sldId id="4628" r:id="rId24"/>
    <p:sldId id="333" r:id="rId25"/>
    <p:sldId id="334" r:id="rId26"/>
    <p:sldId id="335" r:id="rId27"/>
    <p:sldId id="336" r:id="rId28"/>
    <p:sldId id="337" r:id="rId29"/>
    <p:sldId id="338" r:id="rId30"/>
    <p:sldId id="339" r:id="rId31"/>
    <p:sldId id="340" r:id="rId32"/>
    <p:sldId id="341" r:id="rId33"/>
    <p:sldId id="342" r:id="rId34"/>
    <p:sldId id="343" r:id="rId35"/>
    <p:sldId id="344" r:id="rId36"/>
    <p:sldId id="345" r:id="rId37"/>
    <p:sldId id="346" r:id="rId38"/>
    <p:sldId id="347" r:id="rId39"/>
    <p:sldId id="4626" r:id="rId40"/>
    <p:sldId id="348" r:id="rId41"/>
    <p:sldId id="349" r:id="rId42"/>
    <p:sldId id="350" r:id="rId43"/>
    <p:sldId id="351" r:id="rId44"/>
    <p:sldId id="352" r:id="rId45"/>
    <p:sldId id="353" r:id="rId46"/>
    <p:sldId id="4619" r:id="rId47"/>
    <p:sldId id="4620" r:id="rId48"/>
    <p:sldId id="4616" r:id="rId49"/>
    <p:sldId id="4618" r:id="rId50"/>
    <p:sldId id="4617" r:id="rId51"/>
    <p:sldId id="4621" r:id="rId52"/>
    <p:sldId id="361" r:id="rId53"/>
    <p:sldId id="4278" r:id="rId54"/>
  </p:sldIdLst>
  <p:sldSz cx="12192000" cy="6858000"/>
  <p:notesSz cx="9929813" cy="679767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5C2C"/>
    <a:srgbClr val="E53292"/>
    <a:srgbClr val="245473"/>
    <a:srgbClr val="E64D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ADB7D4-CCC6-4396-A50F-0A28491CEAE9}" v="1715" dt="2020-11-23T15:51:13.046"/>
    <p1510:client id="{48E4E262-EF5E-4DCC-8585-C7C293F726C4}" v="57" dt="2020-11-23T07:52:01.668"/>
    <p1510:client id="{E9448D18-A68A-4951-B59F-967B57E9829C}" v="5" dt="2020-11-23T17:04:45.4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40"/>
    <p:restoredTop sz="94689"/>
  </p:normalViewPr>
  <p:slideViewPr>
    <p:cSldViewPr snapToGrid="0" snapToObjects="1">
      <p:cViewPr>
        <p:scale>
          <a:sx n="66" d="100"/>
          <a:sy n="66" d="100"/>
        </p:scale>
        <p:origin x="-876" y="75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viewProps" Target="viewProps.xml"/><Relationship Id="rId61"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enos Zenica" userId="de3ee720dba36952" providerId="Windows Live" clId="Web-{24ADB7D4-CCC6-4396-A50F-0A28491CEAE9}"/>
    <pc:docChg chg="addSld delSld modSld addMainMaster modMainMaster">
      <pc:chgData name="Zenos Zenica" userId="de3ee720dba36952" providerId="Windows Live" clId="Web-{24ADB7D4-CCC6-4396-A50F-0A28491CEAE9}" dt="2020-11-23T15:51:13.046" v="1638" actId="1076"/>
      <pc:docMkLst>
        <pc:docMk/>
      </pc:docMkLst>
      <pc:sldChg chg="modSp add">
        <pc:chgData name="Zenos Zenica" userId="de3ee720dba36952" providerId="Windows Live" clId="Web-{24ADB7D4-CCC6-4396-A50F-0A28491CEAE9}" dt="2020-11-23T14:18:45.071" v="58" actId="1076"/>
        <pc:sldMkLst>
          <pc:docMk/>
          <pc:sldMk cId="469792788" sldId="318"/>
        </pc:sldMkLst>
        <pc:spChg chg="mod">
          <ac:chgData name="Zenos Zenica" userId="de3ee720dba36952" providerId="Windows Live" clId="Web-{24ADB7D4-CCC6-4396-A50F-0A28491CEAE9}" dt="2020-11-23T14:17:26.834" v="57" actId="1076"/>
          <ac:spMkLst>
            <pc:docMk/>
            <pc:sldMk cId="469792788" sldId="318"/>
            <ac:spMk id="16" creationId="{E83E83C3-E01A-44F1-95FF-6540BC8C3EAB}"/>
          </ac:spMkLst>
        </pc:spChg>
        <pc:spChg chg="mod">
          <ac:chgData name="Zenos Zenica" userId="de3ee720dba36952" providerId="Windows Live" clId="Web-{24ADB7D4-CCC6-4396-A50F-0A28491CEAE9}" dt="2020-11-23T14:18:45.071" v="58" actId="1076"/>
          <ac:spMkLst>
            <pc:docMk/>
            <pc:sldMk cId="469792788" sldId="318"/>
            <ac:spMk id="39" creationId="{287F9887-A65E-48BD-ADD4-5093959DEDBA}"/>
          </ac:spMkLst>
        </pc:spChg>
      </pc:sldChg>
      <pc:sldChg chg="modSp add">
        <pc:chgData name="Zenos Zenica" userId="de3ee720dba36952" providerId="Windows Live" clId="Web-{24ADB7D4-CCC6-4396-A50F-0A28491CEAE9}" dt="2020-11-23T14:26:13.099" v="146" actId="1076"/>
        <pc:sldMkLst>
          <pc:docMk/>
          <pc:sldMk cId="2025455951" sldId="319"/>
        </pc:sldMkLst>
        <pc:spChg chg="mod">
          <ac:chgData name="Zenos Zenica" userId="de3ee720dba36952" providerId="Windows Live" clId="Web-{24ADB7D4-CCC6-4396-A50F-0A28491CEAE9}" dt="2020-11-23T14:20:48.277" v="87" actId="1076"/>
          <ac:spMkLst>
            <pc:docMk/>
            <pc:sldMk cId="2025455951" sldId="319"/>
            <ac:spMk id="16" creationId="{E83E83C3-E01A-44F1-95FF-6540BC8C3EAB}"/>
          </ac:spMkLst>
        </pc:spChg>
        <pc:spChg chg="mod">
          <ac:chgData name="Zenos Zenica" userId="de3ee720dba36952" providerId="Windows Live" clId="Web-{24ADB7D4-CCC6-4396-A50F-0A28491CEAE9}" dt="2020-11-23T14:19:19.134" v="65" actId="1076"/>
          <ac:spMkLst>
            <pc:docMk/>
            <pc:sldMk cId="2025455951" sldId="319"/>
            <ac:spMk id="39" creationId="{287F9887-A65E-48BD-ADD4-5093959DEDBA}"/>
          </ac:spMkLst>
        </pc:spChg>
        <pc:spChg chg="mod">
          <ac:chgData name="Zenos Zenica" userId="de3ee720dba36952" providerId="Windows Live" clId="Web-{24ADB7D4-CCC6-4396-A50F-0A28491CEAE9}" dt="2020-11-23T14:24:42.284" v="126" actId="1076"/>
          <ac:spMkLst>
            <pc:docMk/>
            <pc:sldMk cId="2025455951" sldId="319"/>
            <ac:spMk id="40" creationId="{60829DA5-747B-411D-B310-0B3146C21E06}"/>
          </ac:spMkLst>
        </pc:spChg>
        <pc:spChg chg="mod">
          <ac:chgData name="Zenos Zenica" userId="de3ee720dba36952" providerId="Windows Live" clId="Web-{24ADB7D4-CCC6-4396-A50F-0A28491CEAE9}" dt="2020-11-23T14:24:52.238" v="128" actId="1076"/>
          <ac:spMkLst>
            <pc:docMk/>
            <pc:sldMk cId="2025455951" sldId="319"/>
            <ac:spMk id="41" creationId="{4693302B-6BC8-4DE7-BB5E-73109A86262D}"/>
          </ac:spMkLst>
        </pc:spChg>
        <pc:spChg chg="mod">
          <ac:chgData name="Zenos Zenica" userId="de3ee720dba36952" providerId="Windows Live" clId="Web-{24ADB7D4-CCC6-4396-A50F-0A28491CEAE9}" dt="2020-11-23T14:24:58.972" v="129" actId="14100"/>
          <ac:spMkLst>
            <pc:docMk/>
            <pc:sldMk cId="2025455951" sldId="319"/>
            <ac:spMk id="42" creationId="{423FD4EB-5F4D-4F01-91D2-B9F8AB81EE46}"/>
          </ac:spMkLst>
        </pc:spChg>
        <pc:spChg chg="mod">
          <ac:chgData name="Zenos Zenica" userId="de3ee720dba36952" providerId="Windows Live" clId="Web-{24ADB7D4-CCC6-4396-A50F-0A28491CEAE9}" dt="2020-11-23T14:25:05.800" v="130" actId="14100"/>
          <ac:spMkLst>
            <pc:docMk/>
            <pc:sldMk cId="2025455951" sldId="319"/>
            <ac:spMk id="46" creationId="{DC464549-E93E-4B5E-AFF2-961130A7C930}"/>
          </ac:spMkLst>
        </pc:spChg>
        <pc:spChg chg="mod">
          <ac:chgData name="Zenos Zenica" userId="de3ee720dba36952" providerId="Windows Live" clId="Web-{24ADB7D4-CCC6-4396-A50F-0A28491CEAE9}" dt="2020-11-23T14:24:14.986" v="122" actId="14100"/>
          <ac:spMkLst>
            <pc:docMk/>
            <pc:sldMk cId="2025455951" sldId="319"/>
            <ac:spMk id="47" creationId="{FB675DF7-A216-4C6A-8AC4-C3854F782D3E}"/>
          </ac:spMkLst>
        </pc:spChg>
        <pc:spChg chg="mod">
          <ac:chgData name="Zenos Zenica" userId="de3ee720dba36952" providerId="Windows Live" clId="Web-{24ADB7D4-CCC6-4396-A50F-0A28491CEAE9}" dt="2020-11-23T14:23:12.141" v="117" actId="1076"/>
          <ac:spMkLst>
            <pc:docMk/>
            <pc:sldMk cId="2025455951" sldId="319"/>
            <ac:spMk id="48" creationId="{57F94AFC-2691-4D45-88AE-7A103F56AE15}"/>
          </ac:spMkLst>
        </pc:spChg>
        <pc:spChg chg="mod">
          <ac:chgData name="Zenos Zenica" userId="de3ee720dba36952" providerId="Windows Live" clId="Web-{24ADB7D4-CCC6-4396-A50F-0A28491CEAE9}" dt="2020-11-23T14:23:32.657" v="119" actId="14100"/>
          <ac:spMkLst>
            <pc:docMk/>
            <pc:sldMk cId="2025455951" sldId="319"/>
            <ac:spMk id="58" creationId="{EFA26076-B7B2-49EB-A016-D0175ED78C5B}"/>
          </ac:spMkLst>
        </pc:spChg>
        <pc:spChg chg="mod">
          <ac:chgData name="Zenos Zenica" userId="de3ee720dba36952" providerId="Windows Live" clId="Web-{24ADB7D4-CCC6-4396-A50F-0A28491CEAE9}" dt="2020-11-23T14:23:02.562" v="115" actId="1076"/>
          <ac:spMkLst>
            <pc:docMk/>
            <pc:sldMk cId="2025455951" sldId="319"/>
            <ac:spMk id="59" creationId="{DBAEA3BA-F31C-4415-B529-B23C4EC31F59}"/>
          </ac:spMkLst>
        </pc:spChg>
        <pc:spChg chg="mod">
          <ac:chgData name="Zenos Zenica" userId="de3ee720dba36952" providerId="Windows Live" clId="Web-{24ADB7D4-CCC6-4396-A50F-0A28491CEAE9}" dt="2020-11-23T14:25:32.817" v="136" actId="1076"/>
          <ac:spMkLst>
            <pc:docMk/>
            <pc:sldMk cId="2025455951" sldId="319"/>
            <ac:spMk id="60" creationId="{C3B0560B-5975-49BA-B477-70366EA994B9}"/>
          </ac:spMkLst>
        </pc:spChg>
        <pc:spChg chg="mod">
          <ac:chgData name="Zenos Zenica" userId="de3ee720dba36952" providerId="Windows Live" clId="Web-{24ADB7D4-CCC6-4396-A50F-0A28491CEAE9}" dt="2020-11-23T14:25:36.754" v="137" actId="1076"/>
          <ac:spMkLst>
            <pc:docMk/>
            <pc:sldMk cId="2025455951" sldId="319"/>
            <ac:spMk id="61" creationId="{78CCA143-2DD7-4C11-BD53-3B598DB66D2F}"/>
          </ac:spMkLst>
        </pc:spChg>
        <pc:spChg chg="mod">
          <ac:chgData name="Zenos Zenica" userId="de3ee720dba36952" providerId="Windows Live" clId="Web-{24ADB7D4-CCC6-4396-A50F-0A28491CEAE9}" dt="2020-11-23T14:23:22.063" v="118" actId="1076"/>
          <ac:spMkLst>
            <pc:docMk/>
            <pc:sldMk cId="2025455951" sldId="319"/>
            <ac:spMk id="62" creationId="{21DD1B98-6F13-4CBF-981B-768F20C059D3}"/>
          </ac:spMkLst>
        </pc:spChg>
        <pc:spChg chg="mod">
          <ac:chgData name="Zenos Zenica" userId="de3ee720dba36952" providerId="Windows Live" clId="Web-{24ADB7D4-CCC6-4396-A50F-0A28491CEAE9}" dt="2020-11-23T14:24:25.549" v="124"/>
          <ac:spMkLst>
            <pc:docMk/>
            <pc:sldMk cId="2025455951" sldId="319"/>
            <ac:spMk id="63" creationId="{29DD96F9-21FF-4B97-812F-268C253996F1}"/>
          </ac:spMkLst>
        </pc:spChg>
        <pc:spChg chg="mod">
          <ac:chgData name="Zenos Zenica" userId="de3ee720dba36952" providerId="Windows Live" clId="Web-{24ADB7D4-CCC6-4396-A50F-0A28491CEAE9}" dt="2020-11-23T14:26:13.099" v="146" actId="1076"/>
          <ac:spMkLst>
            <pc:docMk/>
            <pc:sldMk cId="2025455951" sldId="319"/>
            <ac:spMk id="64" creationId="{82000785-4B05-4E11-8F8B-778B196268FB}"/>
          </ac:spMkLst>
        </pc:spChg>
        <pc:spChg chg="mod">
          <ac:chgData name="Zenos Zenica" userId="de3ee720dba36952" providerId="Windows Live" clId="Web-{24ADB7D4-CCC6-4396-A50F-0A28491CEAE9}" dt="2020-11-23T14:26:03.365" v="144" actId="20577"/>
          <ac:spMkLst>
            <pc:docMk/>
            <pc:sldMk cId="2025455951" sldId="319"/>
            <ac:spMk id="65" creationId="{790652BD-A226-41DA-BDDD-A61E716D9ED7}"/>
          </ac:spMkLst>
        </pc:spChg>
        <pc:spChg chg="mod">
          <ac:chgData name="Zenos Zenica" userId="de3ee720dba36952" providerId="Windows Live" clId="Web-{24ADB7D4-CCC6-4396-A50F-0A28491CEAE9}" dt="2020-11-23T14:20:26.699" v="84" actId="20577"/>
          <ac:spMkLst>
            <pc:docMk/>
            <pc:sldMk cId="2025455951" sldId="319"/>
            <ac:spMk id="66" creationId="{5BC8156D-5D0A-4FE8-BD26-092F6DD3D9F0}"/>
          </ac:spMkLst>
        </pc:spChg>
        <pc:grpChg chg="mod">
          <ac:chgData name="Zenos Zenica" userId="de3ee720dba36952" providerId="Windows Live" clId="Web-{24ADB7D4-CCC6-4396-A50F-0A28491CEAE9}" dt="2020-11-23T14:24:46.784" v="127" actId="1076"/>
          <ac:grpSpMkLst>
            <pc:docMk/>
            <pc:sldMk cId="2025455951" sldId="319"/>
            <ac:grpSpMk id="6" creationId="{E12BF028-3F18-4A0D-910A-31226A542013}"/>
          </ac:grpSpMkLst>
        </pc:grpChg>
      </pc:sldChg>
      <pc:sldChg chg="modSp add">
        <pc:chgData name="Zenos Zenica" userId="de3ee720dba36952" providerId="Windows Live" clId="Web-{24ADB7D4-CCC6-4396-A50F-0A28491CEAE9}" dt="2020-11-23T14:31:48.453" v="250" actId="1076"/>
        <pc:sldMkLst>
          <pc:docMk/>
          <pc:sldMk cId="2965161027" sldId="320"/>
        </pc:sldMkLst>
        <pc:spChg chg="mod">
          <ac:chgData name="Zenos Zenica" userId="de3ee720dba36952" providerId="Windows Live" clId="Web-{24ADB7D4-CCC6-4396-A50F-0A28491CEAE9}" dt="2020-11-23T14:31:48.453" v="250" actId="1076"/>
          <ac:spMkLst>
            <pc:docMk/>
            <pc:sldMk cId="2965161027" sldId="320"/>
            <ac:spMk id="16" creationId="{E83E83C3-E01A-44F1-95FF-6540BC8C3EAB}"/>
          </ac:spMkLst>
        </pc:spChg>
        <pc:spChg chg="mod">
          <ac:chgData name="Zenos Zenica" userId="de3ee720dba36952" providerId="Windows Live" clId="Web-{24ADB7D4-CCC6-4396-A50F-0A28491CEAE9}" dt="2020-11-23T14:29:36.668" v="202" actId="14100"/>
          <ac:spMkLst>
            <pc:docMk/>
            <pc:sldMk cId="2965161027" sldId="320"/>
            <ac:spMk id="23" creationId="{45A0FE69-72F5-4A79-AE02-A43F3F7190CD}"/>
          </ac:spMkLst>
        </pc:spChg>
        <pc:spChg chg="mod">
          <ac:chgData name="Zenos Zenica" userId="de3ee720dba36952" providerId="Windows Live" clId="Web-{24ADB7D4-CCC6-4396-A50F-0A28491CEAE9}" dt="2020-11-23T14:29:36.621" v="201" actId="1076"/>
          <ac:spMkLst>
            <pc:docMk/>
            <pc:sldMk cId="2965161027" sldId="320"/>
            <ac:spMk id="24" creationId="{7C25B049-5F8D-4304-9191-08CDED88B907}"/>
          </ac:spMkLst>
        </pc:spChg>
        <pc:spChg chg="mod">
          <ac:chgData name="Zenos Zenica" userId="de3ee720dba36952" providerId="Windows Live" clId="Web-{24ADB7D4-CCC6-4396-A50F-0A28491CEAE9}" dt="2020-11-23T14:28:18.540" v="192" actId="1076"/>
          <ac:spMkLst>
            <pc:docMk/>
            <pc:sldMk cId="2965161027" sldId="320"/>
            <ac:spMk id="25" creationId="{3AECC8B1-9660-4C92-A142-1CB15CEDD314}"/>
          </ac:spMkLst>
        </pc:spChg>
        <pc:spChg chg="mod">
          <ac:chgData name="Zenos Zenica" userId="de3ee720dba36952" providerId="Windows Live" clId="Web-{24ADB7D4-CCC6-4396-A50F-0A28491CEAE9}" dt="2020-11-23T14:29:37.480" v="203" actId="1076"/>
          <ac:spMkLst>
            <pc:docMk/>
            <pc:sldMk cId="2965161027" sldId="320"/>
            <ac:spMk id="27" creationId="{9D2C1986-4F59-4557-B92A-021FDD40E5CD}"/>
          </ac:spMkLst>
        </pc:spChg>
        <pc:spChg chg="mod">
          <ac:chgData name="Zenos Zenica" userId="de3ee720dba36952" providerId="Windows Live" clId="Web-{24ADB7D4-CCC6-4396-A50F-0A28491CEAE9}" dt="2020-11-23T14:29:37.886" v="214" actId="14100"/>
          <ac:spMkLst>
            <pc:docMk/>
            <pc:sldMk cId="2965161027" sldId="320"/>
            <ac:spMk id="28" creationId="{6E2A66DA-AAFA-4E43-A8A6-C08542182F95}"/>
          </ac:spMkLst>
        </pc:spChg>
        <pc:spChg chg="mod">
          <ac:chgData name="Zenos Zenica" userId="de3ee720dba36952" providerId="Windows Live" clId="Web-{24ADB7D4-CCC6-4396-A50F-0A28491CEAE9}" dt="2020-11-23T14:27:32.508" v="175" actId="14100"/>
          <ac:spMkLst>
            <pc:docMk/>
            <pc:sldMk cId="2965161027" sldId="320"/>
            <ac:spMk id="29" creationId="{0F236B4A-D890-4EC9-B558-9E02F0497973}"/>
          </ac:spMkLst>
        </pc:spChg>
        <pc:spChg chg="mod">
          <ac:chgData name="Zenos Zenica" userId="de3ee720dba36952" providerId="Windows Live" clId="Web-{24ADB7D4-CCC6-4396-A50F-0A28491CEAE9}" dt="2020-11-23T14:27:42.664" v="177" actId="1076"/>
          <ac:spMkLst>
            <pc:docMk/>
            <pc:sldMk cId="2965161027" sldId="320"/>
            <ac:spMk id="30" creationId="{E7D447B0-6C13-4816-B9AE-5C70502B44D5}"/>
          </ac:spMkLst>
        </pc:spChg>
        <pc:spChg chg="mod">
          <ac:chgData name="Zenos Zenica" userId="de3ee720dba36952" providerId="Windows Live" clId="Web-{24ADB7D4-CCC6-4396-A50F-0A28491CEAE9}" dt="2020-11-23T14:28:05.556" v="189" actId="1076"/>
          <ac:spMkLst>
            <pc:docMk/>
            <pc:sldMk cId="2965161027" sldId="320"/>
            <ac:spMk id="31" creationId="{7B778120-2DC9-42C5-A665-B02D02270E11}"/>
          </ac:spMkLst>
        </pc:spChg>
        <pc:spChg chg="mod">
          <ac:chgData name="Zenos Zenica" userId="de3ee720dba36952" providerId="Windows Live" clId="Web-{24ADB7D4-CCC6-4396-A50F-0A28491CEAE9}" dt="2020-11-23T14:28:09.040" v="190" actId="1076"/>
          <ac:spMkLst>
            <pc:docMk/>
            <pc:sldMk cId="2965161027" sldId="320"/>
            <ac:spMk id="33" creationId="{7906442B-13FB-4C4C-9EDC-4C16C018050D}"/>
          </ac:spMkLst>
        </pc:spChg>
        <pc:spChg chg="mod">
          <ac:chgData name="Zenos Zenica" userId="de3ee720dba36952" providerId="Windows Live" clId="Web-{24ADB7D4-CCC6-4396-A50F-0A28491CEAE9}" dt="2020-11-23T14:28:00.040" v="186" actId="20577"/>
          <ac:spMkLst>
            <pc:docMk/>
            <pc:sldMk cId="2965161027" sldId="320"/>
            <ac:spMk id="34" creationId="{8F6E910E-0943-41FE-976C-CC73D2EB1A76}"/>
          </ac:spMkLst>
        </pc:spChg>
        <pc:spChg chg="mod">
          <ac:chgData name="Zenos Zenica" userId="de3ee720dba36952" providerId="Windows Live" clId="Web-{24ADB7D4-CCC6-4396-A50F-0A28491CEAE9}" dt="2020-11-23T14:30:11.622" v="220" actId="14100"/>
          <ac:spMkLst>
            <pc:docMk/>
            <pc:sldMk cId="2965161027" sldId="320"/>
            <ac:spMk id="35" creationId="{647E2B95-C802-4ED7-8721-B804429F0331}"/>
          </ac:spMkLst>
        </pc:spChg>
        <pc:spChg chg="mod">
          <ac:chgData name="Zenos Zenica" userId="de3ee720dba36952" providerId="Windows Live" clId="Web-{24ADB7D4-CCC6-4396-A50F-0A28491CEAE9}" dt="2020-11-23T14:30:43.857" v="226" actId="1076"/>
          <ac:spMkLst>
            <pc:docMk/>
            <pc:sldMk cId="2965161027" sldId="320"/>
            <ac:spMk id="36" creationId="{285FC458-EFB1-4D75-B57C-C24A124897A1}"/>
          </ac:spMkLst>
        </pc:spChg>
        <pc:spChg chg="mod">
          <ac:chgData name="Zenos Zenica" userId="de3ee720dba36952" providerId="Windows Live" clId="Web-{24ADB7D4-CCC6-4396-A50F-0A28491CEAE9}" dt="2020-11-23T14:26:35.147" v="159" actId="14100"/>
          <ac:spMkLst>
            <pc:docMk/>
            <pc:sldMk cId="2965161027" sldId="320"/>
            <ac:spMk id="37" creationId="{7346BE2A-D897-4C05-B74D-9B47012AB7F9}"/>
          </ac:spMkLst>
        </pc:spChg>
        <pc:spChg chg="mod">
          <ac:chgData name="Zenos Zenica" userId="de3ee720dba36952" providerId="Windows Live" clId="Web-{24ADB7D4-CCC6-4396-A50F-0A28491CEAE9}" dt="2020-11-23T14:26:35.162" v="160" actId="14100"/>
          <ac:spMkLst>
            <pc:docMk/>
            <pc:sldMk cId="2965161027" sldId="320"/>
            <ac:spMk id="43" creationId="{320AC777-3668-4D7C-8D01-60212166A5A5}"/>
          </ac:spMkLst>
        </pc:spChg>
        <pc:spChg chg="mod">
          <ac:chgData name="Zenos Zenica" userId="de3ee720dba36952" providerId="Windows Live" clId="Web-{24ADB7D4-CCC6-4396-A50F-0A28491CEAE9}" dt="2020-11-23T14:30:58.779" v="231" actId="14100"/>
          <ac:spMkLst>
            <pc:docMk/>
            <pc:sldMk cId="2965161027" sldId="320"/>
            <ac:spMk id="44" creationId="{3CCECADB-2EC2-4FD7-8087-4FD1511C2B51}"/>
          </ac:spMkLst>
        </pc:spChg>
      </pc:sldChg>
      <pc:sldChg chg="modSp add">
        <pc:chgData name="Zenos Zenica" userId="de3ee720dba36952" providerId="Windows Live" clId="Web-{24ADB7D4-CCC6-4396-A50F-0A28491CEAE9}" dt="2020-11-23T14:34:43.833" v="285" actId="1076"/>
        <pc:sldMkLst>
          <pc:docMk/>
          <pc:sldMk cId="2437801432" sldId="321"/>
        </pc:sldMkLst>
        <pc:spChg chg="mod">
          <ac:chgData name="Zenos Zenica" userId="de3ee720dba36952" providerId="Windows Live" clId="Web-{24ADB7D4-CCC6-4396-A50F-0A28491CEAE9}" dt="2020-11-23T14:34:43.833" v="285" actId="1076"/>
          <ac:spMkLst>
            <pc:docMk/>
            <pc:sldMk cId="2437801432" sldId="321"/>
            <ac:spMk id="16" creationId="{E83E83C3-E01A-44F1-95FF-6540BC8C3EAB}"/>
          </ac:spMkLst>
        </pc:spChg>
        <pc:spChg chg="mod">
          <ac:chgData name="Zenos Zenica" userId="de3ee720dba36952" providerId="Windows Live" clId="Web-{24ADB7D4-CCC6-4396-A50F-0A28491CEAE9}" dt="2020-11-23T14:33:40.987" v="267" actId="1076"/>
          <ac:spMkLst>
            <pc:docMk/>
            <pc:sldMk cId="2437801432" sldId="321"/>
            <ac:spMk id="21" creationId="{E3E1D45F-C3DB-4C2C-9BD9-D0ED318F7971}"/>
          </ac:spMkLst>
        </pc:spChg>
        <pc:spChg chg="mod">
          <ac:chgData name="Zenos Zenica" userId="de3ee720dba36952" providerId="Windows Live" clId="Web-{24ADB7D4-CCC6-4396-A50F-0A28491CEAE9}" dt="2020-11-23T14:33:36.612" v="266" actId="1076"/>
          <ac:spMkLst>
            <pc:docMk/>
            <pc:sldMk cId="2437801432" sldId="321"/>
            <ac:spMk id="26" creationId="{E42323D5-61D2-4C36-8CAC-914D9A0BE683}"/>
          </ac:spMkLst>
        </pc:spChg>
        <pc:spChg chg="mod">
          <ac:chgData name="Zenos Zenica" userId="de3ee720dba36952" providerId="Windows Live" clId="Web-{24ADB7D4-CCC6-4396-A50F-0A28491CEAE9}" dt="2020-11-23T14:33:33.206" v="265" actId="1076"/>
          <ac:spMkLst>
            <pc:docMk/>
            <pc:sldMk cId="2437801432" sldId="321"/>
            <ac:spMk id="32" creationId="{68FF770E-5432-4219-8467-E0C7E8C2981C}"/>
          </ac:spMkLst>
        </pc:spChg>
        <pc:spChg chg="mod">
          <ac:chgData name="Zenos Zenica" userId="de3ee720dba36952" providerId="Windows Live" clId="Web-{24ADB7D4-CCC6-4396-A50F-0A28491CEAE9}" dt="2020-11-23T14:33:50.769" v="269" actId="1076"/>
          <ac:spMkLst>
            <pc:docMk/>
            <pc:sldMk cId="2437801432" sldId="321"/>
            <ac:spMk id="51" creationId="{1E04ACF3-59B5-48F9-B9F8-6B8F95B01226}"/>
          </ac:spMkLst>
        </pc:spChg>
        <pc:spChg chg="mod">
          <ac:chgData name="Zenos Zenica" userId="de3ee720dba36952" providerId="Windows Live" clId="Web-{24ADB7D4-CCC6-4396-A50F-0A28491CEAE9}" dt="2020-11-23T14:33:13.830" v="262" actId="1076"/>
          <ac:spMkLst>
            <pc:docMk/>
            <pc:sldMk cId="2437801432" sldId="321"/>
            <ac:spMk id="63" creationId="{27BA9DF7-DCA4-4B9D-9A6D-240D4E91108C}"/>
          </ac:spMkLst>
        </pc:spChg>
        <pc:spChg chg="mod">
          <ac:chgData name="Zenos Zenica" userId="de3ee720dba36952" providerId="Windows Live" clId="Web-{24ADB7D4-CCC6-4396-A50F-0A28491CEAE9}" dt="2020-11-23T14:33:08.424" v="261" actId="1076"/>
          <ac:spMkLst>
            <pc:docMk/>
            <pc:sldMk cId="2437801432" sldId="321"/>
            <ac:spMk id="65" creationId="{1C094B38-AE41-40A7-9C5E-89601D310139}"/>
          </ac:spMkLst>
        </pc:spChg>
        <pc:spChg chg="mod">
          <ac:chgData name="Zenos Zenica" userId="de3ee720dba36952" providerId="Windows Live" clId="Web-{24ADB7D4-CCC6-4396-A50F-0A28491CEAE9}" dt="2020-11-23T14:32:59.986" v="260" actId="1076"/>
          <ac:spMkLst>
            <pc:docMk/>
            <pc:sldMk cId="2437801432" sldId="321"/>
            <ac:spMk id="67" creationId="{C999ABAB-D41E-43EF-9A40-6FE3F3D90D0D}"/>
          </ac:spMkLst>
        </pc:spChg>
        <pc:spChg chg="mod">
          <ac:chgData name="Zenos Zenica" userId="de3ee720dba36952" providerId="Windows Live" clId="Web-{24ADB7D4-CCC6-4396-A50F-0A28491CEAE9}" dt="2020-11-23T14:32:55.158" v="259" actId="1076"/>
          <ac:spMkLst>
            <pc:docMk/>
            <pc:sldMk cId="2437801432" sldId="321"/>
            <ac:spMk id="69" creationId="{D41783AF-E51D-48C2-9CBE-4F3A27672F8F}"/>
          </ac:spMkLst>
        </pc:spChg>
        <pc:spChg chg="mod">
          <ac:chgData name="Zenos Zenica" userId="de3ee720dba36952" providerId="Windows Live" clId="Web-{24ADB7D4-CCC6-4396-A50F-0A28491CEAE9}" dt="2020-11-23T14:32:50.189" v="258" actId="1076"/>
          <ac:spMkLst>
            <pc:docMk/>
            <pc:sldMk cId="2437801432" sldId="321"/>
            <ac:spMk id="71" creationId="{2432F471-9C8C-4EA8-8A91-20104E13C823}"/>
          </ac:spMkLst>
        </pc:spChg>
        <pc:spChg chg="mod">
          <ac:chgData name="Zenos Zenica" userId="de3ee720dba36952" providerId="Windows Live" clId="Web-{24ADB7D4-CCC6-4396-A50F-0A28491CEAE9}" dt="2020-11-23T14:32:46.501" v="257" actId="1076"/>
          <ac:spMkLst>
            <pc:docMk/>
            <pc:sldMk cId="2437801432" sldId="321"/>
            <ac:spMk id="73" creationId="{000BF3B7-154B-4B9C-ABF6-1A2D69D4FA95}"/>
          </ac:spMkLst>
        </pc:spChg>
        <pc:spChg chg="mod">
          <ac:chgData name="Zenos Zenica" userId="de3ee720dba36952" providerId="Windows Live" clId="Web-{24ADB7D4-CCC6-4396-A50F-0A28491CEAE9}" dt="2020-11-23T14:32:42.657" v="256" actId="1076"/>
          <ac:spMkLst>
            <pc:docMk/>
            <pc:sldMk cId="2437801432" sldId="321"/>
            <ac:spMk id="75" creationId="{E8A73395-91BB-4C4B-8B23-758BA381F1BA}"/>
          </ac:spMkLst>
        </pc:spChg>
        <pc:spChg chg="mod">
          <ac:chgData name="Zenos Zenica" userId="de3ee720dba36952" providerId="Windows Live" clId="Web-{24ADB7D4-CCC6-4396-A50F-0A28491CEAE9}" dt="2020-11-23T14:32:38.126" v="255" actId="1076"/>
          <ac:spMkLst>
            <pc:docMk/>
            <pc:sldMk cId="2437801432" sldId="321"/>
            <ac:spMk id="77" creationId="{98EA5BD5-6BEA-47F6-8AB9-A416E522352B}"/>
          </ac:spMkLst>
        </pc:spChg>
        <pc:spChg chg="mod">
          <ac:chgData name="Zenos Zenica" userId="de3ee720dba36952" providerId="Windows Live" clId="Web-{24ADB7D4-CCC6-4396-A50F-0A28491CEAE9}" dt="2020-11-23T14:32:33.501" v="254" actId="1076"/>
          <ac:spMkLst>
            <pc:docMk/>
            <pc:sldMk cId="2437801432" sldId="321"/>
            <ac:spMk id="81" creationId="{167AA7F2-DF88-49B8-A914-A0B065000C96}"/>
          </ac:spMkLst>
        </pc:spChg>
        <pc:spChg chg="mod">
          <ac:chgData name="Zenos Zenica" userId="de3ee720dba36952" providerId="Windows Live" clId="Web-{24ADB7D4-CCC6-4396-A50F-0A28491CEAE9}" dt="2020-11-23T14:33:44.456" v="268" actId="1076"/>
          <ac:spMkLst>
            <pc:docMk/>
            <pc:sldMk cId="2437801432" sldId="321"/>
            <ac:spMk id="101" creationId="{7E4BF5E8-0F01-4230-9BD8-FE7916160986}"/>
          </ac:spMkLst>
        </pc:spChg>
        <pc:spChg chg="mod">
          <ac:chgData name="Zenos Zenica" userId="de3ee720dba36952" providerId="Windows Live" clId="Web-{24ADB7D4-CCC6-4396-A50F-0A28491CEAE9}" dt="2020-11-23T14:33:20.268" v="263" actId="1076"/>
          <ac:spMkLst>
            <pc:docMk/>
            <pc:sldMk cId="2437801432" sldId="321"/>
            <ac:spMk id="102" creationId="{F78EB88B-14CD-41DE-976C-EC5300EF26CE}"/>
          </ac:spMkLst>
        </pc:spChg>
        <pc:spChg chg="mod">
          <ac:chgData name="Zenos Zenica" userId="de3ee720dba36952" providerId="Windows Live" clId="Web-{24ADB7D4-CCC6-4396-A50F-0A28491CEAE9}" dt="2020-11-23T14:33:25.565" v="264" actId="1076"/>
          <ac:spMkLst>
            <pc:docMk/>
            <pc:sldMk cId="2437801432" sldId="321"/>
            <ac:spMk id="103" creationId="{F939531B-4221-4CA6-A0FC-E9329DB88F89}"/>
          </ac:spMkLst>
        </pc:spChg>
        <pc:graphicFrameChg chg="mod">
          <ac:chgData name="Zenos Zenica" userId="de3ee720dba36952" providerId="Windows Live" clId="Web-{24ADB7D4-CCC6-4396-A50F-0A28491CEAE9}" dt="2020-11-23T14:32:21.969" v="253" actId="1076"/>
          <ac:graphicFrameMkLst>
            <pc:docMk/>
            <pc:sldMk cId="2437801432" sldId="321"/>
            <ac:graphicFrameMk id="99" creationId="{C3A81E58-37ED-48CF-8ADB-51DD9946B3F9}"/>
          </ac:graphicFrameMkLst>
        </pc:graphicFrameChg>
        <pc:cxnChg chg="mod">
          <ac:chgData name="Zenos Zenica" userId="de3ee720dba36952" providerId="Windows Live" clId="Web-{24ADB7D4-CCC6-4396-A50F-0A28491CEAE9}" dt="2020-11-23T14:34:13.676" v="272" actId="1076"/>
          <ac:cxnSpMkLst>
            <pc:docMk/>
            <pc:sldMk cId="2437801432" sldId="321"/>
            <ac:cxnSpMk id="9" creationId="{BFDE964B-FAA2-49AA-B3BB-27BF13342C51}"/>
          </ac:cxnSpMkLst>
        </pc:cxnChg>
        <pc:cxnChg chg="mod">
          <ac:chgData name="Zenos Zenica" userId="de3ee720dba36952" providerId="Windows Live" clId="Web-{24ADB7D4-CCC6-4396-A50F-0A28491CEAE9}" dt="2020-11-23T14:34:18.770" v="273" actId="1076"/>
          <ac:cxnSpMkLst>
            <pc:docMk/>
            <pc:sldMk cId="2437801432" sldId="321"/>
            <ac:cxnSpMk id="100" creationId="{02BF95E7-F42A-4A9A-8F9D-B0BFA3D7CAF8}"/>
          </ac:cxnSpMkLst>
        </pc:cxnChg>
      </pc:sldChg>
      <pc:sldChg chg="modSp add">
        <pc:chgData name="Zenos Zenica" userId="de3ee720dba36952" providerId="Windows Live" clId="Web-{24ADB7D4-CCC6-4396-A50F-0A28491CEAE9}" dt="2020-11-23T14:37:29.760" v="346" actId="1076"/>
        <pc:sldMkLst>
          <pc:docMk/>
          <pc:sldMk cId="3975465119" sldId="322"/>
        </pc:sldMkLst>
        <pc:spChg chg="mod">
          <ac:chgData name="Zenos Zenica" userId="de3ee720dba36952" providerId="Windows Live" clId="Web-{24ADB7D4-CCC6-4396-A50F-0A28491CEAE9}" dt="2020-11-23T14:37:29.760" v="346" actId="1076"/>
          <ac:spMkLst>
            <pc:docMk/>
            <pc:sldMk cId="3975465119" sldId="322"/>
            <ac:spMk id="16" creationId="{E83E83C3-E01A-44F1-95FF-6540BC8C3EAB}"/>
          </ac:spMkLst>
        </pc:spChg>
        <pc:spChg chg="mod">
          <ac:chgData name="Zenos Zenica" userId="de3ee720dba36952" providerId="Windows Live" clId="Web-{24ADB7D4-CCC6-4396-A50F-0A28491CEAE9}" dt="2020-11-23T14:36:24.476" v="319" actId="20577"/>
          <ac:spMkLst>
            <pc:docMk/>
            <pc:sldMk cId="3975465119" sldId="322"/>
            <ac:spMk id="51" creationId="{1E04ACF3-59B5-48F9-B9F8-6B8F95B01226}"/>
          </ac:spMkLst>
        </pc:spChg>
        <pc:graphicFrameChg chg="mod modGraphic">
          <ac:chgData name="Zenos Zenica" userId="de3ee720dba36952" providerId="Windows Live" clId="Web-{24ADB7D4-CCC6-4396-A50F-0A28491CEAE9}" dt="2020-11-23T14:36:30.180" v="322"/>
          <ac:graphicFrameMkLst>
            <pc:docMk/>
            <pc:sldMk cId="3975465119" sldId="322"/>
            <ac:graphicFrameMk id="27" creationId="{C9872CAE-D37F-49B7-A93E-4D93FC7A3F74}"/>
          </ac:graphicFrameMkLst>
        </pc:graphicFrameChg>
      </pc:sldChg>
      <pc:sldChg chg="modSp add">
        <pc:chgData name="Zenos Zenica" userId="de3ee720dba36952" providerId="Windows Live" clId="Web-{24ADB7D4-CCC6-4396-A50F-0A28491CEAE9}" dt="2020-11-23T14:38:48.324" v="372" actId="20577"/>
        <pc:sldMkLst>
          <pc:docMk/>
          <pc:sldMk cId="2351763323" sldId="323"/>
        </pc:sldMkLst>
        <pc:spChg chg="mod">
          <ac:chgData name="Zenos Zenica" userId="de3ee720dba36952" providerId="Windows Live" clId="Web-{24ADB7D4-CCC6-4396-A50F-0A28491CEAE9}" dt="2020-11-23T14:38:48.324" v="372" actId="20577"/>
          <ac:spMkLst>
            <pc:docMk/>
            <pc:sldMk cId="2351763323" sldId="323"/>
            <ac:spMk id="16" creationId="{E83E83C3-E01A-44F1-95FF-6540BC8C3EAB}"/>
          </ac:spMkLst>
        </pc:spChg>
        <pc:spChg chg="mod">
          <ac:chgData name="Zenos Zenica" userId="de3ee720dba36952" providerId="Windows Live" clId="Web-{24ADB7D4-CCC6-4396-A50F-0A28491CEAE9}" dt="2020-11-23T14:37:42.026" v="347"/>
          <ac:spMkLst>
            <pc:docMk/>
            <pc:sldMk cId="2351763323" sldId="323"/>
            <ac:spMk id="70" creationId="{779F8CBA-9AB7-4F85-A52F-3C25A6D13AD1}"/>
          </ac:spMkLst>
        </pc:spChg>
        <pc:spChg chg="mod">
          <ac:chgData name="Zenos Zenica" userId="de3ee720dba36952" providerId="Windows Live" clId="Web-{24ADB7D4-CCC6-4396-A50F-0A28491CEAE9}" dt="2020-11-23T14:37:42.057" v="348"/>
          <ac:spMkLst>
            <pc:docMk/>
            <pc:sldMk cId="2351763323" sldId="323"/>
            <ac:spMk id="71" creationId="{8C6B0BBA-ED2F-480B-870B-61D8E4D22F7C}"/>
          </ac:spMkLst>
        </pc:spChg>
        <pc:spChg chg="mod">
          <ac:chgData name="Zenos Zenica" userId="de3ee720dba36952" providerId="Windows Live" clId="Web-{24ADB7D4-CCC6-4396-A50F-0A28491CEAE9}" dt="2020-11-23T14:37:42.088" v="349"/>
          <ac:spMkLst>
            <pc:docMk/>
            <pc:sldMk cId="2351763323" sldId="323"/>
            <ac:spMk id="72" creationId="{520E7A87-8385-45E3-995B-453DF7A9A74D}"/>
          </ac:spMkLst>
        </pc:spChg>
        <pc:spChg chg="mod">
          <ac:chgData name="Zenos Zenica" userId="de3ee720dba36952" providerId="Windows Live" clId="Web-{24ADB7D4-CCC6-4396-A50F-0A28491CEAE9}" dt="2020-11-23T14:38:17.730" v="362" actId="1076"/>
          <ac:spMkLst>
            <pc:docMk/>
            <pc:sldMk cId="2351763323" sldId="323"/>
            <ac:spMk id="73" creationId="{22FB9E40-3009-4F70-9FE6-743E77B97F98}"/>
          </ac:spMkLst>
        </pc:spChg>
        <pc:spChg chg="mod">
          <ac:chgData name="Zenos Zenica" userId="de3ee720dba36952" providerId="Windows Live" clId="Web-{24ADB7D4-CCC6-4396-A50F-0A28491CEAE9}" dt="2020-11-23T14:37:54.448" v="355" actId="1076"/>
          <ac:spMkLst>
            <pc:docMk/>
            <pc:sldMk cId="2351763323" sldId="323"/>
            <ac:spMk id="76" creationId="{8AA6FE4B-D876-46E0-B0D4-4AF9EA19CD92}"/>
          </ac:spMkLst>
        </pc:spChg>
        <pc:spChg chg="mod">
          <ac:chgData name="Zenos Zenica" userId="de3ee720dba36952" providerId="Windows Live" clId="Web-{24ADB7D4-CCC6-4396-A50F-0A28491CEAE9}" dt="2020-11-23T14:37:42.166" v="352"/>
          <ac:spMkLst>
            <pc:docMk/>
            <pc:sldMk cId="2351763323" sldId="323"/>
            <ac:spMk id="77" creationId="{F7B5B3D8-814A-4123-AA47-82501C1B8462}"/>
          </ac:spMkLst>
        </pc:spChg>
        <pc:spChg chg="mod">
          <ac:chgData name="Zenos Zenica" userId="de3ee720dba36952" providerId="Windows Live" clId="Web-{24ADB7D4-CCC6-4396-A50F-0A28491CEAE9}" dt="2020-11-23T14:37:42.197" v="353"/>
          <ac:spMkLst>
            <pc:docMk/>
            <pc:sldMk cId="2351763323" sldId="323"/>
            <ac:spMk id="78" creationId="{D2AC08E5-C080-4291-8AC7-B4604958391D}"/>
          </ac:spMkLst>
        </pc:spChg>
        <pc:spChg chg="mod">
          <ac:chgData name="Zenos Zenica" userId="de3ee720dba36952" providerId="Windows Live" clId="Web-{24ADB7D4-CCC6-4396-A50F-0A28491CEAE9}" dt="2020-11-23T14:37:42.229" v="354"/>
          <ac:spMkLst>
            <pc:docMk/>
            <pc:sldMk cId="2351763323" sldId="323"/>
            <ac:spMk id="79" creationId="{80E87F8D-153F-4DF7-84C3-39F5A9511F9C}"/>
          </ac:spMkLst>
        </pc:spChg>
      </pc:sldChg>
      <pc:sldChg chg="modSp add">
        <pc:chgData name="Zenos Zenica" userId="de3ee720dba36952" providerId="Windows Live" clId="Web-{24ADB7D4-CCC6-4396-A50F-0A28491CEAE9}" dt="2020-11-23T14:44:42.382" v="470" actId="1076"/>
        <pc:sldMkLst>
          <pc:docMk/>
          <pc:sldMk cId="538510877" sldId="324"/>
        </pc:sldMkLst>
        <pc:spChg chg="mod">
          <ac:chgData name="Zenos Zenica" userId="de3ee720dba36952" providerId="Windows Live" clId="Web-{24ADB7D4-CCC6-4396-A50F-0A28491CEAE9}" dt="2020-11-23T14:44:42.382" v="470" actId="1076"/>
          <ac:spMkLst>
            <pc:docMk/>
            <pc:sldMk cId="538510877" sldId="324"/>
            <ac:spMk id="16" creationId="{E83E83C3-E01A-44F1-95FF-6540BC8C3EAB}"/>
          </ac:spMkLst>
        </pc:spChg>
        <pc:spChg chg="mod">
          <ac:chgData name="Zenos Zenica" userId="de3ee720dba36952" providerId="Windows Live" clId="Web-{24ADB7D4-CCC6-4396-A50F-0A28491CEAE9}" dt="2020-11-23T14:44:32.834" v="468" actId="1076"/>
          <ac:spMkLst>
            <pc:docMk/>
            <pc:sldMk cId="538510877" sldId="324"/>
            <ac:spMk id="51" creationId="{1E04ACF3-59B5-48F9-B9F8-6B8F95B01226}"/>
          </ac:spMkLst>
        </pc:spChg>
        <pc:spChg chg="mod">
          <ac:chgData name="Zenos Zenica" userId="de3ee720dba36952" providerId="Windows Live" clId="Web-{24ADB7D4-CCC6-4396-A50F-0A28491CEAE9}" dt="2020-11-23T14:44:19.350" v="465" actId="20577"/>
          <ac:spMkLst>
            <pc:docMk/>
            <pc:sldMk cId="538510877" sldId="324"/>
            <ac:spMk id="85" creationId="{6F24E37D-D0C8-4417-A12A-AF6C3A5B414D}"/>
          </ac:spMkLst>
        </pc:spChg>
        <pc:spChg chg="mod">
          <ac:chgData name="Zenos Zenica" userId="de3ee720dba36952" providerId="Windows Live" clId="Web-{24ADB7D4-CCC6-4396-A50F-0A28491CEAE9}" dt="2020-11-23T14:42:28.675" v="433" actId="20577"/>
          <ac:spMkLst>
            <pc:docMk/>
            <pc:sldMk cId="538510877" sldId="324"/>
            <ac:spMk id="86" creationId="{04AEFB48-66AD-4F4A-B355-E2444F8FD146}"/>
          </ac:spMkLst>
        </pc:spChg>
        <pc:spChg chg="mod">
          <ac:chgData name="Zenos Zenica" userId="de3ee720dba36952" providerId="Windows Live" clId="Web-{24ADB7D4-CCC6-4396-A50F-0A28491CEAE9}" dt="2020-11-23T14:43:59.849" v="460" actId="1076"/>
          <ac:spMkLst>
            <pc:docMk/>
            <pc:sldMk cId="538510877" sldId="324"/>
            <ac:spMk id="87" creationId="{CC4D6085-D1AD-47D2-A7B4-747917756260}"/>
          </ac:spMkLst>
        </pc:spChg>
        <pc:spChg chg="mod">
          <ac:chgData name="Zenos Zenica" userId="de3ee720dba36952" providerId="Windows Live" clId="Web-{24ADB7D4-CCC6-4396-A50F-0A28491CEAE9}" dt="2020-11-23T14:43:53.802" v="459" actId="1076"/>
          <ac:spMkLst>
            <pc:docMk/>
            <pc:sldMk cId="538510877" sldId="324"/>
            <ac:spMk id="88" creationId="{AEC310DD-2A90-4D25-AC30-C6034B798CCD}"/>
          </ac:spMkLst>
        </pc:spChg>
        <pc:spChg chg="mod">
          <ac:chgData name="Zenos Zenica" userId="de3ee720dba36952" providerId="Windows Live" clId="Web-{24ADB7D4-CCC6-4396-A50F-0A28491CEAE9}" dt="2020-11-23T14:43:49.599" v="458" actId="1076"/>
          <ac:spMkLst>
            <pc:docMk/>
            <pc:sldMk cId="538510877" sldId="324"/>
            <ac:spMk id="90" creationId="{8392FCB5-6B9B-44B7-B67B-01224C654983}"/>
          </ac:spMkLst>
        </pc:spChg>
        <pc:spChg chg="mod">
          <ac:chgData name="Zenos Zenica" userId="de3ee720dba36952" providerId="Windows Live" clId="Web-{24ADB7D4-CCC6-4396-A50F-0A28491CEAE9}" dt="2020-11-23T14:43:46.458" v="457" actId="1076"/>
          <ac:spMkLst>
            <pc:docMk/>
            <pc:sldMk cId="538510877" sldId="324"/>
            <ac:spMk id="91" creationId="{AFFFA1E9-4D7C-40EB-9AEC-AEB7976FD31C}"/>
          </ac:spMkLst>
        </pc:spChg>
        <pc:spChg chg="mod">
          <ac:chgData name="Zenos Zenica" userId="de3ee720dba36952" providerId="Windows Live" clId="Web-{24ADB7D4-CCC6-4396-A50F-0A28491CEAE9}" dt="2020-11-23T14:43:43.599" v="456" actId="1076"/>
          <ac:spMkLst>
            <pc:docMk/>
            <pc:sldMk cId="538510877" sldId="324"/>
            <ac:spMk id="92" creationId="{843E86D9-9494-4F16-917A-256218EB9B4B}"/>
          </ac:spMkLst>
        </pc:spChg>
        <pc:spChg chg="mod">
          <ac:chgData name="Zenos Zenica" userId="de3ee720dba36952" providerId="Windows Live" clId="Web-{24ADB7D4-CCC6-4396-A50F-0A28491CEAE9}" dt="2020-11-23T14:43:40.083" v="455" actId="1076"/>
          <ac:spMkLst>
            <pc:docMk/>
            <pc:sldMk cId="538510877" sldId="324"/>
            <ac:spMk id="93" creationId="{6963C93B-661D-49FC-82A7-D9FC702C7EB4}"/>
          </ac:spMkLst>
        </pc:spChg>
        <pc:spChg chg="mod">
          <ac:chgData name="Zenos Zenica" userId="de3ee720dba36952" providerId="Windows Live" clId="Web-{24ADB7D4-CCC6-4396-A50F-0A28491CEAE9}" dt="2020-11-23T14:43:36.973" v="454" actId="1076"/>
          <ac:spMkLst>
            <pc:docMk/>
            <pc:sldMk cId="538510877" sldId="324"/>
            <ac:spMk id="94" creationId="{0D70CDCC-05EC-458E-A4EA-BD13F65FC67D}"/>
          </ac:spMkLst>
        </pc:spChg>
        <pc:spChg chg="mod">
          <ac:chgData name="Zenos Zenica" userId="de3ee720dba36952" providerId="Windows Live" clId="Web-{24ADB7D4-CCC6-4396-A50F-0A28491CEAE9}" dt="2020-11-23T14:43:34.489" v="453" actId="1076"/>
          <ac:spMkLst>
            <pc:docMk/>
            <pc:sldMk cId="538510877" sldId="324"/>
            <ac:spMk id="95" creationId="{247EAD57-A99B-4633-B71B-081C03EC65F2}"/>
          </ac:spMkLst>
        </pc:spChg>
        <pc:graphicFrameChg chg="mod">
          <ac:chgData name="Zenos Zenica" userId="de3ee720dba36952" providerId="Windows Live" clId="Web-{24ADB7D4-CCC6-4396-A50F-0A28491CEAE9}" dt="2020-11-23T14:43:30.161" v="452" actId="14100"/>
          <ac:graphicFrameMkLst>
            <pc:docMk/>
            <pc:sldMk cId="538510877" sldId="324"/>
            <ac:graphicFrameMk id="105" creationId="{03504851-84D5-41C8-B163-B45F891A8FE9}"/>
          </ac:graphicFrameMkLst>
        </pc:graphicFrameChg>
      </pc:sldChg>
      <pc:sldChg chg="modSp add">
        <pc:chgData name="Zenos Zenica" userId="de3ee720dba36952" providerId="Windows Live" clId="Web-{24ADB7D4-CCC6-4396-A50F-0A28491CEAE9}" dt="2020-11-23T14:45:34.071" v="509" actId="1076"/>
        <pc:sldMkLst>
          <pc:docMk/>
          <pc:sldMk cId="1359566160" sldId="325"/>
        </pc:sldMkLst>
        <pc:spChg chg="mod">
          <ac:chgData name="Zenos Zenica" userId="de3ee720dba36952" providerId="Windows Live" clId="Web-{24ADB7D4-CCC6-4396-A50F-0A28491CEAE9}" dt="2020-11-23T14:45:34.071" v="509" actId="1076"/>
          <ac:spMkLst>
            <pc:docMk/>
            <pc:sldMk cId="1359566160" sldId="325"/>
            <ac:spMk id="16" creationId="{E83E83C3-E01A-44F1-95FF-6540BC8C3EAB}"/>
          </ac:spMkLst>
        </pc:spChg>
        <pc:graphicFrameChg chg="mod modGraphic">
          <ac:chgData name="Zenos Zenica" userId="de3ee720dba36952" providerId="Windows Live" clId="Web-{24ADB7D4-CCC6-4396-A50F-0A28491CEAE9}" dt="2020-11-23T14:45:02.491" v="496"/>
          <ac:graphicFrameMkLst>
            <pc:docMk/>
            <pc:sldMk cId="1359566160" sldId="325"/>
            <ac:graphicFrameMk id="5" creationId="{F4ECBF54-7B9B-4D24-9D2A-FAEF7409EEB9}"/>
          </ac:graphicFrameMkLst>
        </pc:graphicFrameChg>
      </pc:sldChg>
      <pc:sldChg chg="modSp add">
        <pc:chgData name="Zenos Zenica" userId="de3ee720dba36952" providerId="Windows Live" clId="Web-{24ADB7D4-CCC6-4396-A50F-0A28491CEAE9}" dt="2020-11-23T14:51:47.597" v="613" actId="1076"/>
        <pc:sldMkLst>
          <pc:docMk/>
          <pc:sldMk cId="461680097" sldId="326"/>
        </pc:sldMkLst>
        <pc:spChg chg="mod">
          <ac:chgData name="Zenos Zenica" userId="de3ee720dba36952" providerId="Windows Live" clId="Web-{24ADB7D4-CCC6-4396-A50F-0A28491CEAE9}" dt="2020-11-23T14:46:35.635" v="553" actId="14100"/>
          <ac:spMkLst>
            <pc:docMk/>
            <pc:sldMk cId="461680097" sldId="326"/>
            <ac:spMk id="22" creationId="{E36CE1A6-34CA-443B-A89B-ECF78569B1F1}"/>
          </ac:spMkLst>
        </pc:spChg>
        <pc:spChg chg="mod">
          <ac:chgData name="Zenos Zenica" userId="de3ee720dba36952" providerId="Windows Live" clId="Web-{24ADB7D4-CCC6-4396-A50F-0A28491CEAE9}" dt="2020-11-23T14:46:48.588" v="555" actId="1076"/>
          <ac:spMkLst>
            <pc:docMk/>
            <pc:sldMk cId="461680097" sldId="326"/>
            <ac:spMk id="23" creationId="{00445977-4B7E-4F07-96BA-CE5FE0CD1165}"/>
          </ac:spMkLst>
        </pc:spChg>
        <pc:spChg chg="mod">
          <ac:chgData name="Zenos Zenica" userId="de3ee720dba36952" providerId="Windows Live" clId="Web-{24ADB7D4-CCC6-4396-A50F-0A28491CEAE9}" dt="2020-11-23T14:45:43.383" v="510" actId="1076"/>
          <ac:spMkLst>
            <pc:docMk/>
            <pc:sldMk cId="461680097" sldId="326"/>
            <ac:spMk id="24" creationId="{E65A818C-FDEE-44D3-A5C8-867F4341888F}"/>
          </ac:spMkLst>
        </pc:spChg>
        <pc:spChg chg="mod">
          <ac:chgData name="Zenos Zenica" userId="de3ee720dba36952" providerId="Windows Live" clId="Web-{24ADB7D4-CCC6-4396-A50F-0A28491CEAE9}" dt="2020-11-23T14:47:02.026" v="557" actId="1076"/>
          <ac:spMkLst>
            <pc:docMk/>
            <pc:sldMk cId="461680097" sldId="326"/>
            <ac:spMk id="27" creationId="{27C38862-9CC6-4EA5-8397-9CAB078218B2}"/>
          </ac:spMkLst>
        </pc:spChg>
        <pc:spChg chg="mod">
          <ac:chgData name="Zenos Zenica" userId="de3ee720dba36952" providerId="Windows Live" clId="Web-{24ADB7D4-CCC6-4396-A50F-0A28491CEAE9}" dt="2020-11-23T14:47:26.089" v="560" actId="1076"/>
          <ac:spMkLst>
            <pc:docMk/>
            <pc:sldMk cId="461680097" sldId="326"/>
            <ac:spMk id="28" creationId="{5EC59DCF-9D02-46DC-B679-0F7F8AD2AEFC}"/>
          </ac:spMkLst>
        </pc:spChg>
        <pc:spChg chg="mod">
          <ac:chgData name="Zenos Zenica" userId="de3ee720dba36952" providerId="Windows Live" clId="Web-{24ADB7D4-CCC6-4396-A50F-0A28491CEAE9}" dt="2020-11-23T14:46:57.307" v="556" actId="1076"/>
          <ac:spMkLst>
            <pc:docMk/>
            <pc:sldMk cId="461680097" sldId="326"/>
            <ac:spMk id="31" creationId="{BB61B264-D519-44B2-812D-62E264C6DDD7}"/>
          </ac:spMkLst>
        </pc:spChg>
        <pc:spChg chg="mod">
          <ac:chgData name="Zenos Zenica" userId="de3ee720dba36952" providerId="Windows Live" clId="Web-{24ADB7D4-CCC6-4396-A50F-0A28491CEAE9}" dt="2020-11-23T14:50:37.595" v="601" actId="1076"/>
          <ac:spMkLst>
            <pc:docMk/>
            <pc:sldMk cId="461680097" sldId="326"/>
            <ac:spMk id="38" creationId="{556974A5-13ED-4986-B886-9A88872920B2}"/>
          </ac:spMkLst>
        </pc:spChg>
        <pc:spChg chg="mod">
          <ac:chgData name="Zenos Zenica" userId="de3ee720dba36952" providerId="Windows Live" clId="Web-{24ADB7D4-CCC6-4396-A50F-0A28491CEAE9}" dt="2020-11-23T14:48:40.029" v="573" actId="1076"/>
          <ac:spMkLst>
            <pc:docMk/>
            <pc:sldMk cId="461680097" sldId="326"/>
            <ac:spMk id="39" creationId="{0D41BA39-8900-41BB-81DF-B91CA5D54585}"/>
          </ac:spMkLst>
        </pc:spChg>
        <pc:spChg chg="mod">
          <ac:chgData name="Zenos Zenica" userId="de3ee720dba36952" providerId="Windows Live" clId="Web-{24ADB7D4-CCC6-4396-A50F-0A28491CEAE9}" dt="2020-11-23T14:48:46.936" v="574" actId="1076"/>
          <ac:spMkLst>
            <pc:docMk/>
            <pc:sldMk cId="461680097" sldId="326"/>
            <ac:spMk id="40" creationId="{9DB246A7-AC23-4949-BDAC-01D3FBA5EDA3}"/>
          </ac:spMkLst>
        </pc:spChg>
        <pc:spChg chg="mod">
          <ac:chgData name="Zenos Zenica" userId="de3ee720dba36952" providerId="Windows Live" clId="Web-{24ADB7D4-CCC6-4396-A50F-0A28491CEAE9}" dt="2020-11-23T14:49:21.546" v="592" actId="20577"/>
          <ac:spMkLst>
            <pc:docMk/>
            <pc:sldMk cId="461680097" sldId="326"/>
            <ac:spMk id="41" creationId="{224A1AA7-6A11-473B-A10C-541AC818AAB5}"/>
          </ac:spMkLst>
        </pc:spChg>
        <pc:spChg chg="mod">
          <ac:chgData name="Zenos Zenica" userId="de3ee720dba36952" providerId="Windows Live" clId="Web-{24ADB7D4-CCC6-4396-A50F-0A28491CEAE9}" dt="2020-11-23T14:48:23.700" v="570" actId="1076"/>
          <ac:spMkLst>
            <pc:docMk/>
            <pc:sldMk cId="461680097" sldId="326"/>
            <ac:spMk id="42" creationId="{340F04BB-594E-439D-BD3F-DB6DF8F7DA2B}"/>
          </ac:spMkLst>
        </pc:spChg>
        <pc:spChg chg="mod">
          <ac:chgData name="Zenos Zenica" userId="de3ee720dba36952" providerId="Windows Live" clId="Web-{24ADB7D4-CCC6-4396-A50F-0A28491CEAE9}" dt="2020-11-23T14:48:11.638" v="567" actId="1076"/>
          <ac:spMkLst>
            <pc:docMk/>
            <pc:sldMk cId="461680097" sldId="326"/>
            <ac:spMk id="43" creationId="{95EA1618-9A86-4D51-B106-49B1A59E088D}"/>
          </ac:spMkLst>
        </pc:spChg>
        <pc:spChg chg="mod">
          <ac:chgData name="Zenos Zenica" userId="de3ee720dba36952" providerId="Windows Live" clId="Web-{24ADB7D4-CCC6-4396-A50F-0A28491CEAE9}" dt="2020-11-23T14:49:37.749" v="596" actId="14100"/>
          <ac:spMkLst>
            <pc:docMk/>
            <pc:sldMk cId="461680097" sldId="326"/>
            <ac:spMk id="44" creationId="{9A101948-E6CE-4A31-B57A-586BD59F57A2}"/>
          </ac:spMkLst>
        </pc:spChg>
        <pc:spChg chg="mod">
          <ac:chgData name="Zenos Zenica" userId="de3ee720dba36952" providerId="Windows Live" clId="Web-{24ADB7D4-CCC6-4396-A50F-0A28491CEAE9}" dt="2020-11-23T14:46:15.869" v="543" actId="14100"/>
          <ac:spMkLst>
            <pc:docMk/>
            <pc:sldMk cId="461680097" sldId="326"/>
            <ac:spMk id="46" creationId="{8EBAE774-B0B6-4EF4-96B0-A9CFE046C7AE}"/>
          </ac:spMkLst>
        </pc:spChg>
        <pc:spChg chg="mod">
          <ac:chgData name="Zenos Zenica" userId="de3ee720dba36952" providerId="Windows Live" clId="Web-{24ADB7D4-CCC6-4396-A50F-0A28491CEAE9}" dt="2020-11-23T14:50:42.611" v="602" actId="1076"/>
          <ac:spMkLst>
            <pc:docMk/>
            <pc:sldMk cId="461680097" sldId="326"/>
            <ac:spMk id="47" creationId="{A6FF8132-CACF-4898-B1EC-E0993D1A55B8}"/>
          </ac:spMkLst>
        </pc:spChg>
        <pc:spChg chg="mod">
          <ac:chgData name="Zenos Zenica" userId="de3ee720dba36952" providerId="Windows Live" clId="Web-{24ADB7D4-CCC6-4396-A50F-0A28491CEAE9}" dt="2020-11-23T14:50:53.252" v="603" actId="1076"/>
          <ac:spMkLst>
            <pc:docMk/>
            <pc:sldMk cId="461680097" sldId="326"/>
            <ac:spMk id="48" creationId="{52712A9E-FF67-4CFF-A2C6-65C2C0EB7610}"/>
          </ac:spMkLst>
        </pc:spChg>
        <pc:spChg chg="mod">
          <ac:chgData name="Zenos Zenica" userId="de3ee720dba36952" providerId="Windows Live" clId="Web-{24ADB7D4-CCC6-4396-A50F-0A28491CEAE9}" dt="2020-11-23T14:50:27.970" v="600" actId="1076"/>
          <ac:spMkLst>
            <pc:docMk/>
            <pc:sldMk cId="461680097" sldId="326"/>
            <ac:spMk id="49" creationId="{70880F57-D28D-49EF-847C-1B57C64031CF}"/>
          </ac:spMkLst>
        </pc:spChg>
        <pc:spChg chg="mod">
          <ac:chgData name="Zenos Zenica" userId="de3ee720dba36952" providerId="Windows Live" clId="Web-{24ADB7D4-CCC6-4396-A50F-0A28491CEAE9}" dt="2020-11-23T14:46:15.540" v="532" actId="14100"/>
          <ac:spMkLst>
            <pc:docMk/>
            <pc:sldMk cId="461680097" sldId="326"/>
            <ac:spMk id="50" creationId="{BF5721FB-3F7B-4EBD-9524-62A76A5BB8F3}"/>
          </ac:spMkLst>
        </pc:spChg>
        <pc:spChg chg="mod">
          <ac:chgData name="Zenos Zenica" userId="de3ee720dba36952" providerId="Windows Live" clId="Web-{24ADB7D4-CCC6-4396-A50F-0A28491CEAE9}" dt="2020-11-23T14:51:26.518" v="609" actId="14100"/>
          <ac:spMkLst>
            <pc:docMk/>
            <pc:sldMk cId="461680097" sldId="326"/>
            <ac:spMk id="52" creationId="{276504A2-0FA3-449A-9AD1-2D1CE6F87451}"/>
          </ac:spMkLst>
        </pc:spChg>
        <pc:spChg chg="mod">
          <ac:chgData name="Zenos Zenica" userId="de3ee720dba36952" providerId="Windows Live" clId="Web-{24ADB7D4-CCC6-4396-A50F-0A28491CEAE9}" dt="2020-11-23T14:51:16.705" v="607" actId="1076"/>
          <ac:spMkLst>
            <pc:docMk/>
            <pc:sldMk cId="461680097" sldId="326"/>
            <ac:spMk id="53" creationId="{7241C04E-2630-4583-9B82-E315BA5FCB44}"/>
          </ac:spMkLst>
        </pc:spChg>
        <pc:spChg chg="mod">
          <ac:chgData name="Zenos Zenica" userId="de3ee720dba36952" providerId="Windows Live" clId="Web-{24ADB7D4-CCC6-4396-A50F-0A28491CEAE9}" dt="2020-11-23T14:51:12.721" v="606" actId="1076"/>
          <ac:spMkLst>
            <pc:docMk/>
            <pc:sldMk cId="461680097" sldId="326"/>
            <ac:spMk id="54" creationId="{38E2D4BB-8AB4-4E59-B683-A30206C7F7BA}"/>
          </ac:spMkLst>
        </pc:spChg>
        <pc:spChg chg="mod">
          <ac:chgData name="Zenos Zenica" userId="de3ee720dba36952" providerId="Windows Live" clId="Web-{24ADB7D4-CCC6-4396-A50F-0A28491CEAE9}" dt="2020-11-23T14:51:47.597" v="613" actId="1076"/>
          <ac:spMkLst>
            <pc:docMk/>
            <pc:sldMk cId="461680097" sldId="326"/>
            <ac:spMk id="55" creationId="{BE1DC0F2-B459-4091-A54F-29B905560B19}"/>
          </ac:spMkLst>
        </pc:spChg>
        <pc:spChg chg="mod">
          <ac:chgData name="Zenos Zenica" userId="de3ee720dba36952" providerId="Windows Live" clId="Web-{24ADB7D4-CCC6-4396-A50F-0A28491CEAE9}" dt="2020-11-23T14:51:41.691" v="612" actId="1076"/>
          <ac:spMkLst>
            <pc:docMk/>
            <pc:sldMk cId="461680097" sldId="326"/>
            <ac:spMk id="56" creationId="{00B405F6-8982-433A-BB4F-B48CF9B7EECB}"/>
          </ac:spMkLst>
        </pc:spChg>
        <pc:spChg chg="mod">
          <ac:chgData name="Zenos Zenica" userId="de3ee720dba36952" providerId="Windows Live" clId="Web-{24ADB7D4-CCC6-4396-A50F-0A28491CEAE9}" dt="2020-11-23T14:46:15.587" v="534" actId="14100"/>
          <ac:spMkLst>
            <pc:docMk/>
            <pc:sldMk cId="461680097" sldId="326"/>
            <ac:spMk id="57" creationId="{10AFC2AE-9E90-40BE-93EA-0CD7636D8DA5}"/>
          </ac:spMkLst>
        </pc:spChg>
      </pc:sldChg>
      <pc:sldChg chg="modSp add">
        <pc:chgData name="Zenos Zenica" userId="de3ee720dba36952" providerId="Windows Live" clId="Web-{24ADB7D4-CCC6-4396-A50F-0A28491CEAE9}" dt="2020-11-23T14:53:11.178" v="632" actId="1076"/>
        <pc:sldMkLst>
          <pc:docMk/>
          <pc:sldMk cId="3362295013" sldId="327"/>
        </pc:sldMkLst>
        <pc:spChg chg="mod">
          <ac:chgData name="Zenos Zenica" userId="de3ee720dba36952" providerId="Windows Live" clId="Web-{24ADB7D4-CCC6-4396-A50F-0A28491CEAE9}" dt="2020-11-23T14:53:11.178" v="632" actId="1076"/>
          <ac:spMkLst>
            <pc:docMk/>
            <pc:sldMk cId="3362295013" sldId="327"/>
            <ac:spMk id="16" creationId="{E83E83C3-E01A-44F1-95FF-6540BC8C3EAB}"/>
          </ac:spMkLst>
        </pc:spChg>
        <pc:spChg chg="mod">
          <ac:chgData name="Zenos Zenica" userId="de3ee720dba36952" providerId="Windows Live" clId="Web-{24ADB7D4-CCC6-4396-A50F-0A28491CEAE9}" dt="2020-11-23T14:52:34.051" v="619" actId="1076"/>
          <ac:spMkLst>
            <pc:docMk/>
            <pc:sldMk cId="3362295013" sldId="327"/>
            <ac:spMk id="17" creationId="{390E0AE5-693A-478E-A429-6FD17C952CCC}"/>
          </ac:spMkLst>
        </pc:spChg>
        <pc:spChg chg="mod">
          <ac:chgData name="Zenos Zenica" userId="de3ee720dba36952" providerId="Windows Live" clId="Web-{24ADB7D4-CCC6-4396-A50F-0A28491CEAE9}" dt="2020-11-23T14:52:21.301" v="614"/>
          <ac:spMkLst>
            <pc:docMk/>
            <pc:sldMk cId="3362295013" sldId="327"/>
            <ac:spMk id="31" creationId="{D01A65AF-E538-451B-B2D1-F535D19269CC}"/>
          </ac:spMkLst>
        </pc:spChg>
        <pc:spChg chg="mod">
          <ac:chgData name="Zenos Zenica" userId="de3ee720dba36952" providerId="Windows Live" clId="Web-{24ADB7D4-CCC6-4396-A50F-0A28491CEAE9}" dt="2020-11-23T14:52:21.348" v="615"/>
          <ac:spMkLst>
            <pc:docMk/>
            <pc:sldMk cId="3362295013" sldId="327"/>
            <ac:spMk id="32" creationId="{A11BAF78-788D-4A99-9262-8C679B10E7A8}"/>
          </ac:spMkLst>
        </pc:spChg>
        <pc:spChg chg="mod">
          <ac:chgData name="Zenos Zenica" userId="de3ee720dba36952" providerId="Windows Live" clId="Web-{24ADB7D4-CCC6-4396-A50F-0A28491CEAE9}" dt="2020-11-23T14:52:21.379" v="616"/>
          <ac:spMkLst>
            <pc:docMk/>
            <pc:sldMk cId="3362295013" sldId="327"/>
            <ac:spMk id="33" creationId="{F1A1AD3D-7852-4FAB-89DC-5112625D17EB}"/>
          </ac:spMkLst>
        </pc:spChg>
        <pc:spChg chg="mod">
          <ac:chgData name="Zenos Zenica" userId="de3ee720dba36952" providerId="Windows Live" clId="Web-{24ADB7D4-CCC6-4396-A50F-0A28491CEAE9}" dt="2020-11-23T14:52:21.411" v="617"/>
          <ac:spMkLst>
            <pc:docMk/>
            <pc:sldMk cId="3362295013" sldId="327"/>
            <ac:spMk id="34" creationId="{9ACF7E41-2253-4DD2-86C3-E896AB8663C3}"/>
          </ac:spMkLst>
        </pc:spChg>
        <pc:spChg chg="mod">
          <ac:chgData name="Zenos Zenica" userId="de3ee720dba36952" providerId="Windows Live" clId="Web-{24ADB7D4-CCC6-4396-A50F-0A28491CEAE9}" dt="2020-11-23T14:52:21.442" v="618"/>
          <ac:spMkLst>
            <pc:docMk/>
            <pc:sldMk cId="3362295013" sldId="327"/>
            <ac:spMk id="35" creationId="{1B2BEF37-3FC2-4691-8F42-0E852E655686}"/>
          </ac:spMkLst>
        </pc:spChg>
      </pc:sldChg>
      <pc:sldChg chg="add">
        <pc:chgData name="Zenos Zenica" userId="de3ee720dba36952" providerId="Windows Live" clId="Web-{24ADB7D4-CCC6-4396-A50F-0A28491CEAE9}" dt="2020-11-23T14:10:15.165" v="10"/>
        <pc:sldMkLst>
          <pc:docMk/>
          <pc:sldMk cId="1605980485" sldId="328"/>
        </pc:sldMkLst>
      </pc:sldChg>
      <pc:sldChg chg="modSp add">
        <pc:chgData name="Zenos Zenica" userId="de3ee720dba36952" providerId="Windows Live" clId="Web-{24ADB7D4-CCC6-4396-A50F-0A28491CEAE9}" dt="2020-11-23T14:54:04.476" v="655" actId="1076"/>
        <pc:sldMkLst>
          <pc:docMk/>
          <pc:sldMk cId="4123285433" sldId="329"/>
        </pc:sldMkLst>
        <pc:spChg chg="mod">
          <ac:chgData name="Zenos Zenica" userId="de3ee720dba36952" providerId="Windows Live" clId="Web-{24ADB7D4-CCC6-4396-A50F-0A28491CEAE9}" dt="2020-11-23T14:54:04.476" v="655" actId="1076"/>
          <ac:spMkLst>
            <pc:docMk/>
            <pc:sldMk cId="4123285433" sldId="329"/>
            <ac:spMk id="16" creationId="{E83E83C3-E01A-44F1-95FF-6540BC8C3EAB}"/>
          </ac:spMkLst>
        </pc:spChg>
        <pc:spChg chg="mod">
          <ac:chgData name="Zenos Zenica" userId="de3ee720dba36952" providerId="Windows Live" clId="Web-{24ADB7D4-CCC6-4396-A50F-0A28491CEAE9}" dt="2020-11-23T14:53:39.928" v="633"/>
          <ac:spMkLst>
            <pc:docMk/>
            <pc:sldMk cId="4123285433" sldId="329"/>
            <ac:spMk id="36" creationId="{3995FD82-BDD4-4C2C-9FFA-0C2D7B1BC237}"/>
          </ac:spMkLst>
        </pc:spChg>
        <pc:spChg chg="mod">
          <ac:chgData name="Zenos Zenica" userId="de3ee720dba36952" providerId="Windows Live" clId="Web-{24ADB7D4-CCC6-4396-A50F-0A28491CEAE9}" dt="2020-11-23T14:53:39.960" v="634"/>
          <ac:spMkLst>
            <pc:docMk/>
            <pc:sldMk cId="4123285433" sldId="329"/>
            <ac:spMk id="38" creationId="{2259A2C7-E986-4072-81C2-DA93C1F6872E}"/>
          </ac:spMkLst>
        </pc:spChg>
        <pc:spChg chg="mod">
          <ac:chgData name="Zenos Zenica" userId="de3ee720dba36952" providerId="Windows Live" clId="Web-{24ADB7D4-CCC6-4396-A50F-0A28491CEAE9}" dt="2020-11-23T14:53:39.975" v="635"/>
          <ac:spMkLst>
            <pc:docMk/>
            <pc:sldMk cId="4123285433" sldId="329"/>
            <ac:spMk id="39" creationId="{02014AC8-A769-43D4-A5F0-77E545B17E3F}"/>
          </ac:spMkLst>
        </pc:spChg>
        <pc:spChg chg="mod">
          <ac:chgData name="Zenos Zenica" userId="de3ee720dba36952" providerId="Windows Live" clId="Web-{24ADB7D4-CCC6-4396-A50F-0A28491CEAE9}" dt="2020-11-23T14:53:39.991" v="636"/>
          <ac:spMkLst>
            <pc:docMk/>
            <pc:sldMk cId="4123285433" sldId="329"/>
            <ac:spMk id="40" creationId="{4D7FAC43-A171-4EDF-93A8-C68AB0CDAF41}"/>
          </ac:spMkLst>
        </pc:spChg>
        <pc:spChg chg="mod">
          <ac:chgData name="Zenos Zenica" userId="de3ee720dba36952" providerId="Windows Live" clId="Web-{24ADB7D4-CCC6-4396-A50F-0A28491CEAE9}" dt="2020-11-23T14:53:40.007" v="637"/>
          <ac:spMkLst>
            <pc:docMk/>
            <pc:sldMk cId="4123285433" sldId="329"/>
            <ac:spMk id="45" creationId="{9B8A5AF8-38C7-4B73-9E0F-8054573F2858}"/>
          </ac:spMkLst>
        </pc:spChg>
        <pc:spChg chg="mod">
          <ac:chgData name="Zenos Zenica" userId="de3ee720dba36952" providerId="Windows Live" clId="Web-{24ADB7D4-CCC6-4396-A50F-0A28491CEAE9}" dt="2020-11-23T14:53:40.022" v="638"/>
          <ac:spMkLst>
            <pc:docMk/>
            <pc:sldMk cId="4123285433" sldId="329"/>
            <ac:spMk id="46" creationId="{B1EE8497-2A6A-49D1-94DB-370D204D3F36}"/>
          </ac:spMkLst>
        </pc:spChg>
        <pc:spChg chg="mod">
          <ac:chgData name="Zenos Zenica" userId="de3ee720dba36952" providerId="Windows Live" clId="Web-{24ADB7D4-CCC6-4396-A50F-0A28491CEAE9}" dt="2020-11-23T14:53:40.038" v="639"/>
          <ac:spMkLst>
            <pc:docMk/>
            <pc:sldMk cId="4123285433" sldId="329"/>
            <ac:spMk id="48" creationId="{47EB6815-20F4-40C9-A966-68D676A3D7E5}"/>
          </ac:spMkLst>
        </pc:spChg>
        <pc:spChg chg="mod">
          <ac:chgData name="Zenos Zenica" userId="de3ee720dba36952" providerId="Windows Live" clId="Web-{24ADB7D4-CCC6-4396-A50F-0A28491CEAE9}" dt="2020-11-23T14:53:40.053" v="640"/>
          <ac:spMkLst>
            <pc:docMk/>
            <pc:sldMk cId="4123285433" sldId="329"/>
            <ac:spMk id="50" creationId="{D41C6E6E-E77E-42EE-AD06-D5BE7D2B3A05}"/>
          </ac:spMkLst>
        </pc:spChg>
        <pc:spChg chg="mod">
          <ac:chgData name="Zenos Zenica" userId="de3ee720dba36952" providerId="Windows Live" clId="Web-{24ADB7D4-CCC6-4396-A50F-0A28491CEAE9}" dt="2020-11-23T14:53:40.085" v="641"/>
          <ac:spMkLst>
            <pc:docMk/>
            <pc:sldMk cId="4123285433" sldId="329"/>
            <ac:spMk id="52" creationId="{E44FA6A9-CB77-46D4-8BB9-FEFB77738A14}"/>
          </ac:spMkLst>
        </pc:spChg>
        <pc:spChg chg="mod">
          <ac:chgData name="Zenos Zenica" userId="de3ee720dba36952" providerId="Windows Live" clId="Web-{24ADB7D4-CCC6-4396-A50F-0A28491CEAE9}" dt="2020-11-23T14:53:40.116" v="642"/>
          <ac:spMkLst>
            <pc:docMk/>
            <pc:sldMk cId="4123285433" sldId="329"/>
            <ac:spMk id="54" creationId="{7B7C34A5-86BA-4447-BCC7-009864B21DB0}"/>
          </ac:spMkLst>
        </pc:spChg>
        <pc:spChg chg="mod">
          <ac:chgData name="Zenos Zenica" userId="de3ee720dba36952" providerId="Windows Live" clId="Web-{24ADB7D4-CCC6-4396-A50F-0A28491CEAE9}" dt="2020-11-23T14:53:40.132" v="643"/>
          <ac:spMkLst>
            <pc:docMk/>
            <pc:sldMk cId="4123285433" sldId="329"/>
            <ac:spMk id="57" creationId="{56B6123A-1FFC-4B11-A070-120A905B00BB}"/>
          </ac:spMkLst>
        </pc:spChg>
        <pc:spChg chg="mod">
          <ac:chgData name="Zenos Zenica" userId="de3ee720dba36952" providerId="Windows Live" clId="Web-{24ADB7D4-CCC6-4396-A50F-0A28491CEAE9}" dt="2020-11-23T14:53:40.147" v="644"/>
          <ac:spMkLst>
            <pc:docMk/>
            <pc:sldMk cId="4123285433" sldId="329"/>
            <ac:spMk id="58" creationId="{AD7CC24D-1402-46F0-B0DA-E4BBBFB3013D}"/>
          </ac:spMkLst>
        </pc:spChg>
        <pc:spChg chg="mod">
          <ac:chgData name="Zenos Zenica" userId="de3ee720dba36952" providerId="Windows Live" clId="Web-{24ADB7D4-CCC6-4396-A50F-0A28491CEAE9}" dt="2020-11-23T14:53:40.178" v="645"/>
          <ac:spMkLst>
            <pc:docMk/>
            <pc:sldMk cId="4123285433" sldId="329"/>
            <ac:spMk id="59" creationId="{1D64C185-3BD8-4341-A69F-AEF005748C83}"/>
          </ac:spMkLst>
        </pc:spChg>
        <pc:spChg chg="mod">
          <ac:chgData name="Zenos Zenica" userId="de3ee720dba36952" providerId="Windows Live" clId="Web-{24ADB7D4-CCC6-4396-A50F-0A28491CEAE9}" dt="2020-11-23T14:53:40.194" v="646"/>
          <ac:spMkLst>
            <pc:docMk/>
            <pc:sldMk cId="4123285433" sldId="329"/>
            <ac:spMk id="60" creationId="{441498B5-3CCE-43D9-B582-4CEA37886DD6}"/>
          </ac:spMkLst>
        </pc:spChg>
      </pc:sldChg>
      <pc:sldChg chg="modSp add">
        <pc:chgData name="Zenos Zenica" userId="de3ee720dba36952" providerId="Windows Live" clId="Web-{24ADB7D4-CCC6-4396-A50F-0A28491CEAE9}" dt="2020-11-23T14:56:41.496" v="704" actId="1076"/>
        <pc:sldMkLst>
          <pc:docMk/>
          <pc:sldMk cId="1808670434" sldId="330"/>
        </pc:sldMkLst>
        <pc:spChg chg="mod">
          <ac:chgData name="Zenos Zenica" userId="de3ee720dba36952" providerId="Windows Live" clId="Web-{24ADB7D4-CCC6-4396-A50F-0A28491CEAE9}" dt="2020-11-23T14:56:41.496" v="704" actId="1076"/>
          <ac:spMkLst>
            <pc:docMk/>
            <pc:sldMk cId="1808670434" sldId="330"/>
            <ac:spMk id="16" creationId="{E83E83C3-E01A-44F1-95FF-6540BC8C3EAB}"/>
          </ac:spMkLst>
        </pc:spChg>
        <pc:spChg chg="mod">
          <ac:chgData name="Zenos Zenica" userId="de3ee720dba36952" providerId="Windows Live" clId="Web-{24ADB7D4-CCC6-4396-A50F-0A28491CEAE9}" dt="2020-11-23T14:55:18.259" v="683" actId="1076"/>
          <ac:spMkLst>
            <pc:docMk/>
            <pc:sldMk cId="1808670434" sldId="330"/>
            <ac:spMk id="37" creationId="{927BC43A-D09D-4B00-990E-A98308F1DECD}"/>
          </ac:spMkLst>
        </pc:spChg>
        <pc:graphicFrameChg chg="mod modGraphic">
          <ac:chgData name="Zenos Zenica" userId="de3ee720dba36952" providerId="Windows Live" clId="Web-{24ADB7D4-CCC6-4396-A50F-0A28491CEAE9}" dt="2020-11-23T14:55:47.963" v="689" actId="1076"/>
          <ac:graphicFrameMkLst>
            <pc:docMk/>
            <pc:sldMk cId="1808670434" sldId="330"/>
            <ac:graphicFrameMk id="5" creationId="{19ECE677-2A64-4258-BB5E-FEBC487B03C4}"/>
          </ac:graphicFrameMkLst>
        </pc:graphicFrameChg>
      </pc:sldChg>
      <pc:sldChg chg="modSp add">
        <pc:chgData name="Zenos Zenica" userId="de3ee720dba36952" providerId="Windows Live" clId="Web-{24ADB7D4-CCC6-4396-A50F-0A28491CEAE9}" dt="2020-11-23T15:01:02.660" v="744" actId="1076"/>
        <pc:sldMkLst>
          <pc:docMk/>
          <pc:sldMk cId="11227809" sldId="331"/>
        </pc:sldMkLst>
        <pc:spChg chg="mod">
          <ac:chgData name="Zenos Zenica" userId="de3ee720dba36952" providerId="Windows Live" clId="Web-{24ADB7D4-CCC6-4396-A50F-0A28491CEAE9}" dt="2020-11-23T15:00:57.004" v="743" actId="1076"/>
          <ac:spMkLst>
            <pc:docMk/>
            <pc:sldMk cId="11227809" sldId="331"/>
            <ac:spMk id="16" creationId="{E83E83C3-E01A-44F1-95FF-6540BC8C3EAB}"/>
          </ac:spMkLst>
        </pc:spChg>
        <pc:spChg chg="mod">
          <ac:chgData name="Zenos Zenica" userId="de3ee720dba36952" providerId="Windows Live" clId="Web-{24ADB7D4-CCC6-4396-A50F-0A28491CEAE9}" dt="2020-11-23T15:01:02.660" v="744" actId="1076"/>
          <ac:spMkLst>
            <pc:docMk/>
            <pc:sldMk cId="11227809" sldId="331"/>
            <ac:spMk id="37" creationId="{927BC43A-D09D-4B00-990E-A98308F1DECD}"/>
          </ac:spMkLst>
        </pc:spChg>
        <pc:graphicFrameChg chg="mod modGraphic">
          <ac:chgData name="Zenos Zenica" userId="de3ee720dba36952" providerId="Windows Live" clId="Web-{24ADB7D4-CCC6-4396-A50F-0A28491CEAE9}" dt="2020-11-23T15:00:28.097" v="734"/>
          <ac:graphicFrameMkLst>
            <pc:docMk/>
            <pc:sldMk cId="11227809" sldId="331"/>
            <ac:graphicFrameMk id="5" creationId="{19ECE677-2A64-4258-BB5E-FEBC487B03C4}"/>
          </ac:graphicFrameMkLst>
        </pc:graphicFrameChg>
      </pc:sldChg>
      <pc:sldChg chg="modSp add">
        <pc:chgData name="Zenos Zenica" userId="de3ee720dba36952" providerId="Windows Live" clId="Web-{24ADB7D4-CCC6-4396-A50F-0A28491CEAE9}" dt="2020-11-23T15:04:58.573" v="805" actId="1076"/>
        <pc:sldMkLst>
          <pc:docMk/>
          <pc:sldMk cId="872030274" sldId="332"/>
        </pc:sldMkLst>
        <pc:spChg chg="mod">
          <ac:chgData name="Zenos Zenica" userId="de3ee720dba36952" providerId="Windows Live" clId="Web-{24ADB7D4-CCC6-4396-A50F-0A28491CEAE9}" dt="2020-11-23T15:04:03.728" v="781" actId="14100"/>
          <ac:spMkLst>
            <pc:docMk/>
            <pc:sldMk cId="872030274" sldId="332"/>
            <ac:spMk id="9" creationId="{8532184E-CDC1-4B1E-81BA-2AB650DCE63D}"/>
          </ac:spMkLst>
        </pc:spChg>
        <pc:spChg chg="mod">
          <ac:chgData name="Zenos Zenica" userId="de3ee720dba36952" providerId="Windows Live" clId="Web-{24ADB7D4-CCC6-4396-A50F-0A28491CEAE9}" dt="2020-11-23T15:02:29.022" v="760" actId="14100"/>
          <ac:spMkLst>
            <pc:docMk/>
            <pc:sldMk cId="872030274" sldId="332"/>
            <ac:spMk id="11" creationId="{1F2C6919-3A2A-4EAF-9384-F103C568B553}"/>
          </ac:spMkLst>
        </pc:spChg>
        <pc:spChg chg="mod">
          <ac:chgData name="Zenos Zenica" userId="de3ee720dba36952" providerId="Windows Live" clId="Web-{24ADB7D4-CCC6-4396-A50F-0A28491CEAE9}" dt="2020-11-23T15:04:58.573" v="805" actId="1076"/>
          <ac:spMkLst>
            <pc:docMk/>
            <pc:sldMk cId="872030274" sldId="332"/>
            <ac:spMk id="16" creationId="{E83E83C3-E01A-44F1-95FF-6540BC8C3EAB}"/>
          </ac:spMkLst>
        </pc:spChg>
        <pc:spChg chg="mod">
          <ac:chgData name="Zenos Zenica" userId="de3ee720dba36952" providerId="Windows Live" clId="Web-{24ADB7D4-CCC6-4396-A50F-0A28491CEAE9}" dt="2020-11-23T15:04:22.447" v="787" actId="20577"/>
          <ac:spMkLst>
            <pc:docMk/>
            <pc:sldMk cId="872030274" sldId="332"/>
            <ac:spMk id="18" creationId="{18B1D3D4-D059-4E65-994D-41EB97447D36}"/>
          </ac:spMkLst>
        </pc:spChg>
        <pc:spChg chg="mod">
          <ac:chgData name="Zenos Zenica" userId="de3ee720dba36952" providerId="Windows Live" clId="Web-{24ADB7D4-CCC6-4396-A50F-0A28491CEAE9}" dt="2020-11-23T15:04:13.838" v="784" actId="20577"/>
          <ac:spMkLst>
            <pc:docMk/>
            <pc:sldMk cId="872030274" sldId="332"/>
            <ac:spMk id="20" creationId="{3CCF2C02-B980-4AA2-87D2-1919D7090BA7}"/>
          </ac:spMkLst>
        </pc:spChg>
        <pc:spChg chg="mod">
          <ac:chgData name="Zenos Zenica" userId="de3ee720dba36952" providerId="Windows Live" clId="Web-{24ADB7D4-CCC6-4396-A50F-0A28491CEAE9}" dt="2020-11-23T15:04:32.119" v="793" actId="20577"/>
          <ac:spMkLst>
            <pc:docMk/>
            <pc:sldMk cId="872030274" sldId="332"/>
            <ac:spMk id="22" creationId="{18996AA9-70E7-48A0-B013-239502E2464E}"/>
          </ac:spMkLst>
        </pc:spChg>
        <pc:spChg chg="mod">
          <ac:chgData name="Zenos Zenica" userId="de3ee720dba36952" providerId="Windows Live" clId="Web-{24ADB7D4-CCC6-4396-A50F-0A28491CEAE9}" dt="2020-11-23T15:04:08.978" v="782" actId="14100"/>
          <ac:spMkLst>
            <pc:docMk/>
            <pc:sldMk cId="872030274" sldId="332"/>
            <ac:spMk id="24" creationId="{EB352128-58C8-45DE-A169-CFC3EBA3EFED}"/>
          </ac:spMkLst>
        </pc:spChg>
        <pc:spChg chg="mod">
          <ac:chgData name="Zenos Zenica" userId="de3ee720dba36952" providerId="Windows Live" clId="Web-{24ADB7D4-CCC6-4396-A50F-0A28491CEAE9}" dt="2020-11-23T15:04:44.463" v="798" actId="20577"/>
          <ac:spMkLst>
            <pc:docMk/>
            <pc:sldMk cId="872030274" sldId="332"/>
            <ac:spMk id="45" creationId="{F8EFABE3-1AAB-4CE2-B8B2-3A4C60A270FA}"/>
          </ac:spMkLst>
        </pc:spChg>
        <pc:grpChg chg="mod">
          <ac:chgData name="Zenos Zenica" userId="de3ee720dba36952" providerId="Windows Live" clId="Web-{24ADB7D4-CCC6-4396-A50F-0A28491CEAE9}" dt="2020-11-23T15:01:58.349" v="752" actId="1076"/>
          <ac:grpSpMkLst>
            <pc:docMk/>
            <pc:sldMk cId="872030274" sldId="332"/>
            <ac:grpSpMk id="6" creationId="{D8A59627-4763-4C37-8298-EA27017DE3AD}"/>
          </ac:grpSpMkLst>
        </pc:grpChg>
      </pc:sldChg>
      <pc:sldChg chg="modSp add">
        <pc:chgData name="Zenos Zenica" userId="de3ee720dba36952" providerId="Windows Live" clId="Web-{24ADB7D4-CCC6-4396-A50F-0A28491CEAE9}" dt="2020-11-23T15:06:58.280" v="848" actId="20577"/>
        <pc:sldMkLst>
          <pc:docMk/>
          <pc:sldMk cId="250075625" sldId="333"/>
        </pc:sldMkLst>
        <pc:spChg chg="mod">
          <ac:chgData name="Zenos Zenica" userId="de3ee720dba36952" providerId="Windows Live" clId="Web-{24ADB7D4-CCC6-4396-A50F-0A28491CEAE9}" dt="2020-11-23T15:05:38.684" v="820" actId="1076"/>
          <ac:spMkLst>
            <pc:docMk/>
            <pc:sldMk cId="250075625" sldId="333"/>
            <ac:spMk id="16" creationId="{E83E83C3-E01A-44F1-95FF-6540BC8C3EAB}"/>
          </ac:spMkLst>
        </pc:spChg>
        <pc:spChg chg="mod">
          <ac:chgData name="Zenos Zenica" userId="de3ee720dba36952" providerId="Windows Live" clId="Web-{24ADB7D4-CCC6-4396-A50F-0A28491CEAE9}" dt="2020-11-23T15:06:11.716" v="833" actId="14100"/>
          <ac:spMkLst>
            <pc:docMk/>
            <pc:sldMk cId="250075625" sldId="333"/>
            <ac:spMk id="21" creationId="{21D0BA0B-8C87-4F7C-BCA3-56D447E0D656}"/>
          </ac:spMkLst>
        </pc:spChg>
        <pc:spChg chg="mod">
          <ac:chgData name="Zenos Zenica" userId="de3ee720dba36952" providerId="Windows Live" clId="Web-{24ADB7D4-CCC6-4396-A50F-0A28491CEAE9}" dt="2020-11-23T15:06:26.591" v="838" actId="14100"/>
          <ac:spMkLst>
            <pc:docMk/>
            <pc:sldMk cId="250075625" sldId="333"/>
            <ac:spMk id="28" creationId="{C39E3897-A151-4AFA-9E12-98105E1ED1B8}"/>
          </ac:spMkLst>
        </pc:spChg>
        <pc:spChg chg="mod">
          <ac:chgData name="Zenos Zenica" userId="de3ee720dba36952" providerId="Windows Live" clId="Web-{24ADB7D4-CCC6-4396-A50F-0A28491CEAE9}" dt="2020-11-23T15:06:16.247" v="834" actId="14100"/>
          <ac:spMkLst>
            <pc:docMk/>
            <pc:sldMk cId="250075625" sldId="333"/>
            <ac:spMk id="29" creationId="{1E514AD9-427F-48FA-852A-18082FD2436A}"/>
          </ac:spMkLst>
        </pc:spChg>
        <pc:spChg chg="mod">
          <ac:chgData name="Zenos Zenica" userId="de3ee720dba36952" providerId="Windows Live" clId="Web-{24ADB7D4-CCC6-4396-A50F-0A28491CEAE9}" dt="2020-11-23T15:06:31.654" v="840" actId="20577"/>
          <ac:spMkLst>
            <pc:docMk/>
            <pc:sldMk cId="250075625" sldId="333"/>
            <ac:spMk id="34" creationId="{7C66C31D-34CA-4424-84AB-35C3678C620C}"/>
          </ac:spMkLst>
        </pc:spChg>
        <pc:spChg chg="mod">
          <ac:chgData name="Zenos Zenica" userId="de3ee720dba36952" providerId="Windows Live" clId="Web-{24ADB7D4-CCC6-4396-A50F-0A28491CEAE9}" dt="2020-11-23T15:06:01.325" v="831" actId="14100"/>
          <ac:spMkLst>
            <pc:docMk/>
            <pc:sldMk cId="250075625" sldId="333"/>
            <ac:spMk id="35" creationId="{28088D43-8408-4A4B-AB53-F25A06ACC66F}"/>
          </ac:spMkLst>
        </pc:spChg>
        <pc:spChg chg="mod">
          <ac:chgData name="Zenos Zenica" userId="de3ee720dba36952" providerId="Windows Live" clId="Web-{24ADB7D4-CCC6-4396-A50F-0A28491CEAE9}" dt="2020-11-23T15:06:06.044" v="832" actId="14100"/>
          <ac:spMkLst>
            <pc:docMk/>
            <pc:sldMk cId="250075625" sldId="333"/>
            <ac:spMk id="40" creationId="{83929F1A-7C89-4933-A1FB-0E840765071A}"/>
          </ac:spMkLst>
        </pc:spChg>
        <pc:spChg chg="mod">
          <ac:chgData name="Zenos Zenica" userId="de3ee720dba36952" providerId="Windows Live" clId="Web-{24ADB7D4-CCC6-4396-A50F-0A28491CEAE9}" dt="2020-11-23T15:06:47.342" v="842" actId="20577"/>
          <ac:spMkLst>
            <pc:docMk/>
            <pc:sldMk cId="250075625" sldId="333"/>
            <ac:spMk id="42" creationId="{A231F47E-9EAC-44E4-8116-ED3BBE41ADA4}"/>
          </ac:spMkLst>
        </pc:spChg>
        <pc:spChg chg="mod">
          <ac:chgData name="Zenos Zenica" userId="de3ee720dba36952" providerId="Windows Live" clId="Web-{24ADB7D4-CCC6-4396-A50F-0A28491CEAE9}" dt="2020-11-23T15:06:52.842" v="845" actId="20577"/>
          <ac:spMkLst>
            <pc:docMk/>
            <pc:sldMk cId="250075625" sldId="333"/>
            <ac:spMk id="43" creationId="{0EDF058C-4125-426B-9D8D-06F63EEE0878}"/>
          </ac:spMkLst>
        </pc:spChg>
        <pc:spChg chg="mod">
          <ac:chgData name="Zenos Zenica" userId="de3ee720dba36952" providerId="Windows Live" clId="Web-{24ADB7D4-CCC6-4396-A50F-0A28491CEAE9}" dt="2020-11-23T15:06:58.280" v="848" actId="20577"/>
          <ac:spMkLst>
            <pc:docMk/>
            <pc:sldMk cId="250075625" sldId="333"/>
            <ac:spMk id="44" creationId="{58522644-D7F1-4D46-99B1-EDFD0CECB420}"/>
          </ac:spMkLst>
        </pc:spChg>
      </pc:sldChg>
      <pc:sldChg chg="modSp add">
        <pc:chgData name="Zenos Zenica" userId="de3ee720dba36952" providerId="Windows Live" clId="Web-{24ADB7D4-CCC6-4396-A50F-0A28491CEAE9}" dt="2020-11-23T15:08:22.798" v="873"/>
        <pc:sldMkLst>
          <pc:docMk/>
          <pc:sldMk cId="2806135718" sldId="334"/>
        </pc:sldMkLst>
        <pc:spChg chg="mod">
          <ac:chgData name="Zenos Zenica" userId="de3ee720dba36952" providerId="Windows Live" clId="Web-{24ADB7D4-CCC6-4396-A50F-0A28491CEAE9}" dt="2020-11-23T15:08:07.985" v="859" actId="1076"/>
          <ac:spMkLst>
            <pc:docMk/>
            <pc:sldMk cId="2806135718" sldId="334"/>
            <ac:spMk id="16" creationId="{E83E83C3-E01A-44F1-95FF-6540BC8C3EAB}"/>
          </ac:spMkLst>
        </pc:spChg>
        <pc:spChg chg="mod">
          <ac:chgData name="Zenos Zenica" userId="de3ee720dba36952" providerId="Windows Live" clId="Web-{24ADB7D4-CCC6-4396-A50F-0A28491CEAE9}" dt="2020-11-23T15:08:22.610" v="860"/>
          <ac:spMkLst>
            <pc:docMk/>
            <pc:sldMk cId="2806135718" sldId="334"/>
            <ac:spMk id="27" creationId="{EFC87C88-6FD0-4295-A66F-8CC5F0BA46AE}"/>
          </ac:spMkLst>
        </pc:spChg>
        <pc:spChg chg="mod">
          <ac:chgData name="Zenos Zenica" userId="de3ee720dba36952" providerId="Windows Live" clId="Web-{24ADB7D4-CCC6-4396-A50F-0A28491CEAE9}" dt="2020-11-23T15:08:22.626" v="861"/>
          <ac:spMkLst>
            <pc:docMk/>
            <pc:sldMk cId="2806135718" sldId="334"/>
            <ac:spMk id="45" creationId="{6358A5F9-AE82-4DEE-A1E2-58E214155C4E}"/>
          </ac:spMkLst>
        </pc:spChg>
        <pc:spChg chg="mod">
          <ac:chgData name="Zenos Zenica" userId="de3ee720dba36952" providerId="Windows Live" clId="Web-{24ADB7D4-CCC6-4396-A50F-0A28491CEAE9}" dt="2020-11-23T15:08:22.642" v="862"/>
          <ac:spMkLst>
            <pc:docMk/>
            <pc:sldMk cId="2806135718" sldId="334"/>
            <ac:spMk id="51" creationId="{08204C54-08A6-4036-84A4-496D285422AB}"/>
          </ac:spMkLst>
        </pc:spChg>
        <pc:spChg chg="mod">
          <ac:chgData name="Zenos Zenica" userId="de3ee720dba36952" providerId="Windows Live" clId="Web-{24ADB7D4-CCC6-4396-A50F-0A28491CEAE9}" dt="2020-11-23T15:08:22.657" v="863"/>
          <ac:spMkLst>
            <pc:docMk/>
            <pc:sldMk cId="2806135718" sldId="334"/>
            <ac:spMk id="53" creationId="{1FAACF7F-4D4D-412B-9859-687FD19F1867}"/>
          </ac:spMkLst>
        </pc:spChg>
        <pc:spChg chg="mod">
          <ac:chgData name="Zenos Zenica" userId="de3ee720dba36952" providerId="Windows Live" clId="Web-{24ADB7D4-CCC6-4396-A50F-0A28491CEAE9}" dt="2020-11-23T15:08:22.673" v="864"/>
          <ac:spMkLst>
            <pc:docMk/>
            <pc:sldMk cId="2806135718" sldId="334"/>
            <ac:spMk id="55" creationId="{4B8EE6F9-291E-4632-A020-5CC6712AF9BD}"/>
          </ac:spMkLst>
        </pc:spChg>
        <pc:spChg chg="mod">
          <ac:chgData name="Zenos Zenica" userId="de3ee720dba36952" providerId="Windows Live" clId="Web-{24ADB7D4-CCC6-4396-A50F-0A28491CEAE9}" dt="2020-11-23T15:08:22.689" v="865"/>
          <ac:spMkLst>
            <pc:docMk/>
            <pc:sldMk cId="2806135718" sldId="334"/>
            <ac:spMk id="57" creationId="{C94BE0CE-DF8A-4092-8AFB-C67302644BD8}"/>
          </ac:spMkLst>
        </pc:spChg>
        <pc:spChg chg="mod">
          <ac:chgData name="Zenos Zenica" userId="de3ee720dba36952" providerId="Windows Live" clId="Web-{24ADB7D4-CCC6-4396-A50F-0A28491CEAE9}" dt="2020-11-23T15:08:22.689" v="866"/>
          <ac:spMkLst>
            <pc:docMk/>
            <pc:sldMk cId="2806135718" sldId="334"/>
            <ac:spMk id="63" creationId="{A8A950DE-F177-4870-B95D-8448EDDFC379}"/>
          </ac:spMkLst>
        </pc:spChg>
        <pc:spChg chg="mod">
          <ac:chgData name="Zenos Zenica" userId="de3ee720dba36952" providerId="Windows Live" clId="Web-{24ADB7D4-CCC6-4396-A50F-0A28491CEAE9}" dt="2020-11-23T15:08:22.704" v="867"/>
          <ac:spMkLst>
            <pc:docMk/>
            <pc:sldMk cId="2806135718" sldId="334"/>
            <ac:spMk id="64" creationId="{321D3145-CBB3-4E33-B29D-88569C7CC047}"/>
          </ac:spMkLst>
        </pc:spChg>
        <pc:spChg chg="mod">
          <ac:chgData name="Zenos Zenica" userId="de3ee720dba36952" providerId="Windows Live" clId="Web-{24ADB7D4-CCC6-4396-A50F-0A28491CEAE9}" dt="2020-11-23T15:08:22.720" v="868"/>
          <ac:spMkLst>
            <pc:docMk/>
            <pc:sldMk cId="2806135718" sldId="334"/>
            <ac:spMk id="65" creationId="{61E4FF1E-1E90-4EB0-A56F-3CAE05E425DC}"/>
          </ac:spMkLst>
        </pc:spChg>
        <pc:spChg chg="mod">
          <ac:chgData name="Zenos Zenica" userId="de3ee720dba36952" providerId="Windows Live" clId="Web-{24ADB7D4-CCC6-4396-A50F-0A28491CEAE9}" dt="2020-11-23T15:08:22.735" v="869"/>
          <ac:spMkLst>
            <pc:docMk/>
            <pc:sldMk cId="2806135718" sldId="334"/>
            <ac:spMk id="66" creationId="{65F19337-9242-46DD-A6ED-11A377373A4E}"/>
          </ac:spMkLst>
        </pc:spChg>
        <pc:spChg chg="mod">
          <ac:chgData name="Zenos Zenica" userId="de3ee720dba36952" providerId="Windows Live" clId="Web-{24ADB7D4-CCC6-4396-A50F-0A28491CEAE9}" dt="2020-11-23T15:08:22.751" v="870"/>
          <ac:spMkLst>
            <pc:docMk/>
            <pc:sldMk cId="2806135718" sldId="334"/>
            <ac:spMk id="67" creationId="{74113D67-6BC5-4D0E-A1D6-EA2C67828A58}"/>
          </ac:spMkLst>
        </pc:spChg>
        <pc:spChg chg="mod">
          <ac:chgData name="Zenos Zenica" userId="de3ee720dba36952" providerId="Windows Live" clId="Web-{24ADB7D4-CCC6-4396-A50F-0A28491CEAE9}" dt="2020-11-23T15:08:22.767" v="871"/>
          <ac:spMkLst>
            <pc:docMk/>
            <pc:sldMk cId="2806135718" sldId="334"/>
            <ac:spMk id="68" creationId="{A1084678-E8E1-4221-8881-379CE85403F5}"/>
          </ac:spMkLst>
        </pc:spChg>
        <pc:spChg chg="mod">
          <ac:chgData name="Zenos Zenica" userId="de3ee720dba36952" providerId="Windows Live" clId="Web-{24ADB7D4-CCC6-4396-A50F-0A28491CEAE9}" dt="2020-11-23T15:08:22.782" v="872"/>
          <ac:spMkLst>
            <pc:docMk/>
            <pc:sldMk cId="2806135718" sldId="334"/>
            <ac:spMk id="69" creationId="{3F277828-85DD-4991-8B35-6E8192C9D454}"/>
          </ac:spMkLst>
        </pc:spChg>
        <pc:spChg chg="mod">
          <ac:chgData name="Zenos Zenica" userId="de3ee720dba36952" providerId="Windows Live" clId="Web-{24ADB7D4-CCC6-4396-A50F-0A28491CEAE9}" dt="2020-11-23T15:08:22.798" v="873"/>
          <ac:spMkLst>
            <pc:docMk/>
            <pc:sldMk cId="2806135718" sldId="334"/>
            <ac:spMk id="70" creationId="{1BD676A8-952E-4A20-B10D-00C7623E4AAE}"/>
          </ac:spMkLst>
        </pc:spChg>
      </pc:sldChg>
      <pc:sldChg chg="modSp add">
        <pc:chgData name="Zenos Zenica" userId="de3ee720dba36952" providerId="Windows Live" clId="Web-{24ADB7D4-CCC6-4396-A50F-0A28491CEAE9}" dt="2020-11-23T15:09:00.987" v="879" actId="14100"/>
        <pc:sldMkLst>
          <pc:docMk/>
          <pc:sldMk cId="553361134" sldId="335"/>
        </pc:sldMkLst>
        <pc:spChg chg="mod">
          <ac:chgData name="Zenos Zenica" userId="de3ee720dba36952" providerId="Windows Live" clId="Web-{24ADB7D4-CCC6-4396-A50F-0A28491CEAE9}" dt="2020-11-23T15:09:00.987" v="879" actId="14100"/>
          <ac:spMkLst>
            <pc:docMk/>
            <pc:sldMk cId="553361134" sldId="335"/>
            <ac:spMk id="16" creationId="{E83E83C3-E01A-44F1-95FF-6540BC8C3EAB}"/>
          </ac:spMkLst>
        </pc:spChg>
      </pc:sldChg>
      <pc:sldChg chg="modSp add">
        <pc:chgData name="Zenos Zenica" userId="de3ee720dba36952" providerId="Windows Live" clId="Web-{24ADB7D4-CCC6-4396-A50F-0A28491CEAE9}" dt="2020-11-23T15:09:21.534" v="887" actId="14100"/>
        <pc:sldMkLst>
          <pc:docMk/>
          <pc:sldMk cId="4134894835" sldId="336"/>
        </pc:sldMkLst>
        <pc:spChg chg="mod">
          <ac:chgData name="Zenos Zenica" userId="de3ee720dba36952" providerId="Windows Live" clId="Web-{24ADB7D4-CCC6-4396-A50F-0A28491CEAE9}" dt="2020-11-23T15:09:21.534" v="887" actId="14100"/>
          <ac:spMkLst>
            <pc:docMk/>
            <pc:sldMk cId="4134894835" sldId="336"/>
            <ac:spMk id="16" creationId="{E83E83C3-E01A-44F1-95FF-6540BC8C3EAB}"/>
          </ac:spMkLst>
        </pc:spChg>
      </pc:sldChg>
      <pc:sldChg chg="modSp add">
        <pc:chgData name="Zenos Zenica" userId="de3ee720dba36952" providerId="Windows Live" clId="Web-{24ADB7D4-CCC6-4396-A50F-0A28491CEAE9}" dt="2020-11-23T15:10:34.224" v="907" actId="1076"/>
        <pc:sldMkLst>
          <pc:docMk/>
          <pc:sldMk cId="917747454" sldId="337"/>
        </pc:sldMkLst>
        <pc:spChg chg="mod">
          <ac:chgData name="Zenos Zenica" userId="de3ee720dba36952" providerId="Windows Live" clId="Web-{24ADB7D4-CCC6-4396-A50F-0A28491CEAE9}" dt="2020-11-23T15:10:34.224" v="907" actId="1076"/>
          <ac:spMkLst>
            <pc:docMk/>
            <pc:sldMk cId="917747454" sldId="337"/>
            <ac:spMk id="16" creationId="{E83E83C3-E01A-44F1-95FF-6540BC8C3EAB}"/>
          </ac:spMkLst>
        </pc:spChg>
        <pc:spChg chg="mod">
          <ac:chgData name="Zenos Zenica" userId="de3ee720dba36952" providerId="Windows Live" clId="Web-{24ADB7D4-CCC6-4396-A50F-0A28491CEAE9}" dt="2020-11-23T15:10:01.863" v="890" actId="1076"/>
          <ac:spMkLst>
            <pc:docMk/>
            <pc:sldMk cId="917747454" sldId="337"/>
            <ac:spMk id="125" creationId="{E7F2FC67-D2C3-4AFB-89B8-B044FF5E280B}"/>
          </ac:spMkLst>
        </pc:spChg>
        <pc:grpChg chg="mod">
          <ac:chgData name="Zenos Zenica" userId="de3ee720dba36952" providerId="Windows Live" clId="Web-{24ADB7D4-CCC6-4396-A50F-0A28491CEAE9}" dt="2020-11-23T15:09:51.347" v="889" actId="1076"/>
          <ac:grpSpMkLst>
            <pc:docMk/>
            <pc:sldMk cId="917747454" sldId="337"/>
            <ac:grpSpMk id="5" creationId="{43C0B1BB-8164-47EA-89A4-8EB6D556EC6B}"/>
          </ac:grpSpMkLst>
        </pc:grpChg>
        <pc:grpChg chg="mod">
          <ac:chgData name="Zenos Zenica" userId="de3ee720dba36952" providerId="Windows Live" clId="Web-{24ADB7D4-CCC6-4396-A50F-0A28491CEAE9}" dt="2020-11-23T15:09:38.581" v="888" actId="1076"/>
          <ac:grpSpMkLst>
            <pc:docMk/>
            <pc:sldMk cId="917747454" sldId="337"/>
            <ac:grpSpMk id="6" creationId="{FC619656-2086-4677-B753-A0AFE1BBBD7A}"/>
          </ac:grpSpMkLst>
        </pc:grpChg>
      </pc:sldChg>
      <pc:sldChg chg="modSp add">
        <pc:chgData name="Zenos Zenica" userId="de3ee720dba36952" providerId="Windows Live" clId="Web-{24ADB7D4-CCC6-4396-A50F-0A28491CEAE9}" dt="2020-11-23T15:13:55.105" v="953" actId="1076"/>
        <pc:sldMkLst>
          <pc:docMk/>
          <pc:sldMk cId="2789181581" sldId="338"/>
        </pc:sldMkLst>
        <pc:spChg chg="mod">
          <ac:chgData name="Zenos Zenica" userId="de3ee720dba36952" providerId="Windows Live" clId="Web-{24ADB7D4-CCC6-4396-A50F-0A28491CEAE9}" dt="2020-11-23T15:13:55.105" v="953" actId="1076"/>
          <ac:spMkLst>
            <pc:docMk/>
            <pc:sldMk cId="2789181581" sldId="338"/>
            <ac:spMk id="16" creationId="{E83E83C3-E01A-44F1-95FF-6540BC8C3EAB}"/>
          </ac:spMkLst>
        </pc:spChg>
        <pc:spChg chg="mod">
          <ac:chgData name="Zenos Zenica" userId="de3ee720dba36952" providerId="Windows Live" clId="Web-{24ADB7D4-CCC6-4396-A50F-0A28491CEAE9}" dt="2020-11-23T15:11:28.772" v="909"/>
          <ac:spMkLst>
            <pc:docMk/>
            <pc:sldMk cId="2789181581" sldId="338"/>
            <ac:spMk id="106" creationId="{125E607E-47C8-4CE8-B0C7-9C2E5CB89E58}"/>
          </ac:spMkLst>
        </pc:spChg>
        <pc:spChg chg="mod">
          <ac:chgData name="Zenos Zenica" userId="de3ee720dba36952" providerId="Windows Live" clId="Web-{24ADB7D4-CCC6-4396-A50F-0A28491CEAE9}" dt="2020-11-23T15:11:28.772" v="910"/>
          <ac:spMkLst>
            <pc:docMk/>
            <pc:sldMk cId="2789181581" sldId="338"/>
            <ac:spMk id="109" creationId="{14CEC68A-F589-4BAB-8531-B51C5576EDCC}"/>
          </ac:spMkLst>
        </pc:spChg>
        <pc:spChg chg="mod">
          <ac:chgData name="Zenos Zenica" userId="de3ee720dba36952" providerId="Windows Live" clId="Web-{24ADB7D4-CCC6-4396-A50F-0A28491CEAE9}" dt="2020-11-23T15:11:28.788" v="911"/>
          <ac:spMkLst>
            <pc:docMk/>
            <pc:sldMk cId="2789181581" sldId="338"/>
            <ac:spMk id="110" creationId="{313F64DC-367B-4D57-A323-FACA03F0277C}"/>
          </ac:spMkLst>
        </pc:spChg>
        <pc:spChg chg="mod">
          <ac:chgData name="Zenos Zenica" userId="de3ee720dba36952" providerId="Windows Live" clId="Web-{24ADB7D4-CCC6-4396-A50F-0A28491CEAE9}" dt="2020-11-23T15:11:28.788" v="912"/>
          <ac:spMkLst>
            <pc:docMk/>
            <pc:sldMk cId="2789181581" sldId="338"/>
            <ac:spMk id="112" creationId="{33088128-3F82-493A-8A25-4A5A6502DB62}"/>
          </ac:spMkLst>
        </pc:spChg>
        <pc:spChg chg="mod">
          <ac:chgData name="Zenos Zenica" userId="de3ee720dba36952" providerId="Windows Live" clId="Web-{24ADB7D4-CCC6-4396-A50F-0A28491CEAE9}" dt="2020-11-23T15:11:28.913" v="919" actId="20577"/>
          <ac:spMkLst>
            <pc:docMk/>
            <pc:sldMk cId="2789181581" sldId="338"/>
            <ac:spMk id="117" creationId="{7C165CC1-1327-4937-91C6-2B756E8B065F}"/>
          </ac:spMkLst>
        </pc:spChg>
        <pc:spChg chg="mod">
          <ac:chgData name="Zenos Zenica" userId="de3ee720dba36952" providerId="Windows Live" clId="Web-{24ADB7D4-CCC6-4396-A50F-0A28491CEAE9}" dt="2020-11-23T15:11:29.757" v="921" actId="20577"/>
          <ac:spMkLst>
            <pc:docMk/>
            <pc:sldMk cId="2789181581" sldId="338"/>
            <ac:spMk id="119" creationId="{A41A0C23-F979-4084-9567-ED79F4435971}"/>
          </ac:spMkLst>
        </pc:spChg>
        <pc:spChg chg="mod">
          <ac:chgData name="Zenos Zenica" userId="de3ee720dba36952" providerId="Windows Live" clId="Web-{24ADB7D4-CCC6-4396-A50F-0A28491CEAE9}" dt="2020-11-23T15:11:29.897" v="925" actId="20577"/>
          <ac:spMkLst>
            <pc:docMk/>
            <pc:sldMk cId="2789181581" sldId="338"/>
            <ac:spMk id="121" creationId="{37DDC056-993D-47DF-9055-40C112E5B5CF}"/>
          </ac:spMkLst>
        </pc:spChg>
        <pc:spChg chg="mod">
          <ac:chgData name="Zenos Zenica" userId="de3ee720dba36952" providerId="Windows Live" clId="Web-{24ADB7D4-CCC6-4396-A50F-0A28491CEAE9}" dt="2020-11-23T15:11:30.007" v="931" actId="20577"/>
          <ac:spMkLst>
            <pc:docMk/>
            <pc:sldMk cId="2789181581" sldId="338"/>
            <ac:spMk id="123" creationId="{F4B0739E-8DB9-4C9B-9825-33F842739DF8}"/>
          </ac:spMkLst>
        </pc:spChg>
        <pc:spChg chg="mod">
          <ac:chgData name="Zenos Zenica" userId="de3ee720dba36952" providerId="Windows Live" clId="Web-{24ADB7D4-CCC6-4396-A50F-0A28491CEAE9}" dt="2020-11-23T15:13:19.525" v="948" actId="1076"/>
          <ac:spMkLst>
            <pc:docMk/>
            <pc:sldMk cId="2789181581" sldId="338"/>
            <ac:spMk id="125" creationId="{E7F2FC67-D2C3-4AFB-89B8-B044FF5E280B}"/>
          </ac:spMkLst>
        </pc:spChg>
      </pc:sldChg>
      <pc:sldChg chg="modSp add">
        <pc:chgData name="Zenos Zenica" userId="de3ee720dba36952" providerId="Windows Live" clId="Web-{24ADB7D4-CCC6-4396-A50F-0A28491CEAE9}" dt="2020-11-23T15:14:50.903" v="981" actId="1076"/>
        <pc:sldMkLst>
          <pc:docMk/>
          <pc:sldMk cId="747296911" sldId="339"/>
        </pc:sldMkLst>
        <pc:spChg chg="mod">
          <ac:chgData name="Zenos Zenica" userId="de3ee720dba36952" providerId="Windows Live" clId="Web-{24ADB7D4-CCC6-4396-A50F-0A28491CEAE9}" dt="2020-11-23T15:14:50.903" v="981" actId="1076"/>
          <ac:spMkLst>
            <pc:docMk/>
            <pc:sldMk cId="747296911" sldId="339"/>
            <ac:spMk id="16" creationId="{E83E83C3-E01A-44F1-95FF-6540BC8C3EAB}"/>
          </ac:spMkLst>
        </pc:spChg>
        <pc:spChg chg="mod">
          <ac:chgData name="Zenos Zenica" userId="de3ee720dba36952" providerId="Windows Live" clId="Web-{24ADB7D4-CCC6-4396-A50F-0A28491CEAE9}" dt="2020-11-23T15:14:20.168" v="955"/>
          <ac:spMkLst>
            <pc:docMk/>
            <pc:sldMk cId="747296911" sldId="339"/>
            <ac:spMk id="28" creationId="{920E6F0E-226E-46DE-B94B-52FA1262FF50}"/>
          </ac:spMkLst>
        </pc:spChg>
        <pc:spChg chg="mod">
          <ac:chgData name="Zenos Zenica" userId="de3ee720dba36952" providerId="Windows Live" clId="Web-{24ADB7D4-CCC6-4396-A50F-0A28491CEAE9}" dt="2020-11-23T15:14:20.183" v="956"/>
          <ac:spMkLst>
            <pc:docMk/>
            <pc:sldMk cId="747296911" sldId="339"/>
            <ac:spMk id="29" creationId="{3DC2B982-C86B-449A-BD3A-EF318DF81263}"/>
          </ac:spMkLst>
        </pc:spChg>
        <pc:spChg chg="mod">
          <ac:chgData name="Zenos Zenica" userId="de3ee720dba36952" providerId="Windows Live" clId="Web-{24ADB7D4-CCC6-4396-A50F-0A28491CEAE9}" dt="2020-11-23T15:14:20.199" v="957"/>
          <ac:spMkLst>
            <pc:docMk/>
            <pc:sldMk cId="747296911" sldId="339"/>
            <ac:spMk id="30" creationId="{EC8B67DB-1B15-4AA7-988F-683E59BC1D7D}"/>
          </ac:spMkLst>
        </pc:spChg>
        <pc:spChg chg="mod">
          <ac:chgData name="Zenos Zenica" userId="de3ee720dba36952" providerId="Windows Live" clId="Web-{24ADB7D4-CCC6-4396-A50F-0A28491CEAE9}" dt="2020-11-23T15:14:20.199" v="958"/>
          <ac:spMkLst>
            <pc:docMk/>
            <pc:sldMk cId="747296911" sldId="339"/>
            <ac:spMk id="31" creationId="{F7E98078-71AD-422F-84BD-F3C3BE47861E}"/>
          </ac:spMkLst>
        </pc:spChg>
        <pc:spChg chg="mod">
          <ac:chgData name="Zenos Zenica" userId="de3ee720dba36952" providerId="Windows Live" clId="Web-{24ADB7D4-CCC6-4396-A50F-0A28491CEAE9}" dt="2020-11-23T15:14:20.215" v="959"/>
          <ac:spMkLst>
            <pc:docMk/>
            <pc:sldMk cId="747296911" sldId="339"/>
            <ac:spMk id="33" creationId="{F1C8BE34-DCFE-4BB8-A642-2470309A5AFC}"/>
          </ac:spMkLst>
        </pc:spChg>
        <pc:spChg chg="mod">
          <ac:chgData name="Zenos Zenica" userId="de3ee720dba36952" providerId="Windows Live" clId="Web-{24ADB7D4-CCC6-4396-A50F-0A28491CEAE9}" dt="2020-11-23T15:14:20.230" v="960"/>
          <ac:spMkLst>
            <pc:docMk/>
            <pc:sldMk cId="747296911" sldId="339"/>
            <ac:spMk id="34" creationId="{E42ACCDA-FF92-4F1E-9072-DCAD7600499A}"/>
          </ac:spMkLst>
        </pc:spChg>
        <pc:spChg chg="mod">
          <ac:chgData name="Zenos Zenica" userId="de3ee720dba36952" providerId="Windows Live" clId="Web-{24ADB7D4-CCC6-4396-A50F-0A28491CEAE9}" dt="2020-11-23T15:14:20.246" v="961"/>
          <ac:spMkLst>
            <pc:docMk/>
            <pc:sldMk cId="747296911" sldId="339"/>
            <ac:spMk id="35" creationId="{A1D0661E-149A-42D2-8215-871879F04063}"/>
          </ac:spMkLst>
        </pc:spChg>
        <pc:spChg chg="mod">
          <ac:chgData name="Zenos Zenica" userId="de3ee720dba36952" providerId="Windows Live" clId="Web-{24ADB7D4-CCC6-4396-A50F-0A28491CEAE9}" dt="2020-11-23T15:14:20.262" v="962"/>
          <ac:spMkLst>
            <pc:docMk/>
            <pc:sldMk cId="747296911" sldId="339"/>
            <ac:spMk id="36" creationId="{0C192D40-38CC-47AE-A98B-A62AB2009793}"/>
          </ac:spMkLst>
        </pc:spChg>
        <pc:spChg chg="mod">
          <ac:chgData name="Zenos Zenica" userId="de3ee720dba36952" providerId="Windows Live" clId="Web-{24ADB7D4-CCC6-4396-A50F-0A28491CEAE9}" dt="2020-11-23T15:14:20.277" v="963"/>
          <ac:spMkLst>
            <pc:docMk/>
            <pc:sldMk cId="747296911" sldId="339"/>
            <ac:spMk id="37" creationId="{02B9744C-F601-4144-B8B5-8619F0D83851}"/>
          </ac:spMkLst>
        </pc:spChg>
        <pc:spChg chg="mod">
          <ac:chgData name="Zenos Zenica" userId="de3ee720dba36952" providerId="Windows Live" clId="Web-{24ADB7D4-CCC6-4396-A50F-0A28491CEAE9}" dt="2020-11-23T15:14:20.293" v="964"/>
          <ac:spMkLst>
            <pc:docMk/>
            <pc:sldMk cId="747296911" sldId="339"/>
            <ac:spMk id="38" creationId="{8E023378-66A1-4D76-9F67-DA9D018492C5}"/>
          </ac:spMkLst>
        </pc:spChg>
        <pc:spChg chg="mod">
          <ac:chgData name="Zenos Zenica" userId="de3ee720dba36952" providerId="Windows Live" clId="Web-{24ADB7D4-CCC6-4396-A50F-0A28491CEAE9}" dt="2020-11-23T15:14:20.308" v="965"/>
          <ac:spMkLst>
            <pc:docMk/>
            <pc:sldMk cId="747296911" sldId="339"/>
            <ac:spMk id="39" creationId="{7CA92BA5-34F2-4A45-BC22-B1564B2AFAD1}"/>
          </ac:spMkLst>
        </pc:spChg>
        <pc:spChg chg="mod">
          <ac:chgData name="Zenos Zenica" userId="de3ee720dba36952" providerId="Windows Live" clId="Web-{24ADB7D4-CCC6-4396-A50F-0A28491CEAE9}" dt="2020-11-23T15:14:20.308" v="966"/>
          <ac:spMkLst>
            <pc:docMk/>
            <pc:sldMk cId="747296911" sldId="339"/>
            <ac:spMk id="40" creationId="{F10A702B-12C5-40EC-8606-325AA5945C09}"/>
          </ac:spMkLst>
        </pc:spChg>
        <pc:spChg chg="mod">
          <ac:chgData name="Zenos Zenica" userId="de3ee720dba36952" providerId="Windows Live" clId="Web-{24ADB7D4-CCC6-4396-A50F-0A28491CEAE9}" dt="2020-11-23T15:14:20.152" v="954"/>
          <ac:spMkLst>
            <pc:docMk/>
            <pc:sldMk cId="747296911" sldId="339"/>
            <ac:spMk id="125" creationId="{E7F2FC67-D2C3-4AFB-89B8-B044FF5E280B}"/>
          </ac:spMkLst>
        </pc:spChg>
      </pc:sldChg>
      <pc:sldChg chg="modSp add">
        <pc:chgData name="Zenos Zenica" userId="de3ee720dba36952" providerId="Windows Live" clId="Web-{24ADB7D4-CCC6-4396-A50F-0A28491CEAE9}" dt="2020-11-23T15:16:03.686" v="1017" actId="1076"/>
        <pc:sldMkLst>
          <pc:docMk/>
          <pc:sldMk cId="841306383" sldId="340"/>
        </pc:sldMkLst>
        <pc:spChg chg="mod">
          <ac:chgData name="Zenos Zenica" userId="de3ee720dba36952" providerId="Windows Live" clId="Web-{24ADB7D4-CCC6-4396-A50F-0A28491CEAE9}" dt="2020-11-23T15:16:03.686" v="1017" actId="1076"/>
          <ac:spMkLst>
            <pc:docMk/>
            <pc:sldMk cId="841306383" sldId="340"/>
            <ac:spMk id="16" creationId="{E83E83C3-E01A-44F1-95FF-6540BC8C3EAB}"/>
          </ac:spMkLst>
        </pc:spChg>
        <pc:spChg chg="mod">
          <ac:chgData name="Zenos Zenica" userId="de3ee720dba36952" providerId="Windows Live" clId="Web-{24ADB7D4-CCC6-4396-A50F-0A28491CEAE9}" dt="2020-11-23T15:15:53.671" v="1004" actId="1076"/>
          <ac:spMkLst>
            <pc:docMk/>
            <pc:sldMk cId="841306383" sldId="340"/>
            <ac:spMk id="26" creationId="{0DFF2D83-431A-463E-AD17-13FF7D65D7E7}"/>
          </ac:spMkLst>
        </pc:spChg>
        <pc:spChg chg="mod">
          <ac:chgData name="Zenos Zenica" userId="de3ee720dba36952" providerId="Windows Live" clId="Web-{24ADB7D4-CCC6-4396-A50F-0A28491CEAE9}" dt="2020-11-23T15:15:53.686" v="1005" actId="1076"/>
          <ac:spMkLst>
            <pc:docMk/>
            <pc:sldMk cId="841306383" sldId="340"/>
            <ac:spMk id="32" creationId="{6C41D8FF-87C3-4635-9113-46EABA34DEF5}"/>
          </ac:spMkLst>
        </pc:spChg>
        <pc:spChg chg="mod">
          <ac:chgData name="Zenos Zenica" userId="de3ee720dba36952" providerId="Windows Live" clId="Web-{24ADB7D4-CCC6-4396-A50F-0A28491CEAE9}" dt="2020-11-23T15:15:53.702" v="1006" actId="1076"/>
          <ac:spMkLst>
            <pc:docMk/>
            <pc:sldMk cId="841306383" sldId="340"/>
            <ac:spMk id="41" creationId="{68FFACF7-3191-4CB4-9E7C-FB1CBF63BA97}"/>
          </ac:spMkLst>
        </pc:spChg>
        <pc:spChg chg="mod">
          <ac:chgData name="Zenos Zenica" userId="de3ee720dba36952" providerId="Windows Live" clId="Web-{24ADB7D4-CCC6-4396-A50F-0A28491CEAE9}" dt="2020-11-23T15:15:53.702" v="1007" actId="1076"/>
          <ac:spMkLst>
            <pc:docMk/>
            <pc:sldMk cId="841306383" sldId="340"/>
            <ac:spMk id="42" creationId="{5D276D22-9C92-49E2-91F4-4A7EFA9C67E4}"/>
          </ac:spMkLst>
        </pc:spChg>
        <pc:spChg chg="mod">
          <ac:chgData name="Zenos Zenica" userId="de3ee720dba36952" providerId="Windows Live" clId="Web-{24ADB7D4-CCC6-4396-A50F-0A28491CEAE9}" dt="2020-11-23T15:15:53.655" v="1003" actId="1076"/>
          <ac:spMkLst>
            <pc:docMk/>
            <pc:sldMk cId="841306383" sldId="340"/>
            <ac:spMk id="43" creationId="{0F9A7962-6B75-49D2-A00E-2107B61616DE}"/>
          </ac:spMkLst>
        </pc:spChg>
        <pc:spChg chg="mod">
          <ac:chgData name="Zenos Zenica" userId="de3ee720dba36952" providerId="Windows Live" clId="Web-{24ADB7D4-CCC6-4396-A50F-0A28491CEAE9}" dt="2020-11-23T15:15:53.717" v="1008" actId="1076"/>
          <ac:spMkLst>
            <pc:docMk/>
            <pc:sldMk cId="841306383" sldId="340"/>
            <ac:spMk id="44" creationId="{9D05F3A2-C870-4AC5-A949-2DE49F8CAAD0}"/>
          </ac:spMkLst>
        </pc:spChg>
        <pc:spChg chg="mod">
          <ac:chgData name="Zenos Zenica" userId="de3ee720dba36952" providerId="Windows Live" clId="Web-{24ADB7D4-CCC6-4396-A50F-0A28491CEAE9}" dt="2020-11-23T15:15:53.717" v="1009" actId="1076"/>
          <ac:spMkLst>
            <pc:docMk/>
            <pc:sldMk cId="841306383" sldId="340"/>
            <ac:spMk id="45" creationId="{885D4830-EEDC-410E-9E59-85B53A851DD9}"/>
          </ac:spMkLst>
        </pc:spChg>
        <pc:spChg chg="mod">
          <ac:chgData name="Zenos Zenica" userId="de3ee720dba36952" providerId="Windows Live" clId="Web-{24ADB7D4-CCC6-4396-A50F-0A28491CEAE9}" dt="2020-11-23T15:15:53.733" v="1010" actId="1076"/>
          <ac:spMkLst>
            <pc:docMk/>
            <pc:sldMk cId="841306383" sldId="340"/>
            <ac:spMk id="46" creationId="{3732BA0D-B8DF-4768-ABA7-DBBD90A7DCC0}"/>
          </ac:spMkLst>
        </pc:spChg>
        <pc:spChg chg="mod">
          <ac:chgData name="Zenos Zenica" userId="de3ee720dba36952" providerId="Windows Live" clId="Web-{24ADB7D4-CCC6-4396-A50F-0A28491CEAE9}" dt="2020-11-23T15:15:53.780" v="1014" actId="1076"/>
          <ac:spMkLst>
            <pc:docMk/>
            <pc:sldMk cId="841306383" sldId="340"/>
            <ac:spMk id="47" creationId="{7104B6E2-CF6F-4339-8167-E0C99325B46D}"/>
          </ac:spMkLst>
        </pc:spChg>
        <pc:spChg chg="mod">
          <ac:chgData name="Zenos Zenica" userId="de3ee720dba36952" providerId="Windows Live" clId="Web-{24ADB7D4-CCC6-4396-A50F-0A28491CEAE9}" dt="2020-11-23T15:15:53.749" v="1011" actId="1076"/>
          <ac:spMkLst>
            <pc:docMk/>
            <pc:sldMk cId="841306383" sldId="340"/>
            <ac:spMk id="49" creationId="{C8EE7E25-1DE7-48A4-8420-CB531DCCBFE6}"/>
          </ac:spMkLst>
        </pc:spChg>
        <pc:spChg chg="mod">
          <ac:chgData name="Zenos Zenica" userId="de3ee720dba36952" providerId="Windows Live" clId="Web-{24ADB7D4-CCC6-4396-A50F-0A28491CEAE9}" dt="2020-11-23T15:15:53.749" v="1012" actId="1076"/>
          <ac:spMkLst>
            <pc:docMk/>
            <pc:sldMk cId="841306383" sldId="340"/>
            <ac:spMk id="51" creationId="{DD501777-E0CB-4ED1-8E60-6D064F22FC16}"/>
          </ac:spMkLst>
        </pc:spChg>
        <pc:spChg chg="mod">
          <ac:chgData name="Zenos Zenica" userId="de3ee720dba36952" providerId="Windows Live" clId="Web-{24ADB7D4-CCC6-4396-A50F-0A28491CEAE9}" dt="2020-11-23T15:15:53.764" v="1013" actId="1076"/>
          <ac:spMkLst>
            <pc:docMk/>
            <pc:sldMk cId="841306383" sldId="340"/>
            <ac:spMk id="53" creationId="{C7F5D1CA-A63D-4828-AB3C-A633AC638FC4}"/>
          </ac:spMkLst>
        </pc:spChg>
        <pc:spChg chg="mod">
          <ac:chgData name="Zenos Zenica" userId="de3ee720dba36952" providerId="Windows Live" clId="Web-{24ADB7D4-CCC6-4396-A50F-0A28491CEAE9}" dt="2020-11-23T15:15:57.671" v="1015" actId="1076"/>
          <ac:spMkLst>
            <pc:docMk/>
            <pc:sldMk cId="841306383" sldId="340"/>
            <ac:spMk id="125" creationId="{E7F2FC67-D2C3-4AFB-89B8-B044FF5E280B}"/>
          </ac:spMkLst>
        </pc:spChg>
      </pc:sldChg>
      <pc:sldChg chg="modSp add">
        <pc:chgData name="Zenos Zenica" userId="de3ee720dba36952" providerId="Windows Live" clId="Web-{24ADB7D4-CCC6-4396-A50F-0A28491CEAE9}" dt="2020-11-23T15:16:32.422" v="1023" actId="20577"/>
        <pc:sldMkLst>
          <pc:docMk/>
          <pc:sldMk cId="1493969223" sldId="341"/>
        </pc:sldMkLst>
        <pc:spChg chg="mod">
          <ac:chgData name="Zenos Zenica" userId="de3ee720dba36952" providerId="Windows Live" clId="Web-{24ADB7D4-CCC6-4396-A50F-0A28491CEAE9}" dt="2020-11-23T15:16:32.422" v="1023" actId="20577"/>
          <ac:spMkLst>
            <pc:docMk/>
            <pc:sldMk cId="1493969223" sldId="341"/>
            <ac:spMk id="16" creationId="{E83E83C3-E01A-44F1-95FF-6540BC8C3EAB}"/>
          </ac:spMkLst>
        </pc:spChg>
      </pc:sldChg>
      <pc:sldChg chg="add">
        <pc:chgData name="Zenos Zenica" userId="de3ee720dba36952" providerId="Windows Live" clId="Web-{24ADB7D4-CCC6-4396-A50F-0A28491CEAE9}" dt="2020-11-23T14:12:14.278" v="24"/>
        <pc:sldMkLst>
          <pc:docMk/>
          <pc:sldMk cId="540352036" sldId="342"/>
        </pc:sldMkLst>
      </pc:sldChg>
      <pc:sldChg chg="modSp add">
        <pc:chgData name="Zenos Zenica" userId="de3ee720dba36952" providerId="Windows Live" clId="Web-{24ADB7D4-CCC6-4396-A50F-0A28491CEAE9}" dt="2020-11-23T15:17:18.595" v="1052" actId="1076"/>
        <pc:sldMkLst>
          <pc:docMk/>
          <pc:sldMk cId="1412144160" sldId="343"/>
        </pc:sldMkLst>
        <pc:spChg chg="mod">
          <ac:chgData name="Zenos Zenica" userId="de3ee720dba36952" providerId="Windows Live" clId="Web-{24ADB7D4-CCC6-4396-A50F-0A28491CEAE9}" dt="2020-11-23T15:16:53.860" v="1026" actId="1076"/>
          <ac:spMkLst>
            <pc:docMk/>
            <pc:sldMk cId="1412144160" sldId="343"/>
            <ac:spMk id="10" creationId="{439AB075-704F-4DF1-8AAD-CF7A623F8EFD}"/>
          </ac:spMkLst>
        </pc:spChg>
        <pc:spChg chg="mod">
          <ac:chgData name="Zenos Zenica" userId="de3ee720dba36952" providerId="Windows Live" clId="Web-{24ADB7D4-CCC6-4396-A50F-0A28491CEAE9}" dt="2020-11-23T15:16:53.875" v="1027" actId="1076"/>
          <ac:spMkLst>
            <pc:docMk/>
            <pc:sldMk cId="1412144160" sldId="343"/>
            <ac:spMk id="11" creationId="{91CB81DE-3D07-4F75-BED5-CF978C7F18F0}"/>
          </ac:spMkLst>
        </pc:spChg>
        <pc:spChg chg="mod">
          <ac:chgData name="Zenos Zenica" userId="de3ee720dba36952" providerId="Windows Live" clId="Web-{24ADB7D4-CCC6-4396-A50F-0A28491CEAE9}" dt="2020-11-23T15:16:53.875" v="1028" actId="1076"/>
          <ac:spMkLst>
            <pc:docMk/>
            <pc:sldMk cId="1412144160" sldId="343"/>
            <ac:spMk id="12" creationId="{5F213513-73B8-41A9-A1AA-49279C878BD0}"/>
          </ac:spMkLst>
        </pc:spChg>
        <pc:spChg chg="mod">
          <ac:chgData name="Zenos Zenica" userId="de3ee720dba36952" providerId="Windows Live" clId="Web-{24ADB7D4-CCC6-4396-A50F-0A28491CEAE9}" dt="2020-11-23T15:16:53.891" v="1029" actId="1076"/>
          <ac:spMkLst>
            <pc:docMk/>
            <pc:sldMk cId="1412144160" sldId="343"/>
            <ac:spMk id="13" creationId="{B7D06AC3-1445-4A32-8DEC-DB2E253FA8F5}"/>
          </ac:spMkLst>
        </pc:spChg>
        <pc:spChg chg="mod">
          <ac:chgData name="Zenos Zenica" userId="de3ee720dba36952" providerId="Windows Live" clId="Web-{24ADB7D4-CCC6-4396-A50F-0A28491CEAE9}" dt="2020-11-23T15:16:53.907" v="1030" actId="1076"/>
          <ac:spMkLst>
            <pc:docMk/>
            <pc:sldMk cId="1412144160" sldId="343"/>
            <ac:spMk id="14" creationId="{23F4EC38-BC36-463C-927F-556D2F38AE0F}"/>
          </ac:spMkLst>
        </pc:spChg>
        <pc:spChg chg="mod">
          <ac:chgData name="Zenos Zenica" userId="de3ee720dba36952" providerId="Windows Live" clId="Web-{24ADB7D4-CCC6-4396-A50F-0A28491CEAE9}" dt="2020-11-23T15:16:53.922" v="1031" actId="1076"/>
          <ac:spMkLst>
            <pc:docMk/>
            <pc:sldMk cId="1412144160" sldId="343"/>
            <ac:spMk id="15" creationId="{74066035-0FDF-43BF-8BEF-A53EFB1B261A}"/>
          </ac:spMkLst>
        </pc:spChg>
        <pc:spChg chg="mod">
          <ac:chgData name="Zenos Zenica" userId="de3ee720dba36952" providerId="Windows Live" clId="Web-{24ADB7D4-CCC6-4396-A50F-0A28491CEAE9}" dt="2020-11-23T15:17:18.595" v="1052" actId="1076"/>
          <ac:spMkLst>
            <pc:docMk/>
            <pc:sldMk cId="1412144160" sldId="343"/>
            <ac:spMk id="16" creationId="{E83E83C3-E01A-44F1-95FF-6540BC8C3EAB}"/>
          </ac:spMkLst>
        </pc:spChg>
        <pc:spChg chg="mod">
          <ac:chgData name="Zenos Zenica" userId="de3ee720dba36952" providerId="Windows Live" clId="Web-{24ADB7D4-CCC6-4396-A50F-0A28491CEAE9}" dt="2020-11-23T15:16:53.922" v="1032" actId="1076"/>
          <ac:spMkLst>
            <pc:docMk/>
            <pc:sldMk cId="1412144160" sldId="343"/>
            <ac:spMk id="17" creationId="{DD18262F-8E11-4E1E-A03E-5AA7177FCA59}"/>
          </ac:spMkLst>
        </pc:spChg>
        <pc:spChg chg="mod">
          <ac:chgData name="Zenos Zenica" userId="de3ee720dba36952" providerId="Windows Live" clId="Web-{24ADB7D4-CCC6-4396-A50F-0A28491CEAE9}" dt="2020-11-23T15:16:53.938" v="1033" actId="1076"/>
          <ac:spMkLst>
            <pc:docMk/>
            <pc:sldMk cId="1412144160" sldId="343"/>
            <ac:spMk id="18" creationId="{A0C96CDA-D8A0-4F0C-82C7-3BFBBEBA9BC0}"/>
          </ac:spMkLst>
        </pc:spChg>
        <pc:spChg chg="mod">
          <ac:chgData name="Zenos Zenica" userId="de3ee720dba36952" providerId="Windows Live" clId="Web-{24ADB7D4-CCC6-4396-A50F-0A28491CEAE9}" dt="2020-11-23T15:16:53.954" v="1034" actId="1076"/>
          <ac:spMkLst>
            <pc:docMk/>
            <pc:sldMk cId="1412144160" sldId="343"/>
            <ac:spMk id="19" creationId="{0067984E-00FF-4303-ADF2-A1D314CE9FFC}"/>
          </ac:spMkLst>
        </pc:spChg>
        <pc:spChg chg="mod">
          <ac:chgData name="Zenos Zenica" userId="de3ee720dba36952" providerId="Windows Live" clId="Web-{24ADB7D4-CCC6-4396-A50F-0A28491CEAE9}" dt="2020-11-23T15:16:53.954" v="1035" actId="1076"/>
          <ac:spMkLst>
            <pc:docMk/>
            <pc:sldMk cId="1412144160" sldId="343"/>
            <ac:spMk id="20" creationId="{2CFF0562-9425-4ED0-B387-B3EE845DA532}"/>
          </ac:spMkLst>
        </pc:spChg>
        <pc:spChg chg="mod">
          <ac:chgData name="Zenos Zenica" userId="de3ee720dba36952" providerId="Windows Live" clId="Web-{24ADB7D4-CCC6-4396-A50F-0A28491CEAE9}" dt="2020-11-23T15:16:53.969" v="1036" actId="1076"/>
          <ac:spMkLst>
            <pc:docMk/>
            <pc:sldMk cId="1412144160" sldId="343"/>
            <ac:spMk id="21" creationId="{0BA5A545-BF71-4D16-A4A4-74A3597999D9}"/>
          </ac:spMkLst>
        </pc:spChg>
        <pc:spChg chg="mod">
          <ac:chgData name="Zenos Zenica" userId="de3ee720dba36952" providerId="Windows Live" clId="Web-{24ADB7D4-CCC6-4396-A50F-0A28491CEAE9}" dt="2020-11-23T15:16:53.985" v="1037" actId="1076"/>
          <ac:spMkLst>
            <pc:docMk/>
            <pc:sldMk cId="1412144160" sldId="343"/>
            <ac:spMk id="22" creationId="{C62448B9-3394-4F3F-BBC0-80E17DAA3A64}"/>
          </ac:spMkLst>
        </pc:spChg>
        <pc:spChg chg="mod">
          <ac:chgData name="Zenos Zenica" userId="de3ee720dba36952" providerId="Windows Live" clId="Web-{24ADB7D4-CCC6-4396-A50F-0A28491CEAE9}" dt="2020-11-23T15:16:53.985" v="1038" actId="1076"/>
          <ac:spMkLst>
            <pc:docMk/>
            <pc:sldMk cId="1412144160" sldId="343"/>
            <ac:spMk id="23" creationId="{57374032-37BD-4082-A10F-0BAE03ABC84C}"/>
          </ac:spMkLst>
        </pc:spChg>
        <pc:spChg chg="mod">
          <ac:chgData name="Zenos Zenica" userId="de3ee720dba36952" providerId="Windows Live" clId="Web-{24ADB7D4-CCC6-4396-A50F-0A28491CEAE9}" dt="2020-11-23T15:16:54" v="1039" actId="1076"/>
          <ac:spMkLst>
            <pc:docMk/>
            <pc:sldMk cId="1412144160" sldId="343"/>
            <ac:spMk id="24" creationId="{D6EBA538-DE5D-4CA5-9BFE-21B6F91B719E}"/>
          </ac:spMkLst>
        </pc:spChg>
        <pc:spChg chg="mod">
          <ac:chgData name="Zenos Zenica" userId="de3ee720dba36952" providerId="Windows Live" clId="Web-{24ADB7D4-CCC6-4396-A50F-0A28491CEAE9}" dt="2020-11-23T15:16:54.016" v="1040" actId="1076"/>
          <ac:spMkLst>
            <pc:docMk/>
            <pc:sldMk cId="1412144160" sldId="343"/>
            <ac:spMk id="25" creationId="{91BE9FCD-250A-4A6A-94E6-BF3F4B46FC0E}"/>
          </ac:spMkLst>
        </pc:spChg>
        <pc:spChg chg="mod">
          <ac:chgData name="Zenos Zenica" userId="de3ee720dba36952" providerId="Windows Live" clId="Web-{24ADB7D4-CCC6-4396-A50F-0A28491CEAE9}" dt="2020-11-23T15:17:02.344" v="1044" actId="1076"/>
          <ac:spMkLst>
            <pc:docMk/>
            <pc:sldMk cId="1412144160" sldId="343"/>
            <ac:spMk id="51" creationId="{1E04ACF3-59B5-48F9-B9F8-6B8F95B01226}"/>
          </ac:spMkLst>
        </pc:spChg>
      </pc:sldChg>
      <pc:sldChg chg="modSp add">
        <pc:chgData name="Zenos Zenica" userId="de3ee720dba36952" providerId="Windows Live" clId="Web-{24ADB7D4-CCC6-4396-A50F-0A28491CEAE9}" dt="2020-11-23T15:20:01.803" v="1103" actId="20577"/>
        <pc:sldMkLst>
          <pc:docMk/>
          <pc:sldMk cId="1448397911" sldId="344"/>
        </pc:sldMkLst>
        <pc:spChg chg="mod">
          <ac:chgData name="Zenos Zenica" userId="de3ee720dba36952" providerId="Windows Live" clId="Web-{24ADB7D4-CCC6-4396-A50F-0A28491CEAE9}" dt="2020-11-23T15:17:41.502" v="1056" actId="14100"/>
          <ac:spMkLst>
            <pc:docMk/>
            <pc:sldMk cId="1448397911" sldId="344"/>
            <ac:spMk id="6" creationId="{E49AC5C1-A909-41C1-A219-C9E12F080917}"/>
          </ac:spMkLst>
        </pc:spChg>
        <pc:spChg chg="mod">
          <ac:chgData name="Zenos Zenica" userId="de3ee720dba36952" providerId="Windows Live" clId="Web-{24ADB7D4-CCC6-4396-A50F-0A28491CEAE9}" dt="2020-11-23T15:18:30.285" v="1077" actId="1076"/>
          <ac:spMkLst>
            <pc:docMk/>
            <pc:sldMk cId="1448397911" sldId="344"/>
            <ac:spMk id="16" creationId="{E83E83C3-E01A-44F1-95FF-6540BC8C3EAB}"/>
          </ac:spMkLst>
        </pc:spChg>
        <pc:spChg chg="mod">
          <ac:chgData name="Zenos Zenica" userId="de3ee720dba36952" providerId="Windows Live" clId="Web-{24ADB7D4-CCC6-4396-A50F-0A28491CEAE9}" dt="2020-11-23T15:19:20.130" v="1090" actId="20577"/>
          <ac:spMkLst>
            <pc:docMk/>
            <pc:sldMk cId="1448397911" sldId="344"/>
            <ac:spMk id="28" creationId="{B12EAF4A-58C6-4748-B8C7-EF5A5BCE5A17}"/>
          </ac:spMkLst>
        </pc:spChg>
        <pc:spChg chg="mod">
          <ac:chgData name="Zenos Zenica" userId="de3ee720dba36952" providerId="Windows Live" clId="Web-{24ADB7D4-CCC6-4396-A50F-0A28491CEAE9}" dt="2020-11-23T15:19:07.567" v="1084" actId="20577"/>
          <ac:spMkLst>
            <pc:docMk/>
            <pc:sldMk cId="1448397911" sldId="344"/>
            <ac:spMk id="29" creationId="{F9E391F7-4167-44E5-85A0-E85281905D42}"/>
          </ac:spMkLst>
        </pc:spChg>
        <pc:spChg chg="mod">
          <ac:chgData name="Zenos Zenica" userId="de3ee720dba36952" providerId="Windows Live" clId="Web-{24ADB7D4-CCC6-4396-A50F-0A28491CEAE9}" dt="2020-11-23T15:20:01.803" v="1103" actId="20577"/>
          <ac:spMkLst>
            <pc:docMk/>
            <pc:sldMk cId="1448397911" sldId="344"/>
            <ac:spMk id="30" creationId="{280F6568-43D7-494E-A281-0DA38DF6CD5D}"/>
          </ac:spMkLst>
        </pc:spChg>
        <pc:spChg chg="mod">
          <ac:chgData name="Zenos Zenica" userId="de3ee720dba36952" providerId="Windows Live" clId="Web-{24ADB7D4-CCC6-4396-A50F-0A28491CEAE9}" dt="2020-11-23T15:19:26.052" v="1093" actId="20577"/>
          <ac:spMkLst>
            <pc:docMk/>
            <pc:sldMk cId="1448397911" sldId="344"/>
            <ac:spMk id="31" creationId="{8A521000-8C1F-4401-9AC6-828A78A16B75}"/>
          </ac:spMkLst>
        </pc:spChg>
        <pc:spChg chg="mod">
          <ac:chgData name="Zenos Zenica" userId="de3ee720dba36952" providerId="Windows Live" clId="Web-{24ADB7D4-CCC6-4396-A50F-0A28491CEAE9}" dt="2020-11-23T15:19:14.989" v="1087" actId="20577"/>
          <ac:spMkLst>
            <pc:docMk/>
            <pc:sldMk cId="1448397911" sldId="344"/>
            <ac:spMk id="32" creationId="{2527A049-3863-469B-92DB-55207607CFB5}"/>
          </ac:spMkLst>
        </pc:spChg>
        <pc:spChg chg="mod">
          <ac:chgData name="Zenos Zenica" userId="de3ee720dba36952" providerId="Windows Live" clId="Web-{24ADB7D4-CCC6-4396-A50F-0A28491CEAE9}" dt="2020-11-23T15:19:52.631" v="1100" actId="20577"/>
          <ac:spMkLst>
            <pc:docMk/>
            <pc:sldMk cId="1448397911" sldId="344"/>
            <ac:spMk id="33" creationId="{B448CF3E-E2A1-4EC1-B65A-33DB4B70A3D4}"/>
          </ac:spMkLst>
        </pc:spChg>
        <pc:spChg chg="mod">
          <ac:chgData name="Zenos Zenica" userId="de3ee720dba36952" providerId="Windows Live" clId="Web-{24ADB7D4-CCC6-4396-A50F-0A28491CEAE9}" dt="2020-11-23T15:19:47.084" v="1098" actId="14100"/>
          <ac:spMkLst>
            <pc:docMk/>
            <pc:sldMk cId="1448397911" sldId="344"/>
            <ac:spMk id="35" creationId="{67AEA14B-A9D9-4CF9-ACD8-E4C1DC44CFA0}"/>
          </ac:spMkLst>
        </pc:spChg>
        <pc:spChg chg="mod">
          <ac:chgData name="Zenos Zenica" userId="de3ee720dba36952" providerId="Windows Live" clId="Web-{24ADB7D4-CCC6-4396-A50F-0A28491CEAE9}" dt="2020-11-23T15:19:34.771" v="1096" actId="14100"/>
          <ac:spMkLst>
            <pc:docMk/>
            <pc:sldMk cId="1448397911" sldId="344"/>
            <ac:spMk id="36" creationId="{DC630005-0C6A-413D-82B2-B7848CA1E2A5}"/>
          </ac:spMkLst>
        </pc:spChg>
        <pc:grpChg chg="mod">
          <ac:chgData name="Zenos Zenica" userId="de3ee720dba36952" providerId="Windows Live" clId="Web-{24ADB7D4-CCC6-4396-A50F-0A28491CEAE9}" dt="2020-11-23T15:18:48.207" v="1078" actId="1076"/>
          <ac:grpSpMkLst>
            <pc:docMk/>
            <pc:sldMk cId="1448397911" sldId="344"/>
            <ac:grpSpMk id="5" creationId="{BF2C38FF-69BB-4C92-B3BB-9183737C4D1B}"/>
          </ac:grpSpMkLst>
        </pc:grpChg>
      </pc:sldChg>
      <pc:sldChg chg="modSp add">
        <pc:chgData name="Zenos Zenica" userId="de3ee720dba36952" providerId="Windows Live" clId="Web-{24ADB7D4-CCC6-4396-A50F-0A28491CEAE9}" dt="2020-11-23T15:20:54.195" v="1114" actId="20577"/>
        <pc:sldMkLst>
          <pc:docMk/>
          <pc:sldMk cId="493304230" sldId="345"/>
        </pc:sldMkLst>
        <pc:spChg chg="mod">
          <ac:chgData name="Zenos Zenica" userId="de3ee720dba36952" providerId="Windows Live" clId="Web-{24ADB7D4-CCC6-4396-A50F-0A28491CEAE9}" dt="2020-11-23T15:20:54.195" v="1114" actId="20577"/>
          <ac:spMkLst>
            <pc:docMk/>
            <pc:sldMk cId="493304230" sldId="345"/>
            <ac:spMk id="16" creationId="{E83E83C3-E01A-44F1-95FF-6540BC8C3EAB}"/>
          </ac:spMkLst>
        </pc:spChg>
        <pc:spChg chg="mod">
          <ac:chgData name="Zenos Zenica" userId="de3ee720dba36952" providerId="Windows Live" clId="Web-{24ADB7D4-CCC6-4396-A50F-0A28491CEAE9}" dt="2020-11-23T15:20:35.366" v="1106" actId="1076"/>
          <ac:spMkLst>
            <pc:docMk/>
            <pc:sldMk cId="493304230" sldId="345"/>
            <ac:spMk id="19" creationId="{65F74CF7-4743-4F49-A01B-2155DA7ABDF0}"/>
          </ac:spMkLst>
        </pc:spChg>
        <pc:spChg chg="mod">
          <ac:chgData name="Zenos Zenica" userId="de3ee720dba36952" providerId="Windows Live" clId="Web-{24ADB7D4-CCC6-4396-A50F-0A28491CEAE9}" dt="2020-11-23T15:20:35.382" v="1107" actId="1076"/>
          <ac:spMkLst>
            <pc:docMk/>
            <pc:sldMk cId="493304230" sldId="345"/>
            <ac:spMk id="21" creationId="{80B65201-CD31-40FE-8ABA-E3B321AA9423}"/>
          </ac:spMkLst>
        </pc:spChg>
        <pc:spChg chg="mod">
          <ac:chgData name="Zenos Zenica" userId="de3ee720dba36952" providerId="Windows Live" clId="Web-{24ADB7D4-CCC6-4396-A50F-0A28491CEAE9}" dt="2020-11-23T15:20:35.382" v="1108" actId="1076"/>
          <ac:spMkLst>
            <pc:docMk/>
            <pc:sldMk cId="493304230" sldId="345"/>
            <ac:spMk id="22" creationId="{9A84E0AE-0A75-4A80-A110-76AD8E567881}"/>
          </ac:spMkLst>
        </pc:spChg>
        <pc:spChg chg="mod">
          <ac:chgData name="Zenos Zenica" userId="de3ee720dba36952" providerId="Windows Live" clId="Web-{24ADB7D4-CCC6-4396-A50F-0A28491CEAE9}" dt="2020-11-23T15:20:35.398" v="1109" actId="1076"/>
          <ac:spMkLst>
            <pc:docMk/>
            <pc:sldMk cId="493304230" sldId="345"/>
            <ac:spMk id="23" creationId="{DDD4D00D-F512-44C3-AF82-562D1BEAB430}"/>
          </ac:spMkLst>
        </pc:spChg>
        <pc:cxnChg chg="mod">
          <ac:chgData name="Zenos Zenica" userId="de3ee720dba36952" providerId="Windows Live" clId="Web-{24ADB7D4-CCC6-4396-A50F-0A28491CEAE9}" dt="2020-11-23T15:20:45.570" v="1110" actId="1076"/>
          <ac:cxnSpMkLst>
            <pc:docMk/>
            <pc:sldMk cId="493304230" sldId="345"/>
            <ac:cxnSpMk id="20" creationId="{C030EA10-A4D5-4EA0-956B-C14FFB688775}"/>
          </ac:cxnSpMkLst>
        </pc:cxnChg>
      </pc:sldChg>
      <pc:sldChg chg="modSp add">
        <pc:chgData name="Zenos Zenica" userId="de3ee720dba36952" providerId="Windows Live" clId="Web-{24ADB7D4-CCC6-4396-A50F-0A28491CEAE9}" dt="2020-11-23T15:21:25.805" v="1125" actId="1076"/>
        <pc:sldMkLst>
          <pc:docMk/>
          <pc:sldMk cId="2705057055" sldId="346"/>
        </pc:sldMkLst>
        <pc:spChg chg="mod">
          <ac:chgData name="Zenos Zenica" userId="de3ee720dba36952" providerId="Windows Live" clId="Web-{24ADB7D4-CCC6-4396-A50F-0A28491CEAE9}" dt="2020-11-23T15:21:25.805" v="1125" actId="1076"/>
          <ac:spMkLst>
            <pc:docMk/>
            <pc:sldMk cId="2705057055" sldId="346"/>
            <ac:spMk id="16" creationId="{E83E83C3-E01A-44F1-95FF-6540BC8C3EAB}"/>
          </ac:spMkLst>
        </pc:spChg>
      </pc:sldChg>
      <pc:sldChg chg="modSp add">
        <pc:chgData name="Zenos Zenica" userId="de3ee720dba36952" providerId="Windows Live" clId="Web-{24ADB7D4-CCC6-4396-A50F-0A28491CEAE9}" dt="2020-11-23T15:21:56.900" v="1147" actId="14100"/>
        <pc:sldMkLst>
          <pc:docMk/>
          <pc:sldMk cId="3953190050" sldId="347"/>
        </pc:sldMkLst>
        <pc:spChg chg="mod">
          <ac:chgData name="Zenos Zenica" userId="de3ee720dba36952" providerId="Windows Live" clId="Web-{24ADB7D4-CCC6-4396-A50F-0A28491CEAE9}" dt="2020-11-23T15:21:56.900" v="1147" actId="14100"/>
          <ac:spMkLst>
            <pc:docMk/>
            <pc:sldMk cId="3953190050" sldId="347"/>
            <ac:spMk id="16" creationId="{E83E83C3-E01A-44F1-95FF-6540BC8C3EAB}"/>
          </ac:spMkLst>
        </pc:spChg>
        <pc:spChg chg="mod">
          <ac:chgData name="Zenos Zenica" userId="de3ee720dba36952" providerId="Windows Live" clId="Web-{24ADB7D4-CCC6-4396-A50F-0A28491CEAE9}" dt="2020-11-23T15:21:34.977" v="1126"/>
          <ac:spMkLst>
            <pc:docMk/>
            <pc:sldMk cId="3953190050" sldId="347"/>
            <ac:spMk id="17" creationId="{9BBD1740-AFC7-4F81-AB1C-A7E9501AA599}"/>
          </ac:spMkLst>
        </pc:spChg>
        <pc:spChg chg="mod">
          <ac:chgData name="Zenos Zenica" userId="de3ee720dba36952" providerId="Windows Live" clId="Web-{24ADB7D4-CCC6-4396-A50F-0A28491CEAE9}" dt="2020-11-23T15:21:34.977" v="1127"/>
          <ac:spMkLst>
            <pc:docMk/>
            <pc:sldMk cId="3953190050" sldId="347"/>
            <ac:spMk id="18" creationId="{EBB86866-944C-46AA-937D-156D2575690A}"/>
          </ac:spMkLst>
        </pc:spChg>
        <pc:spChg chg="mod">
          <ac:chgData name="Zenos Zenica" userId="de3ee720dba36952" providerId="Windows Live" clId="Web-{24ADB7D4-CCC6-4396-A50F-0A28491CEAE9}" dt="2020-11-23T15:21:34.993" v="1128"/>
          <ac:spMkLst>
            <pc:docMk/>
            <pc:sldMk cId="3953190050" sldId="347"/>
            <ac:spMk id="19" creationId="{D534E00D-07E2-448B-9264-BE4CA18F6DB5}"/>
          </ac:spMkLst>
        </pc:spChg>
        <pc:spChg chg="mod">
          <ac:chgData name="Zenos Zenica" userId="de3ee720dba36952" providerId="Windows Live" clId="Web-{24ADB7D4-CCC6-4396-A50F-0A28491CEAE9}" dt="2020-11-23T15:21:35.009" v="1129"/>
          <ac:spMkLst>
            <pc:docMk/>
            <pc:sldMk cId="3953190050" sldId="347"/>
            <ac:spMk id="20" creationId="{07736993-51BD-4C5A-9B1D-5DC916B073B8}"/>
          </ac:spMkLst>
        </pc:spChg>
        <pc:spChg chg="mod">
          <ac:chgData name="Zenos Zenica" userId="de3ee720dba36952" providerId="Windows Live" clId="Web-{24ADB7D4-CCC6-4396-A50F-0A28491CEAE9}" dt="2020-11-23T15:21:35.009" v="1130"/>
          <ac:spMkLst>
            <pc:docMk/>
            <pc:sldMk cId="3953190050" sldId="347"/>
            <ac:spMk id="21" creationId="{B5439FA6-F0F9-476B-957F-C505EFAA038A}"/>
          </ac:spMkLst>
        </pc:spChg>
        <pc:spChg chg="mod">
          <ac:chgData name="Zenos Zenica" userId="de3ee720dba36952" providerId="Windows Live" clId="Web-{24ADB7D4-CCC6-4396-A50F-0A28491CEAE9}" dt="2020-11-23T15:21:35.024" v="1131"/>
          <ac:spMkLst>
            <pc:docMk/>
            <pc:sldMk cId="3953190050" sldId="347"/>
            <ac:spMk id="22" creationId="{889548DB-265B-483C-A114-B42DFE78C65F}"/>
          </ac:spMkLst>
        </pc:spChg>
        <pc:spChg chg="mod">
          <ac:chgData name="Zenos Zenica" userId="de3ee720dba36952" providerId="Windows Live" clId="Web-{24ADB7D4-CCC6-4396-A50F-0A28491CEAE9}" dt="2020-11-23T15:21:35.040" v="1132"/>
          <ac:spMkLst>
            <pc:docMk/>
            <pc:sldMk cId="3953190050" sldId="347"/>
            <ac:spMk id="23" creationId="{C4A19AAE-B89E-4367-8744-2DF032D60988}"/>
          </ac:spMkLst>
        </pc:spChg>
        <pc:spChg chg="mod">
          <ac:chgData name="Zenos Zenica" userId="de3ee720dba36952" providerId="Windows Live" clId="Web-{24ADB7D4-CCC6-4396-A50F-0A28491CEAE9}" dt="2020-11-23T15:21:35.040" v="1133"/>
          <ac:spMkLst>
            <pc:docMk/>
            <pc:sldMk cId="3953190050" sldId="347"/>
            <ac:spMk id="24" creationId="{18627B21-0EBA-4C4D-A7CE-7BD284856585}"/>
          </ac:spMkLst>
        </pc:spChg>
        <pc:spChg chg="mod">
          <ac:chgData name="Zenos Zenica" userId="de3ee720dba36952" providerId="Windows Live" clId="Web-{24ADB7D4-CCC6-4396-A50F-0A28491CEAE9}" dt="2020-11-23T15:21:35.056" v="1134"/>
          <ac:spMkLst>
            <pc:docMk/>
            <pc:sldMk cId="3953190050" sldId="347"/>
            <ac:spMk id="25" creationId="{44FF8A16-C22A-47E9-A0F8-CD2E5BD5E1E6}"/>
          </ac:spMkLst>
        </pc:spChg>
        <pc:spChg chg="mod">
          <ac:chgData name="Zenos Zenica" userId="de3ee720dba36952" providerId="Windows Live" clId="Web-{24ADB7D4-CCC6-4396-A50F-0A28491CEAE9}" dt="2020-11-23T15:21:35.056" v="1135"/>
          <ac:spMkLst>
            <pc:docMk/>
            <pc:sldMk cId="3953190050" sldId="347"/>
            <ac:spMk id="32" creationId="{FEFA83D2-9B78-4919-B708-F41111BF8360}"/>
          </ac:spMkLst>
        </pc:spChg>
        <pc:spChg chg="mod">
          <ac:chgData name="Zenos Zenica" userId="de3ee720dba36952" providerId="Windows Live" clId="Web-{24ADB7D4-CCC6-4396-A50F-0A28491CEAE9}" dt="2020-11-23T15:21:39.665" v="1141" actId="1076"/>
          <ac:spMkLst>
            <pc:docMk/>
            <pc:sldMk cId="3953190050" sldId="347"/>
            <ac:spMk id="33" creationId="{C7D293F0-3612-4272-B56D-BC4E4236AD8C}"/>
          </ac:spMkLst>
        </pc:spChg>
        <pc:spChg chg="mod">
          <ac:chgData name="Zenos Zenica" userId="de3ee720dba36952" providerId="Windows Live" clId="Web-{24ADB7D4-CCC6-4396-A50F-0A28491CEAE9}" dt="2020-11-23T15:21:35.087" v="1137"/>
          <ac:spMkLst>
            <pc:docMk/>
            <pc:sldMk cId="3953190050" sldId="347"/>
            <ac:spMk id="39" creationId="{8D3FB7E3-43AE-44E4-A5CF-A73CF31AABE4}"/>
          </ac:spMkLst>
        </pc:spChg>
        <pc:spChg chg="mod">
          <ac:chgData name="Zenos Zenica" userId="de3ee720dba36952" providerId="Windows Live" clId="Web-{24ADB7D4-CCC6-4396-A50F-0A28491CEAE9}" dt="2020-11-23T15:21:35.102" v="1138"/>
          <ac:spMkLst>
            <pc:docMk/>
            <pc:sldMk cId="3953190050" sldId="347"/>
            <ac:spMk id="41" creationId="{43FD355D-7DE3-4451-84B2-6B03E3A5719D}"/>
          </ac:spMkLst>
        </pc:spChg>
        <pc:spChg chg="mod">
          <ac:chgData name="Zenos Zenica" userId="de3ee720dba36952" providerId="Windows Live" clId="Web-{24ADB7D4-CCC6-4396-A50F-0A28491CEAE9}" dt="2020-11-23T15:21:35.102" v="1139"/>
          <ac:spMkLst>
            <pc:docMk/>
            <pc:sldMk cId="3953190050" sldId="347"/>
            <ac:spMk id="43" creationId="{70C8F454-8A21-45D8-8DBC-76CFA0D8807F}"/>
          </ac:spMkLst>
        </pc:spChg>
        <pc:spChg chg="mod">
          <ac:chgData name="Zenos Zenica" userId="de3ee720dba36952" providerId="Windows Live" clId="Web-{24ADB7D4-CCC6-4396-A50F-0A28491CEAE9}" dt="2020-11-23T15:21:35.118" v="1140"/>
          <ac:spMkLst>
            <pc:docMk/>
            <pc:sldMk cId="3953190050" sldId="347"/>
            <ac:spMk id="46" creationId="{C54FDBD7-08AA-4824-BBFF-762B573B427A}"/>
          </ac:spMkLst>
        </pc:spChg>
      </pc:sldChg>
      <pc:sldChg chg="modSp add">
        <pc:chgData name="Zenos Zenica" userId="de3ee720dba36952" providerId="Windows Live" clId="Web-{24ADB7D4-CCC6-4396-A50F-0A28491CEAE9}" dt="2020-11-23T15:28:57.865" v="1213" actId="1076"/>
        <pc:sldMkLst>
          <pc:docMk/>
          <pc:sldMk cId="4222709522" sldId="348"/>
        </pc:sldMkLst>
        <pc:spChg chg="mod">
          <ac:chgData name="Zenos Zenica" userId="de3ee720dba36952" providerId="Windows Live" clId="Web-{24ADB7D4-CCC6-4396-A50F-0A28491CEAE9}" dt="2020-11-23T15:22:56.152" v="1171" actId="14100"/>
          <ac:spMkLst>
            <pc:docMk/>
            <pc:sldMk cId="4222709522" sldId="348"/>
            <ac:spMk id="6" creationId="{60809866-29FD-46BF-95C0-4879DD73F880}"/>
          </ac:spMkLst>
        </pc:spChg>
        <pc:spChg chg="mod">
          <ac:chgData name="Zenos Zenica" userId="de3ee720dba36952" providerId="Windows Live" clId="Web-{24ADB7D4-CCC6-4396-A50F-0A28491CEAE9}" dt="2020-11-23T15:28:16.208" v="1208" actId="1076"/>
          <ac:spMkLst>
            <pc:docMk/>
            <pc:sldMk cId="4222709522" sldId="348"/>
            <ac:spMk id="26" creationId="{63F1DBAD-0B36-4B37-BCA1-FB4ECF7ED2BB}"/>
          </ac:spMkLst>
        </pc:spChg>
        <pc:spChg chg="mod">
          <ac:chgData name="Zenos Zenica" userId="de3ee720dba36952" providerId="Windows Live" clId="Web-{24ADB7D4-CCC6-4396-A50F-0A28491CEAE9}" dt="2020-11-23T15:27:55.270" v="1204" actId="1076"/>
          <ac:spMkLst>
            <pc:docMk/>
            <pc:sldMk cId="4222709522" sldId="348"/>
            <ac:spMk id="27" creationId="{6CDB2E3F-0AC6-420D-B9FC-737E51C7B9D1}"/>
          </ac:spMkLst>
        </pc:spChg>
        <pc:spChg chg="mod">
          <ac:chgData name="Zenos Zenica" userId="de3ee720dba36952" providerId="Windows Live" clId="Web-{24ADB7D4-CCC6-4396-A50F-0A28491CEAE9}" dt="2020-11-23T15:28:57.865" v="1213" actId="1076"/>
          <ac:spMkLst>
            <pc:docMk/>
            <pc:sldMk cId="4222709522" sldId="348"/>
            <ac:spMk id="28" creationId="{093FC81C-0F88-4EF9-943E-0F3D0C2F0BB0}"/>
          </ac:spMkLst>
        </pc:spChg>
        <pc:spChg chg="mod">
          <ac:chgData name="Zenos Zenica" userId="de3ee720dba36952" providerId="Windows Live" clId="Web-{24ADB7D4-CCC6-4396-A50F-0A28491CEAE9}" dt="2020-11-23T15:28:52.928" v="1212" actId="1076"/>
          <ac:spMkLst>
            <pc:docMk/>
            <pc:sldMk cId="4222709522" sldId="348"/>
            <ac:spMk id="29" creationId="{7F8215E4-DC3E-46B8-8E54-69DEAD031218}"/>
          </ac:spMkLst>
        </pc:spChg>
        <pc:spChg chg="mod">
          <ac:chgData name="Zenos Zenica" userId="de3ee720dba36952" providerId="Windows Live" clId="Web-{24ADB7D4-CCC6-4396-A50F-0A28491CEAE9}" dt="2020-11-23T15:22:56.245" v="1176" actId="14100"/>
          <ac:spMkLst>
            <pc:docMk/>
            <pc:sldMk cId="4222709522" sldId="348"/>
            <ac:spMk id="30" creationId="{06A542EC-6D57-4E8C-863F-CFACB70BF998}"/>
          </ac:spMkLst>
        </pc:spChg>
        <pc:spChg chg="mod">
          <ac:chgData name="Zenos Zenica" userId="de3ee720dba36952" providerId="Windows Live" clId="Web-{24ADB7D4-CCC6-4396-A50F-0A28491CEAE9}" dt="2020-11-23T15:22:56.261" v="1177" actId="14100"/>
          <ac:spMkLst>
            <pc:docMk/>
            <pc:sldMk cId="4222709522" sldId="348"/>
            <ac:spMk id="34" creationId="{FC41F2F4-0BBF-44E6-9846-4485CCE90AD7}"/>
          </ac:spMkLst>
        </pc:spChg>
        <pc:spChg chg="mod">
          <ac:chgData name="Zenos Zenica" userId="de3ee720dba36952" providerId="Windows Live" clId="Web-{24ADB7D4-CCC6-4396-A50F-0A28491CEAE9}" dt="2020-11-23T15:22:56.277" v="1178" actId="14100"/>
          <ac:spMkLst>
            <pc:docMk/>
            <pc:sldMk cId="4222709522" sldId="348"/>
            <ac:spMk id="36" creationId="{9ECA720B-D772-4C20-8725-D8C36E886B4E}"/>
          </ac:spMkLst>
        </pc:spChg>
        <pc:spChg chg="mod">
          <ac:chgData name="Zenos Zenica" userId="de3ee720dba36952" providerId="Windows Live" clId="Web-{24ADB7D4-CCC6-4396-A50F-0A28491CEAE9}" dt="2020-11-23T15:22:56.292" v="1179" actId="14100"/>
          <ac:spMkLst>
            <pc:docMk/>
            <pc:sldMk cId="4222709522" sldId="348"/>
            <ac:spMk id="38" creationId="{D281114D-AF9B-47CE-9B2C-171C06276185}"/>
          </ac:spMkLst>
        </pc:spChg>
        <pc:spChg chg="mod">
          <ac:chgData name="Zenos Zenica" userId="de3ee720dba36952" providerId="Windows Live" clId="Web-{24ADB7D4-CCC6-4396-A50F-0A28491CEAE9}" dt="2020-11-23T15:22:56.324" v="1180" actId="14100"/>
          <ac:spMkLst>
            <pc:docMk/>
            <pc:sldMk cId="4222709522" sldId="348"/>
            <ac:spMk id="42" creationId="{8DF86FAB-8B10-409F-96CC-3D62B3F01815}"/>
          </ac:spMkLst>
        </pc:spChg>
        <pc:spChg chg="mod">
          <ac:chgData name="Zenos Zenica" userId="de3ee720dba36952" providerId="Windows Live" clId="Web-{24ADB7D4-CCC6-4396-A50F-0A28491CEAE9}" dt="2020-11-23T15:22:56.339" v="1181" actId="14100"/>
          <ac:spMkLst>
            <pc:docMk/>
            <pc:sldMk cId="4222709522" sldId="348"/>
            <ac:spMk id="44" creationId="{DE1F04C7-093F-4D2B-98CA-AB74C3EC595D}"/>
          </ac:spMkLst>
        </pc:spChg>
        <pc:spChg chg="mod">
          <ac:chgData name="Zenos Zenica" userId="de3ee720dba36952" providerId="Windows Live" clId="Web-{24ADB7D4-CCC6-4396-A50F-0A28491CEAE9}" dt="2020-11-23T15:26:02.235" v="1202" actId="1076"/>
          <ac:spMkLst>
            <pc:docMk/>
            <pc:sldMk cId="4222709522" sldId="348"/>
            <ac:spMk id="47" creationId="{4BA3534E-EC4C-43EB-83F1-630FDE1783ED}"/>
          </ac:spMkLst>
        </pc:spChg>
        <pc:spChg chg="mod">
          <ac:chgData name="Zenos Zenica" userId="de3ee720dba36952" providerId="Windows Live" clId="Web-{24ADB7D4-CCC6-4396-A50F-0A28491CEAE9}" dt="2020-11-23T15:22:56.386" v="1183" actId="14100"/>
          <ac:spMkLst>
            <pc:docMk/>
            <pc:sldMk cId="4222709522" sldId="348"/>
            <ac:spMk id="48" creationId="{817885A5-5C5F-44FC-9447-C66A73C02045}"/>
          </ac:spMkLst>
        </pc:spChg>
        <pc:spChg chg="mod">
          <ac:chgData name="Zenos Zenica" userId="de3ee720dba36952" providerId="Windows Live" clId="Web-{24ADB7D4-CCC6-4396-A50F-0A28491CEAE9}" dt="2020-11-23T15:23:15.996" v="1190" actId="14100"/>
          <ac:spMkLst>
            <pc:docMk/>
            <pc:sldMk cId="4222709522" sldId="348"/>
            <ac:spMk id="49" creationId="{A0B7F624-4C48-4E94-8C06-41BC0204EBEF}"/>
          </ac:spMkLst>
        </pc:spChg>
        <pc:spChg chg="mod">
          <ac:chgData name="Zenos Zenica" userId="de3ee720dba36952" providerId="Windows Live" clId="Web-{24ADB7D4-CCC6-4396-A50F-0A28491CEAE9}" dt="2020-11-23T15:28:29.521" v="1210" actId="14100"/>
          <ac:spMkLst>
            <pc:docMk/>
            <pc:sldMk cId="4222709522" sldId="348"/>
            <ac:spMk id="50" creationId="{423B9E03-4C90-4518-89F2-39B2A5C7287D}"/>
          </ac:spMkLst>
        </pc:spChg>
        <pc:spChg chg="mod">
          <ac:chgData name="Zenos Zenica" userId="de3ee720dba36952" providerId="Windows Live" clId="Web-{24ADB7D4-CCC6-4396-A50F-0A28491CEAE9}" dt="2020-11-23T15:22:56.136" v="1170" actId="14100"/>
          <ac:spMkLst>
            <pc:docMk/>
            <pc:sldMk cId="4222709522" sldId="348"/>
            <ac:spMk id="51" creationId="{18663230-FB3F-47AA-A16A-0491C9CA360F}"/>
          </ac:spMkLst>
        </pc:spChg>
        <pc:spChg chg="mod">
          <ac:chgData name="Zenos Zenica" userId="de3ee720dba36952" providerId="Windows Live" clId="Web-{24ADB7D4-CCC6-4396-A50F-0A28491CEAE9}" dt="2020-11-23T15:22:56.449" v="1186" actId="14100"/>
          <ac:spMkLst>
            <pc:docMk/>
            <pc:sldMk cId="4222709522" sldId="348"/>
            <ac:spMk id="55" creationId="{6B37D0B1-3C57-4FDE-8F62-DB654E1A6C66}"/>
          </ac:spMkLst>
        </pc:spChg>
        <pc:spChg chg="mod">
          <ac:chgData name="Zenos Zenica" userId="de3ee720dba36952" providerId="Windows Live" clId="Web-{24ADB7D4-CCC6-4396-A50F-0A28491CEAE9}" dt="2020-11-23T15:22:56.464" v="1187" actId="14100"/>
          <ac:spMkLst>
            <pc:docMk/>
            <pc:sldMk cId="4222709522" sldId="348"/>
            <ac:spMk id="56" creationId="{5E9A1FD9-E7B5-4163-8D8A-AB2BE4C706FB}"/>
          </ac:spMkLst>
        </pc:spChg>
        <pc:cxnChg chg="mod">
          <ac:chgData name="Zenos Zenica" userId="de3ee720dba36952" providerId="Windows Live" clId="Web-{24ADB7D4-CCC6-4396-A50F-0A28491CEAE9}" dt="2020-11-23T15:22:56.417" v="1184" actId="14100"/>
          <ac:cxnSpMkLst>
            <pc:docMk/>
            <pc:sldMk cId="4222709522" sldId="348"/>
            <ac:cxnSpMk id="8" creationId="{7DD998B9-35C3-4AD1-9094-3E2B3A4F998C}"/>
          </ac:cxnSpMkLst>
        </pc:cxnChg>
        <pc:cxnChg chg="mod">
          <ac:chgData name="Zenos Zenica" userId="de3ee720dba36952" providerId="Windows Live" clId="Web-{24ADB7D4-CCC6-4396-A50F-0A28491CEAE9}" dt="2020-11-23T15:22:56.433" v="1185" actId="14100"/>
          <ac:cxnSpMkLst>
            <pc:docMk/>
            <pc:sldMk cId="4222709522" sldId="348"/>
            <ac:cxnSpMk id="52" creationId="{26132091-87FF-452A-8FED-7AE4AEE6AC66}"/>
          </ac:cxnSpMkLst>
        </pc:cxnChg>
      </pc:sldChg>
      <pc:sldChg chg="modSp add">
        <pc:chgData name="Zenos Zenica" userId="de3ee720dba36952" providerId="Windows Live" clId="Web-{24ADB7D4-CCC6-4396-A50F-0A28491CEAE9}" dt="2020-11-23T15:30:40.072" v="1230" actId="14100"/>
        <pc:sldMkLst>
          <pc:docMk/>
          <pc:sldMk cId="52330762" sldId="349"/>
        </pc:sldMkLst>
        <pc:spChg chg="mod">
          <ac:chgData name="Zenos Zenica" userId="de3ee720dba36952" providerId="Windows Live" clId="Web-{24ADB7D4-CCC6-4396-A50F-0A28491CEAE9}" dt="2020-11-23T15:30:04.055" v="1219" actId="1076"/>
          <ac:spMkLst>
            <pc:docMk/>
            <pc:sldMk cId="52330762" sldId="349"/>
            <ac:spMk id="16" creationId="{E83E83C3-E01A-44F1-95FF-6540BC8C3EAB}"/>
          </ac:spMkLst>
        </pc:spChg>
        <pc:spChg chg="mod">
          <ac:chgData name="Zenos Zenica" userId="de3ee720dba36952" providerId="Windows Live" clId="Web-{24ADB7D4-CCC6-4396-A50F-0A28491CEAE9}" dt="2020-11-23T15:30:26.759" v="1227" actId="1076"/>
          <ac:spMkLst>
            <pc:docMk/>
            <pc:sldMk cId="52330762" sldId="349"/>
            <ac:spMk id="46" creationId="{01CE5CA7-8B4D-4E6C-9E22-A294C2C9DDE8}"/>
          </ac:spMkLst>
        </pc:spChg>
        <pc:spChg chg="mod">
          <ac:chgData name="Zenos Zenica" userId="de3ee720dba36952" providerId="Windows Live" clId="Web-{24ADB7D4-CCC6-4396-A50F-0A28491CEAE9}" dt="2020-11-23T15:30:09.102" v="1221" actId="20577"/>
          <ac:spMkLst>
            <pc:docMk/>
            <pc:sldMk cId="52330762" sldId="349"/>
            <ac:spMk id="61" creationId="{C1F5DD5C-B202-474E-9B0D-76B8F5BBF921}"/>
          </ac:spMkLst>
        </pc:spChg>
        <pc:spChg chg="mod">
          <ac:chgData name="Zenos Zenica" userId="de3ee720dba36952" providerId="Windows Live" clId="Web-{24ADB7D4-CCC6-4396-A50F-0A28491CEAE9}" dt="2020-11-23T15:30:40.072" v="1230" actId="14100"/>
          <ac:spMkLst>
            <pc:docMk/>
            <pc:sldMk cId="52330762" sldId="349"/>
            <ac:spMk id="62" creationId="{FD12B727-AD4F-4067-9E90-31F9646E7F95}"/>
          </ac:spMkLst>
        </pc:spChg>
        <pc:cxnChg chg="mod">
          <ac:chgData name="Zenos Zenica" userId="de3ee720dba36952" providerId="Windows Live" clId="Web-{24ADB7D4-CCC6-4396-A50F-0A28491CEAE9}" dt="2020-11-23T15:30:31.899" v="1228" actId="1076"/>
          <ac:cxnSpMkLst>
            <pc:docMk/>
            <pc:sldMk cId="52330762" sldId="349"/>
            <ac:cxnSpMk id="64" creationId="{59D6F5CB-6DA5-4649-A349-418F1B294A92}"/>
          </ac:cxnSpMkLst>
        </pc:cxnChg>
      </pc:sldChg>
      <pc:sldChg chg="modSp add">
        <pc:chgData name="Zenos Zenica" userId="de3ee720dba36952" providerId="Windows Live" clId="Web-{24ADB7D4-CCC6-4396-A50F-0A28491CEAE9}" dt="2020-11-23T15:32:34.387" v="1320" actId="20577"/>
        <pc:sldMkLst>
          <pc:docMk/>
          <pc:sldMk cId="2520768103" sldId="350"/>
        </pc:sldMkLst>
        <pc:spChg chg="mod">
          <ac:chgData name="Zenos Zenica" userId="de3ee720dba36952" providerId="Windows Live" clId="Web-{24ADB7D4-CCC6-4396-A50F-0A28491CEAE9}" dt="2020-11-23T15:32:01.824" v="1291" actId="14100"/>
          <ac:spMkLst>
            <pc:docMk/>
            <pc:sldMk cId="2520768103" sldId="350"/>
            <ac:spMk id="5" creationId="{F9EAD6E8-62AF-43EE-9C77-314A8F9F19C2}"/>
          </ac:spMkLst>
        </pc:spChg>
        <pc:spChg chg="mod">
          <ac:chgData name="Zenos Zenica" userId="de3ee720dba36952" providerId="Windows Live" clId="Web-{24ADB7D4-CCC6-4396-A50F-0A28491CEAE9}" dt="2020-11-23T15:32:34.387" v="1320" actId="20577"/>
          <ac:spMkLst>
            <pc:docMk/>
            <pc:sldMk cId="2520768103" sldId="350"/>
            <ac:spMk id="16" creationId="{E83E83C3-E01A-44F1-95FF-6540BC8C3EAB}"/>
          </ac:spMkLst>
        </pc:spChg>
        <pc:spChg chg="mod">
          <ac:chgData name="Zenos Zenica" userId="de3ee720dba36952" providerId="Windows Live" clId="Web-{24ADB7D4-CCC6-4396-A50F-0A28491CEAE9}" dt="2020-11-23T15:32:02.058" v="1306" actId="14100"/>
          <ac:spMkLst>
            <pc:docMk/>
            <pc:sldMk cId="2520768103" sldId="350"/>
            <ac:spMk id="31" creationId="{0AB4F0F3-3097-41CE-B680-2565023184FB}"/>
          </ac:spMkLst>
        </pc:spChg>
        <pc:spChg chg="mod">
          <ac:chgData name="Zenos Zenica" userId="de3ee720dba36952" providerId="Windows Live" clId="Web-{24ADB7D4-CCC6-4396-A50F-0A28491CEAE9}" dt="2020-11-23T15:32:02.043" v="1305" actId="14100"/>
          <ac:spMkLst>
            <pc:docMk/>
            <pc:sldMk cId="2520768103" sldId="350"/>
            <ac:spMk id="32" creationId="{BFA2C403-02C1-4256-9269-A737F1467E47}"/>
          </ac:spMkLst>
        </pc:spChg>
        <pc:spChg chg="mod">
          <ac:chgData name="Zenos Zenica" userId="de3ee720dba36952" providerId="Windows Live" clId="Web-{24ADB7D4-CCC6-4396-A50F-0A28491CEAE9}" dt="2020-11-23T15:32:02.027" v="1304" actId="14100"/>
          <ac:spMkLst>
            <pc:docMk/>
            <pc:sldMk cId="2520768103" sldId="350"/>
            <ac:spMk id="33" creationId="{07B5209B-347E-4595-B1A2-C91CDCFB5C1C}"/>
          </ac:spMkLst>
        </pc:spChg>
        <pc:spChg chg="mod">
          <ac:chgData name="Zenos Zenica" userId="de3ee720dba36952" providerId="Windows Live" clId="Web-{24ADB7D4-CCC6-4396-A50F-0A28491CEAE9}" dt="2020-11-23T15:32:02.012" v="1303" actId="14100"/>
          <ac:spMkLst>
            <pc:docMk/>
            <pc:sldMk cId="2520768103" sldId="350"/>
            <ac:spMk id="35" creationId="{9ED6D64B-2D9E-4875-95F9-51AC375F8010}"/>
          </ac:spMkLst>
        </pc:spChg>
        <pc:spChg chg="mod">
          <ac:chgData name="Zenos Zenica" userId="de3ee720dba36952" providerId="Windows Live" clId="Web-{24ADB7D4-CCC6-4396-A50F-0A28491CEAE9}" dt="2020-11-23T15:32:01.996" v="1302" actId="14100"/>
          <ac:spMkLst>
            <pc:docMk/>
            <pc:sldMk cId="2520768103" sldId="350"/>
            <ac:spMk id="37" creationId="{2B452C44-F1CD-48AC-9EBF-CA2D3414921C}"/>
          </ac:spMkLst>
        </pc:spChg>
        <pc:spChg chg="mod">
          <ac:chgData name="Zenos Zenica" userId="de3ee720dba36952" providerId="Windows Live" clId="Web-{24ADB7D4-CCC6-4396-A50F-0A28491CEAE9}" dt="2020-11-23T15:32:01.965" v="1301" actId="14100"/>
          <ac:spMkLst>
            <pc:docMk/>
            <pc:sldMk cId="2520768103" sldId="350"/>
            <ac:spMk id="39" creationId="{79D47A99-D80F-44DB-958A-4738C47C6A18}"/>
          </ac:spMkLst>
        </pc:spChg>
        <pc:spChg chg="mod">
          <ac:chgData name="Zenos Zenica" userId="de3ee720dba36952" providerId="Windows Live" clId="Web-{24ADB7D4-CCC6-4396-A50F-0A28491CEAE9}" dt="2020-11-23T15:32:01.949" v="1300" actId="14100"/>
          <ac:spMkLst>
            <pc:docMk/>
            <pc:sldMk cId="2520768103" sldId="350"/>
            <ac:spMk id="40" creationId="{D8A6BFCD-C4DA-48D5-9420-CB59108103C6}"/>
          </ac:spMkLst>
        </pc:spChg>
        <pc:spChg chg="mod">
          <ac:chgData name="Zenos Zenica" userId="de3ee720dba36952" providerId="Windows Live" clId="Web-{24ADB7D4-CCC6-4396-A50F-0A28491CEAE9}" dt="2020-11-23T15:32:01.793" v="1288" actId="14100"/>
          <ac:spMkLst>
            <pc:docMk/>
            <pc:sldMk cId="2520768103" sldId="350"/>
            <ac:spMk id="41" creationId="{A6A93EA4-077E-45D7-81AA-E27E72DA528A}"/>
          </ac:spMkLst>
        </pc:spChg>
        <pc:spChg chg="mod">
          <ac:chgData name="Zenos Zenica" userId="de3ee720dba36952" providerId="Windows Live" clId="Web-{24ADB7D4-CCC6-4396-A50F-0A28491CEAE9}" dt="2020-11-23T15:32:01.808" v="1290" actId="14100"/>
          <ac:spMkLst>
            <pc:docMk/>
            <pc:sldMk cId="2520768103" sldId="350"/>
            <ac:spMk id="43" creationId="{33D97474-B775-495B-95D3-4577CC13C41D}"/>
          </ac:spMkLst>
        </pc:spChg>
        <pc:spChg chg="mod">
          <ac:chgData name="Zenos Zenica" userId="de3ee720dba36952" providerId="Windows Live" clId="Web-{24ADB7D4-CCC6-4396-A50F-0A28491CEAE9}" dt="2020-11-23T15:32:01.933" v="1299" actId="14100"/>
          <ac:spMkLst>
            <pc:docMk/>
            <pc:sldMk cId="2520768103" sldId="350"/>
            <ac:spMk id="46" creationId="{01CE5CA7-8B4D-4E6C-9E22-A294C2C9DDE8}"/>
          </ac:spMkLst>
        </pc:spChg>
        <pc:spChg chg="mod">
          <ac:chgData name="Zenos Zenica" userId="de3ee720dba36952" providerId="Windows Live" clId="Web-{24ADB7D4-CCC6-4396-A50F-0A28491CEAE9}" dt="2020-11-23T15:32:00.496" v="1282" actId="14100"/>
          <ac:spMkLst>
            <pc:docMk/>
            <pc:sldMk cId="2520768103" sldId="350"/>
            <ac:spMk id="57" creationId="{FF7F0F29-500A-4E56-A108-F29987E03B57}"/>
          </ac:spMkLst>
        </pc:spChg>
        <pc:spChg chg="mod">
          <ac:chgData name="Zenos Zenica" userId="de3ee720dba36952" providerId="Windows Live" clId="Web-{24ADB7D4-CCC6-4396-A50F-0A28491CEAE9}" dt="2020-11-23T15:31:59.933" v="1273" actId="14100"/>
          <ac:spMkLst>
            <pc:docMk/>
            <pc:sldMk cId="2520768103" sldId="350"/>
            <ac:spMk id="58" creationId="{EC4144FA-EA4F-43DB-8229-35D6E0271B06}"/>
          </ac:spMkLst>
        </pc:spChg>
        <pc:spChg chg="mod">
          <ac:chgData name="Zenos Zenica" userId="de3ee720dba36952" providerId="Windows Live" clId="Web-{24ADB7D4-CCC6-4396-A50F-0A28491CEAE9}" dt="2020-11-23T15:32:00.543" v="1284" actId="14100"/>
          <ac:spMkLst>
            <pc:docMk/>
            <pc:sldMk cId="2520768103" sldId="350"/>
            <ac:spMk id="59" creationId="{87248272-29C4-4CBB-86B2-8B2357FFBE7B}"/>
          </ac:spMkLst>
        </pc:spChg>
        <pc:spChg chg="mod">
          <ac:chgData name="Zenos Zenica" userId="de3ee720dba36952" providerId="Windows Live" clId="Web-{24ADB7D4-CCC6-4396-A50F-0A28491CEAE9}" dt="2020-11-23T15:32:00.574" v="1285" actId="14100"/>
          <ac:spMkLst>
            <pc:docMk/>
            <pc:sldMk cId="2520768103" sldId="350"/>
            <ac:spMk id="60" creationId="{BD24F8CF-6730-4996-ADE0-EAC6AB3855DA}"/>
          </ac:spMkLst>
        </pc:spChg>
        <pc:spChg chg="mod">
          <ac:chgData name="Zenos Zenica" userId="de3ee720dba36952" providerId="Windows Live" clId="Web-{24ADB7D4-CCC6-4396-A50F-0A28491CEAE9}" dt="2020-11-23T15:31:59.965" v="1274" actId="14100"/>
          <ac:spMkLst>
            <pc:docMk/>
            <pc:sldMk cId="2520768103" sldId="350"/>
            <ac:spMk id="61" creationId="{C1F5DD5C-B202-474E-9B0D-76B8F5BBF921}"/>
          </ac:spMkLst>
        </pc:spChg>
        <pc:spChg chg="mod">
          <ac:chgData name="Zenos Zenica" userId="de3ee720dba36952" providerId="Windows Live" clId="Web-{24ADB7D4-CCC6-4396-A50F-0A28491CEAE9}" dt="2020-11-23T15:31:59.980" v="1275" actId="14100"/>
          <ac:spMkLst>
            <pc:docMk/>
            <pc:sldMk cId="2520768103" sldId="350"/>
            <ac:spMk id="62" creationId="{FD12B727-AD4F-4067-9E90-31F9646E7F95}"/>
          </ac:spMkLst>
        </pc:spChg>
        <pc:spChg chg="mod">
          <ac:chgData name="Zenos Zenica" userId="de3ee720dba36952" providerId="Windows Live" clId="Web-{24ADB7D4-CCC6-4396-A50F-0A28491CEAE9}" dt="2020-11-23T15:32:01.902" v="1294" actId="14100"/>
          <ac:spMkLst>
            <pc:docMk/>
            <pc:sldMk cId="2520768103" sldId="350"/>
            <ac:spMk id="65" creationId="{08B7B151-77FA-46C9-99E8-B997192D1803}"/>
          </ac:spMkLst>
        </pc:spChg>
        <pc:spChg chg="mod">
          <ac:chgData name="Zenos Zenica" userId="de3ee720dba36952" providerId="Windows Live" clId="Web-{24ADB7D4-CCC6-4396-A50F-0A28491CEAE9}" dt="2020-11-23T15:32:01.871" v="1293" actId="14100"/>
          <ac:spMkLst>
            <pc:docMk/>
            <pc:sldMk cId="2520768103" sldId="350"/>
            <ac:spMk id="67" creationId="{395FDB2E-6B63-4E38-BFFD-056A21D8F8A0}"/>
          </ac:spMkLst>
        </pc:spChg>
        <pc:spChg chg="mod">
          <ac:chgData name="Zenos Zenica" userId="de3ee720dba36952" providerId="Windows Live" clId="Web-{24ADB7D4-CCC6-4396-A50F-0A28491CEAE9}" dt="2020-11-23T15:32:01.855" v="1292" actId="14100"/>
          <ac:spMkLst>
            <pc:docMk/>
            <pc:sldMk cId="2520768103" sldId="350"/>
            <ac:spMk id="68" creationId="{1932D53C-2757-4DEC-A176-61C0185DC6A4}"/>
          </ac:spMkLst>
        </pc:spChg>
        <pc:cxnChg chg="mod">
          <ac:chgData name="Zenos Zenica" userId="de3ee720dba36952" providerId="Windows Live" clId="Web-{24ADB7D4-CCC6-4396-A50F-0A28491CEAE9}" dt="2020-11-23T15:32:01.918" v="1295" actId="14100"/>
          <ac:cxnSpMkLst>
            <pc:docMk/>
            <pc:sldMk cId="2520768103" sldId="350"/>
            <ac:cxnSpMk id="64" creationId="{59D6F5CB-6DA5-4649-A349-418F1B294A92}"/>
          </ac:cxnSpMkLst>
        </pc:cxnChg>
      </pc:sldChg>
      <pc:sldChg chg="modSp add">
        <pc:chgData name="Zenos Zenica" userId="de3ee720dba36952" providerId="Windows Live" clId="Web-{24ADB7D4-CCC6-4396-A50F-0A28491CEAE9}" dt="2020-11-23T15:32:56.857" v="1331" actId="20577"/>
        <pc:sldMkLst>
          <pc:docMk/>
          <pc:sldMk cId="2536396623" sldId="351"/>
        </pc:sldMkLst>
        <pc:spChg chg="mod">
          <ac:chgData name="Zenos Zenica" userId="de3ee720dba36952" providerId="Windows Live" clId="Web-{24ADB7D4-CCC6-4396-A50F-0A28491CEAE9}" dt="2020-11-23T15:32:56.857" v="1331" actId="20577"/>
          <ac:spMkLst>
            <pc:docMk/>
            <pc:sldMk cId="2536396623" sldId="351"/>
            <ac:spMk id="16" creationId="{E83E83C3-E01A-44F1-95FF-6540BC8C3EAB}"/>
          </ac:spMkLst>
        </pc:spChg>
      </pc:sldChg>
      <pc:sldChg chg="modSp add">
        <pc:chgData name="Zenos Zenica" userId="de3ee720dba36952" providerId="Windows Live" clId="Web-{24ADB7D4-CCC6-4396-A50F-0A28491CEAE9}" dt="2020-11-23T15:34:37.750" v="1358" actId="1076"/>
        <pc:sldMkLst>
          <pc:docMk/>
          <pc:sldMk cId="3356150316" sldId="352"/>
        </pc:sldMkLst>
        <pc:spChg chg="mod">
          <ac:chgData name="Zenos Zenica" userId="de3ee720dba36952" providerId="Windows Live" clId="Web-{24ADB7D4-CCC6-4396-A50F-0A28491CEAE9}" dt="2020-11-23T15:33:22.483" v="1334" actId="1076"/>
          <ac:spMkLst>
            <pc:docMk/>
            <pc:sldMk cId="3356150316" sldId="352"/>
            <ac:spMk id="2" creationId="{38B4E260-12F3-4A00-968A-9E9720209DA1}"/>
          </ac:spMkLst>
        </pc:spChg>
        <pc:spChg chg="mod">
          <ac:chgData name="Zenos Zenica" userId="de3ee720dba36952" providerId="Windows Live" clId="Web-{24ADB7D4-CCC6-4396-A50F-0A28491CEAE9}" dt="2020-11-23T15:34:37.750" v="1358" actId="1076"/>
          <ac:spMkLst>
            <pc:docMk/>
            <pc:sldMk cId="3356150316" sldId="352"/>
            <ac:spMk id="16" creationId="{E83E83C3-E01A-44F1-95FF-6540BC8C3EAB}"/>
          </ac:spMkLst>
        </pc:spChg>
        <pc:spChg chg="mod">
          <ac:chgData name="Zenos Zenica" userId="de3ee720dba36952" providerId="Windows Live" clId="Web-{24ADB7D4-CCC6-4396-A50F-0A28491CEAE9}" dt="2020-11-23T15:33:39.671" v="1338" actId="1076"/>
          <ac:spMkLst>
            <pc:docMk/>
            <pc:sldMk cId="3356150316" sldId="352"/>
            <ac:spMk id="264" creationId="{ED2DAB9C-A050-4309-8957-26960CA2AFD8}"/>
          </ac:spMkLst>
        </pc:spChg>
        <pc:spChg chg="mod">
          <ac:chgData name="Zenos Zenica" userId="de3ee720dba36952" providerId="Windows Live" clId="Web-{24ADB7D4-CCC6-4396-A50F-0A28491CEAE9}" dt="2020-11-23T15:33:48.733" v="1340" actId="1076"/>
          <ac:spMkLst>
            <pc:docMk/>
            <pc:sldMk cId="3356150316" sldId="352"/>
            <ac:spMk id="265" creationId="{E2BFB5DD-AD15-47B7-A5B6-02C943839F87}"/>
          </ac:spMkLst>
        </pc:spChg>
        <pc:spChg chg="mod">
          <ac:chgData name="Zenos Zenica" userId="de3ee720dba36952" providerId="Windows Live" clId="Web-{24ADB7D4-CCC6-4396-A50F-0A28491CEAE9}" dt="2020-11-23T15:33:44.280" v="1339" actId="1076"/>
          <ac:spMkLst>
            <pc:docMk/>
            <pc:sldMk cId="3356150316" sldId="352"/>
            <ac:spMk id="267" creationId="{340279B8-F07C-4F84-B499-5166633B1C04}"/>
          </ac:spMkLst>
        </pc:spChg>
        <pc:spChg chg="mod">
          <ac:chgData name="Zenos Zenica" userId="de3ee720dba36952" providerId="Windows Live" clId="Web-{24ADB7D4-CCC6-4396-A50F-0A28491CEAE9}" dt="2020-11-23T15:34:14.281" v="1350" actId="1076"/>
          <ac:spMkLst>
            <pc:docMk/>
            <pc:sldMk cId="3356150316" sldId="352"/>
            <ac:spMk id="268" creationId="{411D80B6-7815-4D87-9485-A71F2A8B3697}"/>
          </ac:spMkLst>
        </pc:spChg>
        <pc:spChg chg="mod">
          <ac:chgData name="Zenos Zenica" userId="de3ee720dba36952" providerId="Windows Live" clId="Web-{24ADB7D4-CCC6-4396-A50F-0A28491CEAE9}" dt="2020-11-23T15:34:05.656" v="1344" actId="1076"/>
          <ac:spMkLst>
            <pc:docMk/>
            <pc:sldMk cId="3356150316" sldId="352"/>
            <ac:spMk id="269" creationId="{7A101EC3-DB6F-4C01-875B-5ECC89D3854A}"/>
          </ac:spMkLst>
        </pc:spChg>
        <pc:spChg chg="mod">
          <ac:chgData name="Zenos Zenica" userId="de3ee720dba36952" providerId="Windows Live" clId="Web-{24ADB7D4-CCC6-4396-A50F-0A28491CEAE9}" dt="2020-11-23T15:34:05.687" v="1345" actId="1076"/>
          <ac:spMkLst>
            <pc:docMk/>
            <pc:sldMk cId="3356150316" sldId="352"/>
            <ac:spMk id="270" creationId="{A5C85C3D-BF9D-41D9-937F-BCA203F824A7}"/>
          </ac:spMkLst>
        </pc:spChg>
        <pc:spChg chg="mod">
          <ac:chgData name="Zenos Zenica" userId="de3ee720dba36952" providerId="Windows Live" clId="Web-{24ADB7D4-CCC6-4396-A50F-0A28491CEAE9}" dt="2020-11-23T15:34:05.718" v="1346" actId="1076"/>
          <ac:spMkLst>
            <pc:docMk/>
            <pc:sldMk cId="3356150316" sldId="352"/>
            <ac:spMk id="271" creationId="{4A865BD5-3BF6-4AD3-ACC1-50D708E48ECB}"/>
          </ac:spMkLst>
        </pc:spChg>
      </pc:sldChg>
      <pc:sldChg chg="modSp add">
        <pc:chgData name="Zenos Zenica" userId="de3ee720dba36952" providerId="Windows Live" clId="Web-{24ADB7D4-CCC6-4396-A50F-0A28491CEAE9}" dt="2020-11-23T15:37:01.473" v="1404" actId="14100"/>
        <pc:sldMkLst>
          <pc:docMk/>
          <pc:sldMk cId="538759520" sldId="353"/>
        </pc:sldMkLst>
        <pc:spChg chg="mod">
          <ac:chgData name="Zenos Zenica" userId="de3ee720dba36952" providerId="Windows Live" clId="Web-{24ADB7D4-CCC6-4396-A50F-0A28491CEAE9}" dt="2020-11-23T15:37:01.473" v="1404" actId="14100"/>
          <ac:spMkLst>
            <pc:docMk/>
            <pc:sldMk cId="538759520" sldId="353"/>
            <ac:spMk id="16" creationId="{E83E83C3-E01A-44F1-95FF-6540BC8C3EAB}"/>
          </ac:spMkLst>
        </pc:spChg>
        <pc:spChg chg="mod">
          <ac:chgData name="Zenos Zenica" userId="de3ee720dba36952" providerId="Windows Live" clId="Web-{24ADB7D4-CCC6-4396-A50F-0A28491CEAE9}" dt="2020-11-23T15:35:24.017" v="1375" actId="20577"/>
          <ac:spMkLst>
            <pc:docMk/>
            <pc:sldMk cId="538759520" sldId="353"/>
            <ac:spMk id="25" creationId="{F515E31D-BED8-4142-83E4-234414BC65E6}"/>
          </ac:spMkLst>
        </pc:spChg>
        <pc:spChg chg="mod">
          <ac:chgData name="Zenos Zenica" userId="de3ee720dba36952" providerId="Windows Live" clId="Web-{24ADB7D4-CCC6-4396-A50F-0A28491CEAE9}" dt="2020-11-23T15:35:34.752" v="1381" actId="20577"/>
          <ac:spMkLst>
            <pc:docMk/>
            <pc:sldMk cId="538759520" sldId="353"/>
            <ac:spMk id="26" creationId="{F8D6F09F-A0AB-4817-9C16-8AF4E96B5D6D}"/>
          </ac:spMkLst>
        </pc:spChg>
        <pc:spChg chg="mod">
          <ac:chgData name="Zenos Zenica" userId="de3ee720dba36952" providerId="Windows Live" clId="Web-{24ADB7D4-CCC6-4396-A50F-0A28491CEAE9}" dt="2020-11-23T15:35:46.143" v="1392" actId="20577"/>
          <ac:spMkLst>
            <pc:docMk/>
            <pc:sldMk cId="538759520" sldId="353"/>
            <ac:spMk id="27" creationId="{7636100F-C6EF-4378-894A-EE52D0EB68E2}"/>
          </ac:spMkLst>
        </pc:spChg>
        <pc:spChg chg="mod">
          <ac:chgData name="Zenos Zenica" userId="de3ee720dba36952" providerId="Windows Live" clId="Web-{24ADB7D4-CCC6-4396-A50F-0A28491CEAE9}" dt="2020-11-23T15:35:18.236" v="1372" actId="20577"/>
          <ac:spMkLst>
            <pc:docMk/>
            <pc:sldMk cId="538759520" sldId="353"/>
            <ac:spMk id="28" creationId="{2A4E779B-3B03-4778-8377-69D2D53BE475}"/>
          </ac:spMkLst>
        </pc:spChg>
        <pc:spChg chg="mod">
          <ac:chgData name="Zenos Zenica" userId="de3ee720dba36952" providerId="Windows Live" clId="Web-{24ADB7D4-CCC6-4396-A50F-0A28491CEAE9}" dt="2020-11-23T15:35:30.111" v="1378" actId="20577"/>
          <ac:spMkLst>
            <pc:docMk/>
            <pc:sldMk cId="538759520" sldId="353"/>
            <ac:spMk id="29" creationId="{71DF2F59-49CD-4F84-8C34-74E6B248C7FC}"/>
          </ac:spMkLst>
        </pc:spChg>
        <pc:spChg chg="mod">
          <ac:chgData name="Zenos Zenica" userId="de3ee720dba36952" providerId="Windows Live" clId="Web-{24ADB7D4-CCC6-4396-A50F-0A28491CEAE9}" dt="2020-11-23T15:35:42.440" v="1389" actId="20577"/>
          <ac:spMkLst>
            <pc:docMk/>
            <pc:sldMk cId="538759520" sldId="353"/>
            <ac:spMk id="30" creationId="{D67440E2-F898-4F26-BFCB-904EF6F65795}"/>
          </ac:spMkLst>
        </pc:spChg>
        <pc:spChg chg="mod">
          <ac:chgData name="Zenos Zenica" userId="de3ee720dba36952" providerId="Windows Live" clId="Web-{24ADB7D4-CCC6-4396-A50F-0A28491CEAE9}" dt="2020-11-23T15:36:23.910" v="1396" actId="20577"/>
          <ac:spMkLst>
            <pc:docMk/>
            <pc:sldMk cId="538759520" sldId="353"/>
            <ac:spMk id="31" creationId="{0AC17CD9-5A31-4183-8A1E-8ABCF38070B1}"/>
          </ac:spMkLst>
        </pc:spChg>
        <pc:spChg chg="mod">
          <ac:chgData name="Zenos Zenica" userId="de3ee720dba36952" providerId="Windows Live" clId="Web-{24ADB7D4-CCC6-4396-A50F-0A28491CEAE9}" dt="2020-11-23T15:36:13.566" v="1394" actId="20577"/>
          <ac:spMkLst>
            <pc:docMk/>
            <pc:sldMk cId="538759520" sldId="353"/>
            <ac:spMk id="32" creationId="{E2F9A2C6-DD03-4F40-9CAC-F27C8496B473}"/>
          </ac:spMkLst>
        </pc:spChg>
        <pc:spChg chg="mod">
          <ac:chgData name="Zenos Zenica" userId="de3ee720dba36952" providerId="Windows Live" clId="Web-{24ADB7D4-CCC6-4396-A50F-0A28491CEAE9}" dt="2020-11-23T15:36:27.472" v="1397" actId="20577"/>
          <ac:spMkLst>
            <pc:docMk/>
            <pc:sldMk cId="538759520" sldId="353"/>
            <ac:spMk id="33" creationId="{305E68BB-6A05-4633-ABE4-B57BB7151962}"/>
          </ac:spMkLst>
        </pc:spChg>
        <pc:spChg chg="mod">
          <ac:chgData name="Zenos Zenica" userId="de3ee720dba36952" providerId="Windows Live" clId="Web-{24ADB7D4-CCC6-4396-A50F-0A28491CEAE9}" dt="2020-11-23T15:36:18.175" v="1395" actId="20577"/>
          <ac:spMkLst>
            <pc:docMk/>
            <pc:sldMk cId="538759520" sldId="353"/>
            <ac:spMk id="34" creationId="{D1FEB52D-EBDF-4BA6-A9EF-C0B727932EF5}"/>
          </ac:spMkLst>
        </pc:spChg>
        <pc:grpChg chg="mod">
          <ac:chgData name="Zenos Zenica" userId="de3ee720dba36952" providerId="Windows Live" clId="Web-{24ADB7D4-CCC6-4396-A50F-0A28491CEAE9}" dt="2020-11-23T15:36:44.848" v="1399" actId="14100"/>
          <ac:grpSpMkLst>
            <pc:docMk/>
            <pc:sldMk cId="538759520" sldId="353"/>
            <ac:grpSpMk id="15" creationId="{A7257A27-5505-42AE-B954-7BF2EF07F9C6}"/>
          </ac:grpSpMkLst>
        </pc:grpChg>
      </pc:sldChg>
      <pc:sldChg chg="modSp add">
        <pc:chgData name="Zenos Zenica" userId="de3ee720dba36952" providerId="Windows Live" clId="Web-{24ADB7D4-CCC6-4396-A50F-0A28491CEAE9}" dt="2020-11-23T15:40:56.512" v="1469" actId="1076"/>
        <pc:sldMkLst>
          <pc:docMk/>
          <pc:sldMk cId="4217231077" sldId="354"/>
        </pc:sldMkLst>
        <pc:spChg chg="mod">
          <ac:chgData name="Zenos Zenica" userId="de3ee720dba36952" providerId="Windows Live" clId="Web-{24ADB7D4-CCC6-4396-A50F-0A28491CEAE9}" dt="2020-11-23T15:39:21.368" v="1448" actId="14100"/>
          <ac:spMkLst>
            <pc:docMk/>
            <pc:sldMk cId="4217231077" sldId="354"/>
            <ac:spMk id="6" creationId="{B2AE5D6E-295E-42D8-AF5D-6AD2B0F75347}"/>
          </ac:spMkLst>
        </pc:spChg>
        <pc:spChg chg="mod">
          <ac:chgData name="Zenos Zenica" userId="de3ee720dba36952" providerId="Windows Live" clId="Web-{24ADB7D4-CCC6-4396-A50F-0A28491CEAE9}" dt="2020-11-23T15:40:30.933" v="1461" actId="20577"/>
          <ac:spMkLst>
            <pc:docMk/>
            <pc:sldMk cId="4217231077" sldId="354"/>
            <ac:spMk id="10" creationId="{218D54CB-EDD0-4F2D-8FAE-8686B16AB153}"/>
          </ac:spMkLst>
        </pc:spChg>
        <pc:spChg chg="mod">
          <ac:chgData name="Zenos Zenica" userId="de3ee720dba36952" providerId="Windows Live" clId="Web-{24ADB7D4-CCC6-4396-A50F-0A28491CEAE9}" dt="2020-11-23T15:40:56.512" v="1469" actId="1076"/>
          <ac:spMkLst>
            <pc:docMk/>
            <pc:sldMk cId="4217231077" sldId="354"/>
            <ac:spMk id="16" creationId="{E83E83C3-E01A-44F1-95FF-6540BC8C3EAB}"/>
          </ac:spMkLst>
        </pc:spChg>
        <pc:spChg chg="mod">
          <ac:chgData name="Zenos Zenica" userId="de3ee720dba36952" providerId="Windows Live" clId="Web-{24ADB7D4-CCC6-4396-A50F-0A28491CEAE9}" dt="2020-11-23T15:40:22.948" v="1460" actId="20577"/>
          <ac:spMkLst>
            <pc:docMk/>
            <pc:sldMk cId="4217231077" sldId="354"/>
            <ac:spMk id="51" creationId="{59263594-F341-40B7-B9FB-183368666F4A}"/>
          </ac:spMkLst>
        </pc:spChg>
      </pc:sldChg>
      <pc:sldChg chg="add del">
        <pc:chgData name="Zenos Zenica" userId="de3ee720dba36952" providerId="Windows Live" clId="Web-{24ADB7D4-CCC6-4396-A50F-0A28491CEAE9}" dt="2020-11-23T14:14:17.563" v="39"/>
        <pc:sldMkLst>
          <pc:docMk/>
          <pc:sldMk cId="2607497392" sldId="355"/>
        </pc:sldMkLst>
      </pc:sldChg>
      <pc:sldChg chg="modSp add">
        <pc:chgData name="Zenos Zenica" userId="de3ee720dba36952" providerId="Windows Live" clId="Web-{24ADB7D4-CCC6-4396-A50F-0A28491CEAE9}" dt="2020-11-23T15:39:04.243" v="1447" actId="14100"/>
        <pc:sldMkLst>
          <pc:docMk/>
          <pc:sldMk cId="2314783844" sldId="356"/>
        </pc:sldMkLst>
        <pc:spChg chg="mod">
          <ac:chgData name="Zenos Zenica" userId="de3ee720dba36952" providerId="Windows Live" clId="Web-{24ADB7D4-CCC6-4396-A50F-0A28491CEAE9}" dt="2020-11-23T15:37:54.897" v="1427" actId="14100"/>
          <ac:spMkLst>
            <pc:docMk/>
            <pc:sldMk cId="2314783844" sldId="356"/>
            <ac:spMk id="6" creationId="{B2AE5D6E-295E-42D8-AF5D-6AD2B0F75347}"/>
          </ac:spMkLst>
        </pc:spChg>
        <pc:spChg chg="mod">
          <ac:chgData name="Zenos Zenica" userId="de3ee720dba36952" providerId="Windows Live" clId="Web-{24ADB7D4-CCC6-4396-A50F-0A28491CEAE9}" dt="2020-11-23T15:39:04.243" v="1447" actId="14100"/>
          <ac:spMkLst>
            <pc:docMk/>
            <pc:sldMk cId="2314783844" sldId="356"/>
            <ac:spMk id="16" creationId="{E83E83C3-E01A-44F1-95FF-6540BC8C3EAB}"/>
          </ac:spMkLst>
        </pc:spChg>
        <pc:spChg chg="mod">
          <ac:chgData name="Zenos Zenica" userId="de3ee720dba36952" providerId="Windows Live" clId="Web-{24ADB7D4-CCC6-4396-A50F-0A28491CEAE9}" dt="2020-11-23T15:39:02.102" v="1446" actId="20577"/>
          <ac:spMkLst>
            <pc:docMk/>
            <pc:sldMk cId="2314783844" sldId="356"/>
            <ac:spMk id="51" creationId="{59263594-F341-40B7-B9FB-183368666F4A}"/>
          </ac:spMkLst>
        </pc:spChg>
      </pc:sldChg>
      <pc:sldChg chg="modSp add">
        <pc:chgData name="Zenos Zenica" userId="de3ee720dba36952" providerId="Windows Live" clId="Web-{24ADB7D4-CCC6-4396-A50F-0A28491CEAE9}" dt="2020-11-23T15:47:40.461" v="1537" actId="20577"/>
        <pc:sldMkLst>
          <pc:docMk/>
          <pc:sldMk cId="2437797832" sldId="357"/>
        </pc:sldMkLst>
        <pc:spChg chg="mod">
          <ac:chgData name="Zenos Zenica" userId="de3ee720dba36952" providerId="Windows Live" clId="Web-{24ADB7D4-CCC6-4396-A50F-0A28491CEAE9}" dt="2020-11-23T15:41:49.341" v="1474" actId="1076"/>
          <ac:spMkLst>
            <pc:docMk/>
            <pc:sldMk cId="2437797832" sldId="357"/>
            <ac:spMk id="6" creationId="{B2AE5D6E-295E-42D8-AF5D-6AD2B0F75347}"/>
          </ac:spMkLst>
        </pc:spChg>
        <pc:spChg chg="mod">
          <ac:chgData name="Zenos Zenica" userId="de3ee720dba36952" providerId="Windows Live" clId="Web-{24ADB7D4-CCC6-4396-A50F-0A28491CEAE9}" dt="2020-11-23T15:47:40.461" v="1537" actId="20577"/>
          <ac:spMkLst>
            <pc:docMk/>
            <pc:sldMk cId="2437797832" sldId="357"/>
            <ac:spMk id="10" creationId="{218D54CB-EDD0-4F2D-8FAE-8686B16AB153}"/>
          </ac:spMkLst>
        </pc:spChg>
        <pc:spChg chg="mod">
          <ac:chgData name="Zenos Zenica" userId="de3ee720dba36952" providerId="Windows Live" clId="Web-{24ADB7D4-CCC6-4396-A50F-0A28491CEAE9}" dt="2020-11-23T15:47:30.039" v="1533" actId="14100"/>
          <ac:spMkLst>
            <pc:docMk/>
            <pc:sldMk cId="2437797832" sldId="357"/>
            <ac:spMk id="11" creationId="{0D6015C8-25E3-4B49-B49D-F30F6FD512CE}"/>
          </ac:spMkLst>
        </pc:spChg>
        <pc:spChg chg="mod">
          <ac:chgData name="Zenos Zenica" userId="de3ee720dba36952" providerId="Windows Live" clId="Web-{24ADB7D4-CCC6-4396-A50F-0A28491CEAE9}" dt="2020-11-23T15:45:33.254" v="1513" actId="14100"/>
          <ac:spMkLst>
            <pc:docMk/>
            <pc:sldMk cId="2437797832" sldId="357"/>
            <ac:spMk id="16" creationId="{E83E83C3-E01A-44F1-95FF-6540BC8C3EAB}"/>
          </ac:spMkLst>
        </pc:spChg>
        <pc:spChg chg="mod">
          <ac:chgData name="Zenos Zenica" userId="de3ee720dba36952" providerId="Windows Live" clId="Web-{24ADB7D4-CCC6-4396-A50F-0A28491CEAE9}" dt="2020-11-23T15:47:23.148" v="1532" actId="14100"/>
          <ac:spMkLst>
            <pc:docMk/>
            <pc:sldMk cId="2437797832" sldId="357"/>
            <ac:spMk id="51" creationId="{59263594-F341-40B7-B9FB-183368666F4A}"/>
          </ac:spMkLst>
        </pc:spChg>
      </pc:sldChg>
      <pc:sldChg chg="modSp add">
        <pc:chgData name="Zenos Zenica" userId="de3ee720dba36952" providerId="Windows Live" clId="Web-{24ADB7D4-CCC6-4396-A50F-0A28491CEAE9}" dt="2020-11-23T15:48:37.885" v="1557" actId="1076"/>
        <pc:sldMkLst>
          <pc:docMk/>
          <pc:sldMk cId="511760471" sldId="358"/>
        </pc:sldMkLst>
        <pc:spChg chg="mod">
          <ac:chgData name="Zenos Zenica" userId="de3ee720dba36952" providerId="Windows Live" clId="Web-{24ADB7D4-CCC6-4396-A50F-0A28491CEAE9}" dt="2020-11-23T15:48:30.603" v="1551" actId="1076"/>
          <ac:spMkLst>
            <pc:docMk/>
            <pc:sldMk cId="511760471" sldId="358"/>
            <ac:spMk id="6" creationId="{B2AE5D6E-295E-42D8-AF5D-6AD2B0F75347}"/>
          </ac:spMkLst>
        </pc:spChg>
        <pc:spChg chg="mod">
          <ac:chgData name="Zenos Zenica" userId="de3ee720dba36952" providerId="Windows Live" clId="Web-{24ADB7D4-CCC6-4396-A50F-0A28491CEAE9}" dt="2020-11-23T15:48:30.650" v="1553" actId="1076"/>
          <ac:spMkLst>
            <pc:docMk/>
            <pc:sldMk cId="511760471" sldId="358"/>
            <ac:spMk id="10" creationId="{218D54CB-EDD0-4F2D-8FAE-8686B16AB153}"/>
          </ac:spMkLst>
        </pc:spChg>
        <pc:spChg chg="mod">
          <ac:chgData name="Zenos Zenica" userId="de3ee720dba36952" providerId="Windows Live" clId="Web-{24ADB7D4-CCC6-4396-A50F-0A28491CEAE9}" dt="2020-11-23T15:48:30.681" v="1554" actId="1076"/>
          <ac:spMkLst>
            <pc:docMk/>
            <pc:sldMk cId="511760471" sldId="358"/>
            <ac:spMk id="11" creationId="{0D6015C8-25E3-4B49-B49D-F30F6FD512CE}"/>
          </ac:spMkLst>
        </pc:spChg>
        <pc:spChg chg="mod">
          <ac:chgData name="Zenos Zenica" userId="de3ee720dba36952" providerId="Windows Live" clId="Web-{24ADB7D4-CCC6-4396-A50F-0A28491CEAE9}" dt="2020-11-23T15:48:30.697" v="1555" actId="1076"/>
          <ac:spMkLst>
            <pc:docMk/>
            <pc:sldMk cId="511760471" sldId="358"/>
            <ac:spMk id="14" creationId="{A0B3E0BD-55F5-44C6-8525-77853E200DC8}"/>
          </ac:spMkLst>
        </pc:spChg>
        <pc:spChg chg="mod">
          <ac:chgData name="Zenos Zenica" userId="de3ee720dba36952" providerId="Windows Live" clId="Web-{24ADB7D4-CCC6-4396-A50F-0A28491CEAE9}" dt="2020-11-23T15:48:37.885" v="1557" actId="1076"/>
          <ac:spMkLst>
            <pc:docMk/>
            <pc:sldMk cId="511760471" sldId="358"/>
            <ac:spMk id="16" creationId="{E83E83C3-E01A-44F1-95FF-6540BC8C3EAB}"/>
          </ac:spMkLst>
        </pc:spChg>
        <pc:spChg chg="mod">
          <ac:chgData name="Zenos Zenica" userId="de3ee720dba36952" providerId="Windows Live" clId="Web-{24ADB7D4-CCC6-4396-A50F-0A28491CEAE9}" dt="2020-11-23T15:48:30.634" v="1552" actId="1076"/>
          <ac:spMkLst>
            <pc:docMk/>
            <pc:sldMk cId="511760471" sldId="358"/>
            <ac:spMk id="51" creationId="{59263594-F341-40B7-B9FB-183368666F4A}"/>
          </ac:spMkLst>
        </pc:spChg>
      </pc:sldChg>
      <pc:sldChg chg="modSp add">
        <pc:chgData name="Zenos Zenica" userId="de3ee720dba36952" providerId="Windows Live" clId="Web-{24ADB7D4-CCC6-4396-A50F-0A28491CEAE9}" dt="2020-11-23T15:49:27.199" v="1580" actId="14100"/>
        <pc:sldMkLst>
          <pc:docMk/>
          <pc:sldMk cId="1343620634" sldId="359"/>
        </pc:sldMkLst>
        <pc:spChg chg="mod">
          <ac:chgData name="Zenos Zenica" userId="de3ee720dba36952" providerId="Windows Live" clId="Web-{24ADB7D4-CCC6-4396-A50F-0A28491CEAE9}" dt="2020-11-23T15:48:58.057" v="1559" actId="1076"/>
          <ac:spMkLst>
            <pc:docMk/>
            <pc:sldMk cId="1343620634" sldId="359"/>
            <ac:spMk id="6" creationId="{B2AE5D6E-295E-42D8-AF5D-6AD2B0F75347}"/>
          </ac:spMkLst>
        </pc:spChg>
        <pc:spChg chg="mod">
          <ac:chgData name="Zenos Zenica" userId="de3ee720dba36952" providerId="Windows Live" clId="Web-{24ADB7D4-CCC6-4396-A50F-0A28491CEAE9}" dt="2020-11-23T15:49:11.073" v="1570" actId="14100"/>
          <ac:spMkLst>
            <pc:docMk/>
            <pc:sldMk cId="1343620634" sldId="359"/>
            <ac:spMk id="10" creationId="{218D54CB-EDD0-4F2D-8FAE-8686B16AB153}"/>
          </ac:spMkLst>
        </pc:spChg>
        <pc:spChg chg="mod">
          <ac:chgData name="Zenos Zenica" userId="de3ee720dba36952" providerId="Windows Live" clId="Web-{24ADB7D4-CCC6-4396-A50F-0A28491CEAE9}" dt="2020-11-23T15:49:11.089" v="1571" actId="14100"/>
          <ac:spMkLst>
            <pc:docMk/>
            <pc:sldMk cId="1343620634" sldId="359"/>
            <ac:spMk id="11" creationId="{0D6015C8-25E3-4B49-B49D-F30F6FD512CE}"/>
          </ac:spMkLst>
        </pc:spChg>
        <pc:spChg chg="mod">
          <ac:chgData name="Zenos Zenica" userId="de3ee720dba36952" providerId="Windows Live" clId="Web-{24ADB7D4-CCC6-4396-A50F-0A28491CEAE9}" dt="2020-11-23T15:49:11.104" v="1572" actId="14100"/>
          <ac:spMkLst>
            <pc:docMk/>
            <pc:sldMk cId="1343620634" sldId="359"/>
            <ac:spMk id="14" creationId="{A0B3E0BD-55F5-44C6-8525-77853E200DC8}"/>
          </ac:spMkLst>
        </pc:spChg>
        <pc:spChg chg="mod">
          <ac:chgData name="Zenos Zenica" userId="de3ee720dba36952" providerId="Windows Live" clId="Web-{24ADB7D4-CCC6-4396-A50F-0A28491CEAE9}" dt="2020-11-23T15:49:11.136" v="1573" actId="14100"/>
          <ac:spMkLst>
            <pc:docMk/>
            <pc:sldMk cId="1343620634" sldId="359"/>
            <ac:spMk id="15" creationId="{630D3B3F-353C-4EA1-B3A1-CB6B792D89F4}"/>
          </ac:spMkLst>
        </pc:spChg>
        <pc:spChg chg="mod">
          <ac:chgData name="Zenos Zenica" userId="de3ee720dba36952" providerId="Windows Live" clId="Web-{24ADB7D4-CCC6-4396-A50F-0A28491CEAE9}" dt="2020-11-23T15:49:27.199" v="1580" actId="14100"/>
          <ac:spMkLst>
            <pc:docMk/>
            <pc:sldMk cId="1343620634" sldId="359"/>
            <ac:spMk id="16" creationId="{E83E83C3-E01A-44F1-95FF-6540BC8C3EAB}"/>
          </ac:spMkLst>
        </pc:spChg>
        <pc:spChg chg="mod">
          <ac:chgData name="Zenos Zenica" userId="de3ee720dba36952" providerId="Windows Live" clId="Web-{24ADB7D4-CCC6-4396-A50F-0A28491CEAE9}" dt="2020-11-23T15:49:11.151" v="1574" actId="14100"/>
          <ac:spMkLst>
            <pc:docMk/>
            <pc:sldMk cId="1343620634" sldId="359"/>
            <ac:spMk id="51" creationId="{59263594-F341-40B7-B9FB-183368666F4A}"/>
          </ac:spMkLst>
        </pc:spChg>
      </pc:sldChg>
      <pc:sldChg chg="modSp add">
        <pc:chgData name="Zenos Zenica" userId="de3ee720dba36952" providerId="Windows Live" clId="Web-{24ADB7D4-CCC6-4396-A50F-0A28491CEAE9}" dt="2020-11-23T15:50:24.279" v="1613" actId="1076"/>
        <pc:sldMkLst>
          <pc:docMk/>
          <pc:sldMk cId="2435555445" sldId="360"/>
        </pc:sldMkLst>
        <pc:spChg chg="mod">
          <ac:chgData name="Zenos Zenica" userId="de3ee720dba36952" providerId="Windows Live" clId="Web-{24ADB7D4-CCC6-4396-A50F-0A28491CEAE9}" dt="2020-11-23T15:50:03.575" v="1604" actId="14100"/>
          <ac:spMkLst>
            <pc:docMk/>
            <pc:sldMk cId="2435555445" sldId="360"/>
            <ac:spMk id="5" creationId="{48F0A160-D9CA-46D5-A2B9-1788280BDD5E}"/>
          </ac:spMkLst>
        </pc:spChg>
        <pc:spChg chg="mod">
          <ac:chgData name="Zenos Zenica" userId="de3ee720dba36952" providerId="Windows Live" clId="Web-{24ADB7D4-CCC6-4396-A50F-0A28491CEAE9}" dt="2020-11-23T15:50:03.450" v="1598" actId="14100"/>
          <ac:spMkLst>
            <pc:docMk/>
            <pc:sldMk cId="2435555445" sldId="360"/>
            <ac:spMk id="6" creationId="{B2AE5D6E-295E-42D8-AF5D-6AD2B0F75347}"/>
          </ac:spMkLst>
        </pc:spChg>
        <pc:spChg chg="mod">
          <ac:chgData name="Zenos Zenica" userId="de3ee720dba36952" providerId="Windows Live" clId="Web-{24ADB7D4-CCC6-4396-A50F-0A28491CEAE9}" dt="2020-11-23T15:50:03.559" v="1603" actId="14100"/>
          <ac:spMkLst>
            <pc:docMk/>
            <pc:sldMk cId="2435555445" sldId="360"/>
            <ac:spMk id="7" creationId="{3993E674-5585-4A17-96AC-434C9E29F07E}"/>
          </ac:spMkLst>
        </pc:spChg>
        <pc:spChg chg="mod">
          <ac:chgData name="Zenos Zenica" userId="de3ee720dba36952" providerId="Windows Live" clId="Web-{24ADB7D4-CCC6-4396-A50F-0A28491CEAE9}" dt="2020-11-23T15:50:03.481" v="1599" actId="14100"/>
          <ac:spMkLst>
            <pc:docMk/>
            <pc:sldMk cId="2435555445" sldId="360"/>
            <ac:spMk id="10" creationId="{218D54CB-EDD0-4F2D-8FAE-8686B16AB153}"/>
          </ac:spMkLst>
        </pc:spChg>
        <pc:spChg chg="mod">
          <ac:chgData name="Zenos Zenica" userId="de3ee720dba36952" providerId="Windows Live" clId="Web-{24ADB7D4-CCC6-4396-A50F-0A28491CEAE9}" dt="2020-11-23T15:50:03.497" v="1600" actId="14100"/>
          <ac:spMkLst>
            <pc:docMk/>
            <pc:sldMk cId="2435555445" sldId="360"/>
            <ac:spMk id="11" creationId="{0D6015C8-25E3-4B49-B49D-F30F6FD512CE}"/>
          </ac:spMkLst>
        </pc:spChg>
        <pc:spChg chg="mod">
          <ac:chgData name="Zenos Zenica" userId="de3ee720dba36952" providerId="Windows Live" clId="Web-{24ADB7D4-CCC6-4396-A50F-0A28491CEAE9}" dt="2020-11-23T15:50:03.528" v="1601" actId="14100"/>
          <ac:spMkLst>
            <pc:docMk/>
            <pc:sldMk cId="2435555445" sldId="360"/>
            <ac:spMk id="14" creationId="{A0B3E0BD-55F5-44C6-8525-77853E200DC8}"/>
          </ac:spMkLst>
        </pc:spChg>
        <pc:spChg chg="mod">
          <ac:chgData name="Zenos Zenica" userId="de3ee720dba36952" providerId="Windows Live" clId="Web-{24ADB7D4-CCC6-4396-A50F-0A28491CEAE9}" dt="2020-11-23T15:50:03.544" v="1602" actId="14100"/>
          <ac:spMkLst>
            <pc:docMk/>
            <pc:sldMk cId="2435555445" sldId="360"/>
            <ac:spMk id="15" creationId="{630D3B3F-353C-4EA1-B3A1-CB6B792D89F4}"/>
          </ac:spMkLst>
        </pc:spChg>
        <pc:spChg chg="mod">
          <ac:chgData name="Zenos Zenica" userId="de3ee720dba36952" providerId="Windows Live" clId="Web-{24ADB7D4-CCC6-4396-A50F-0A28491CEAE9}" dt="2020-11-23T15:50:24.279" v="1613" actId="1076"/>
          <ac:spMkLst>
            <pc:docMk/>
            <pc:sldMk cId="2435555445" sldId="360"/>
            <ac:spMk id="16" creationId="{E83E83C3-E01A-44F1-95FF-6540BC8C3EAB}"/>
          </ac:spMkLst>
        </pc:spChg>
        <pc:spChg chg="mod">
          <ac:chgData name="Zenos Zenica" userId="de3ee720dba36952" providerId="Windows Live" clId="Web-{24ADB7D4-CCC6-4396-A50F-0A28491CEAE9}" dt="2020-11-23T15:50:03.434" v="1597" actId="14100"/>
          <ac:spMkLst>
            <pc:docMk/>
            <pc:sldMk cId="2435555445" sldId="360"/>
            <ac:spMk id="51" creationId="{59263594-F341-40B7-B9FB-183368666F4A}"/>
          </ac:spMkLst>
        </pc:spChg>
      </pc:sldChg>
      <pc:sldChg chg="modSp add">
        <pc:chgData name="Zenos Zenica" userId="de3ee720dba36952" providerId="Windows Live" clId="Web-{24ADB7D4-CCC6-4396-A50F-0A28491CEAE9}" dt="2020-11-23T15:51:13.046" v="1638" actId="1076"/>
        <pc:sldMkLst>
          <pc:docMk/>
          <pc:sldMk cId="3255145565" sldId="361"/>
        </pc:sldMkLst>
        <pc:spChg chg="mod">
          <ac:chgData name="Zenos Zenica" userId="de3ee720dba36952" providerId="Windows Live" clId="Web-{24ADB7D4-CCC6-4396-A50F-0A28491CEAE9}" dt="2020-11-23T15:51:13.046" v="1638" actId="1076"/>
          <ac:spMkLst>
            <pc:docMk/>
            <pc:sldMk cId="3255145565" sldId="361"/>
            <ac:spMk id="16" creationId="{E83E83C3-E01A-44F1-95FF-6540BC8C3EAB}"/>
          </ac:spMkLst>
        </pc:spChg>
        <pc:spChg chg="mod">
          <ac:chgData name="Zenos Zenica" userId="de3ee720dba36952" providerId="Windows Live" clId="Web-{24ADB7D4-CCC6-4396-A50F-0A28491CEAE9}" dt="2020-11-23T15:50:50.373" v="1630" actId="14100"/>
          <ac:spMkLst>
            <pc:docMk/>
            <pc:sldMk cId="3255145565" sldId="361"/>
            <ac:spMk id="17" creationId="{13A6E936-9A8C-4F27-9933-76E26D5DD7C6}"/>
          </ac:spMkLst>
        </pc:spChg>
        <pc:spChg chg="mod">
          <ac:chgData name="Zenos Zenica" userId="de3ee720dba36952" providerId="Windows Live" clId="Web-{24ADB7D4-CCC6-4396-A50F-0A28491CEAE9}" dt="2020-11-23T15:50:39.435" v="1615"/>
          <ac:spMkLst>
            <pc:docMk/>
            <pc:sldMk cId="3255145565" sldId="361"/>
            <ac:spMk id="18" creationId="{72AC7196-E3D5-4962-BE37-04C2FDA12D07}"/>
          </ac:spMkLst>
        </pc:spChg>
        <pc:spChg chg="mod">
          <ac:chgData name="Zenos Zenica" userId="de3ee720dba36952" providerId="Windows Live" clId="Web-{24ADB7D4-CCC6-4396-A50F-0A28491CEAE9}" dt="2020-11-23T15:50:39.451" v="1616"/>
          <ac:spMkLst>
            <pc:docMk/>
            <pc:sldMk cId="3255145565" sldId="361"/>
            <ac:spMk id="19" creationId="{242A148C-4717-4214-A402-24BA0AA53EE7}"/>
          </ac:spMkLst>
        </pc:spChg>
        <pc:spChg chg="mod">
          <ac:chgData name="Zenos Zenica" userId="de3ee720dba36952" providerId="Windows Live" clId="Web-{24ADB7D4-CCC6-4396-A50F-0A28491CEAE9}" dt="2020-11-23T15:50:39.451" v="1617"/>
          <ac:spMkLst>
            <pc:docMk/>
            <pc:sldMk cId="3255145565" sldId="361"/>
            <ac:spMk id="22" creationId="{954B69F5-D996-441E-B795-683939A721C5}"/>
          </ac:spMkLst>
        </pc:spChg>
        <pc:spChg chg="mod">
          <ac:chgData name="Zenos Zenica" userId="de3ee720dba36952" providerId="Windows Live" clId="Web-{24ADB7D4-CCC6-4396-A50F-0A28491CEAE9}" dt="2020-11-23T15:51:01.780" v="1633" actId="1076"/>
          <ac:spMkLst>
            <pc:docMk/>
            <pc:sldMk cId="3255145565" sldId="361"/>
            <ac:spMk id="23" creationId="{F14A08AD-642C-47B6-BA3F-31928D2A8EFB}"/>
          </ac:spMkLst>
        </pc:spChg>
        <pc:spChg chg="mod">
          <ac:chgData name="Zenos Zenica" userId="de3ee720dba36952" providerId="Windows Live" clId="Web-{24ADB7D4-CCC6-4396-A50F-0A28491CEAE9}" dt="2020-11-23T15:50:54.561" v="1631" actId="14100"/>
          <ac:spMkLst>
            <pc:docMk/>
            <pc:sldMk cId="3255145565" sldId="361"/>
            <ac:spMk id="24" creationId="{E70E40B2-4F68-4465-A6C3-23D539FB67C7}"/>
          </ac:spMkLst>
        </pc:spChg>
        <pc:spChg chg="mod">
          <ac:chgData name="Zenos Zenica" userId="de3ee720dba36952" providerId="Windows Live" clId="Web-{24ADB7D4-CCC6-4396-A50F-0A28491CEAE9}" dt="2020-11-23T15:50:39.482" v="1620"/>
          <ac:spMkLst>
            <pc:docMk/>
            <pc:sldMk cId="3255145565" sldId="361"/>
            <ac:spMk id="25" creationId="{649FE9EE-4376-45D2-A835-3383F9520B56}"/>
          </ac:spMkLst>
        </pc:spChg>
        <pc:spChg chg="mod">
          <ac:chgData name="Zenos Zenica" userId="de3ee720dba36952" providerId="Windows Live" clId="Web-{24ADB7D4-CCC6-4396-A50F-0A28491CEAE9}" dt="2020-11-23T15:50:39.498" v="1621"/>
          <ac:spMkLst>
            <pc:docMk/>
            <pc:sldMk cId="3255145565" sldId="361"/>
            <ac:spMk id="26" creationId="{D91E1F1E-C24E-4E31-ACB1-D343084F5772}"/>
          </ac:spMkLst>
        </pc:spChg>
        <pc:spChg chg="mod">
          <ac:chgData name="Zenos Zenica" userId="de3ee720dba36952" providerId="Windows Live" clId="Web-{24ADB7D4-CCC6-4396-A50F-0A28491CEAE9}" dt="2020-11-23T15:50:39.513" v="1622"/>
          <ac:spMkLst>
            <pc:docMk/>
            <pc:sldMk cId="3255145565" sldId="361"/>
            <ac:spMk id="28" creationId="{A280D296-0B69-4674-9E4D-24933B3D8907}"/>
          </ac:spMkLst>
        </pc:spChg>
        <pc:spChg chg="mod">
          <ac:chgData name="Zenos Zenica" userId="de3ee720dba36952" providerId="Windows Live" clId="Web-{24ADB7D4-CCC6-4396-A50F-0A28491CEAE9}" dt="2020-11-23T15:51:05.749" v="1634" actId="1076"/>
          <ac:spMkLst>
            <pc:docMk/>
            <pc:sldMk cId="3255145565" sldId="361"/>
            <ac:spMk id="29" creationId="{1BCCD530-2422-43A0-A77B-65D19B37D75C}"/>
          </ac:spMkLst>
        </pc:spChg>
        <pc:spChg chg="mod">
          <ac:chgData name="Zenos Zenica" userId="de3ee720dba36952" providerId="Windows Live" clId="Web-{24ADB7D4-CCC6-4396-A50F-0A28491CEAE9}" dt="2020-11-23T15:50:46.404" v="1629" actId="14100"/>
          <ac:spMkLst>
            <pc:docMk/>
            <pc:sldMk cId="3255145565" sldId="361"/>
            <ac:spMk id="30" creationId="{18232E6A-382B-4B6A-A87A-03D84C4F5706}"/>
          </ac:spMkLst>
        </pc:spChg>
        <pc:spChg chg="mod">
          <ac:chgData name="Zenos Zenica" userId="de3ee720dba36952" providerId="Windows Live" clId="Web-{24ADB7D4-CCC6-4396-A50F-0A28491CEAE9}" dt="2020-11-23T15:50:39.545" v="1625"/>
          <ac:spMkLst>
            <pc:docMk/>
            <pc:sldMk cId="3255145565" sldId="361"/>
            <ac:spMk id="31" creationId="{D220535A-62AF-4A01-88C8-B61F30BC6DD9}"/>
          </ac:spMkLst>
        </pc:spChg>
        <pc:spChg chg="mod">
          <ac:chgData name="Zenos Zenica" userId="de3ee720dba36952" providerId="Windows Live" clId="Web-{24ADB7D4-CCC6-4396-A50F-0A28491CEAE9}" dt="2020-11-23T15:50:39.545" v="1626"/>
          <ac:spMkLst>
            <pc:docMk/>
            <pc:sldMk cId="3255145565" sldId="361"/>
            <ac:spMk id="32" creationId="{483E9501-E861-41C9-B708-2579223FBCD4}"/>
          </ac:spMkLst>
        </pc:spChg>
        <pc:spChg chg="mod">
          <ac:chgData name="Zenos Zenica" userId="de3ee720dba36952" providerId="Windows Live" clId="Web-{24ADB7D4-CCC6-4396-A50F-0A28491CEAE9}" dt="2020-11-23T15:50:39.560" v="1627"/>
          <ac:spMkLst>
            <pc:docMk/>
            <pc:sldMk cId="3255145565" sldId="361"/>
            <ac:spMk id="34" creationId="{A19B0DCF-CA4E-4C72-B1E0-E3D5139C88D8}"/>
          </ac:spMkLst>
        </pc:spChg>
        <pc:spChg chg="mod">
          <ac:chgData name="Zenos Zenica" userId="de3ee720dba36952" providerId="Windows Live" clId="Web-{24ADB7D4-CCC6-4396-A50F-0A28491CEAE9}" dt="2020-11-23T15:50:58.748" v="1632" actId="1076"/>
          <ac:spMkLst>
            <pc:docMk/>
            <pc:sldMk cId="3255145565" sldId="361"/>
            <ac:spMk id="35" creationId="{0E770631-6BA5-4B28-A54A-42438C9D6C7F}"/>
          </ac:spMkLst>
        </pc:spChg>
      </pc:sldChg>
      <pc:sldMasterChg chg="add addSldLayout">
        <pc:chgData name="Zenos Zenica" userId="de3ee720dba36952" providerId="Windows Live" clId="Web-{24ADB7D4-CCC6-4396-A50F-0A28491CEAE9}" dt="2020-11-23T14:09:08.663" v="0"/>
        <pc:sldMasterMkLst>
          <pc:docMk/>
          <pc:sldMasterMk cId="1233805520" sldId="2147483648"/>
        </pc:sldMasterMkLst>
        <pc:sldLayoutChg chg="add">
          <pc:chgData name="Zenos Zenica" userId="de3ee720dba36952" providerId="Windows Live" clId="Web-{24ADB7D4-CCC6-4396-A50F-0A28491CEAE9}" dt="2020-11-23T14:09:08.663" v="0"/>
          <pc:sldLayoutMkLst>
            <pc:docMk/>
            <pc:sldMasterMk cId="1233805520" sldId="2147483648"/>
            <pc:sldLayoutMk cId="642951318" sldId="2147483687"/>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07"/>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10"/>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14"/>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22"/>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34"/>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42"/>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43"/>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44"/>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45"/>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46"/>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47"/>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48"/>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49"/>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50"/>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51"/>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52"/>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60"/>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62"/>
          </pc:sldLayoutMkLst>
        </pc:sldLayoutChg>
        <pc:sldLayoutChg chg="add">
          <pc:chgData name="Zenos Zenica" userId="de3ee720dba36952" providerId="Windows Live" clId="Web-{24ADB7D4-CCC6-4396-A50F-0A28491CEAE9}" dt="2020-11-23T14:09:08.663" v="0"/>
          <pc:sldLayoutMkLst>
            <pc:docMk/>
            <pc:sldMasterMk cId="1233805520" sldId="2147483648"/>
            <pc:sldLayoutMk cId="676221190" sldId="2147483763"/>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64"/>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65"/>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66"/>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67"/>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68"/>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69"/>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70"/>
          </pc:sldLayoutMkLst>
        </pc:sldLayoutChg>
      </pc:sldMasterChg>
      <pc:sldMasterChg chg="replId">
        <pc:chgData name="Zenos Zenica" userId="de3ee720dba36952" providerId="Windows Live" clId="Web-{24ADB7D4-CCC6-4396-A50F-0A28491CEAE9}" dt="2020-11-23T14:09:08.663" v="0"/>
        <pc:sldMasterMkLst>
          <pc:docMk/>
          <pc:sldMasterMk cId="2527814785" sldId="2147483771"/>
        </pc:sldMasterMkLst>
      </pc:sldMasterChg>
    </pc:docChg>
  </pc:docChgLst>
  <pc:docChgLst>
    <pc:chgData name="Zenos Zenica" userId="de3ee720dba36952" providerId="Windows Live" clId="Web-{48E4E262-EF5E-4DCC-8585-C7C293F726C4}"/>
    <pc:docChg chg="addSld delSld sldOrd">
      <pc:chgData name="Zenos Zenica" userId="de3ee720dba36952" providerId="Windows Live" clId="Web-{48E4E262-EF5E-4DCC-8585-C7C293F726C4}" dt="2020-11-23T07:52:01.668" v="56"/>
      <pc:docMkLst>
        <pc:docMk/>
      </pc:docMkLst>
      <pc:sldChg chg="del">
        <pc:chgData name="Zenos Zenica" userId="de3ee720dba36952" providerId="Windows Live" clId="Web-{48E4E262-EF5E-4DCC-8585-C7C293F726C4}" dt="2020-11-23T07:51:22.729" v="13"/>
        <pc:sldMkLst>
          <pc:docMk/>
          <pc:sldMk cId="2751410079" sldId="656"/>
        </pc:sldMkLst>
      </pc:sldChg>
      <pc:sldChg chg="del">
        <pc:chgData name="Zenos Zenica" userId="de3ee720dba36952" providerId="Windows Live" clId="Web-{48E4E262-EF5E-4DCC-8585-C7C293F726C4}" dt="2020-11-23T07:51:27.167" v="19"/>
        <pc:sldMkLst>
          <pc:docMk/>
          <pc:sldMk cId="636982651" sldId="3308"/>
        </pc:sldMkLst>
      </pc:sldChg>
      <pc:sldChg chg="del">
        <pc:chgData name="Zenos Zenica" userId="de3ee720dba36952" providerId="Windows Live" clId="Web-{48E4E262-EF5E-4DCC-8585-C7C293F726C4}" dt="2020-11-23T07:51:08.432" v="3"/>
        <pc:sldMkLst>
          <pc:docMk/>
          <pc:sldMk cId="1081143013" sldId="3322"/>
        </pc:sldMkLst>
      </pc:sldChg>
      <pc:sldChg chg="del">
        <pc:chgData name="Zenos Zenica" userId="de3ee720dba36952" providerId="Windows Live" clId="Web-{48E4E262-EF5E-4DCC-8585-C7C293F726C4}" dt="2020-11-23T07:51:40.089" v="38"/>
        <pc:sldMkLst>
          <pc:docMk/>
          <pc:sldMk cId="2314694749" sldId="3324"/>
        </pc:sldMkLst>
      </pc:sldChg>
      <pc:sldChg chg="del">
        <pc:chgData name="Zenos Zenica" userId="de3ee720dba36952" providerId="Windows Live" clId="Web-{48E4E262-EF5E-4DCC-8585-C7C293F726C4}" dt="2020-11-23T07:51:28.120" v="20"/>
        <pc:sldMkLst>
          <pc:docMk/>
          <pc:sldMk cId="1820136793" sldId="3325"/>
        </pc:sldMkLst>
      </pc:sldChg>
      <pc:sldChg chg="del">
        <pc:chgData name="Zenos Zenica" userId="de3ee720dba36952" providerId="Windows Live" clId="Web-{48E4E262-EF5E-4DCC-8585-C7C293F726C4}" dt="2020-11-23T07:51:25.932" v="17"/>
        <pc:sldMkLst>
          <pc:docMk/>
          <pc:sldMk cId="95585474" sldId="3336"/>
        </pc:sldMkLst>
      </pc:sldChg>
      <pc:sldChg chg="del">
        <pc:chgData name="Zenos Zenica" userId="de3ee720dba36952" providerId="Windows Live" clId="Web-{48E4E262-EF5E-4DCC-8585-C7C293F726C4}" dt="2020-11-23T07:51:20.916" v="9"/>
        <pc:sldMkLst>
          <pc:docMk/>
          <pc:sldMk cId="1747924527" sldId="3337"/>
        </pc:sldMkLst>
      </pc:sldChg>
      <pc:sldChg chg="del">
        <pc:chgData name="Zenos Zenica" userId="de3ee720dba36952" providerId="Windows Live" clId="Web-{48E4E262-EF5E-4DCC-8585-C7C293F726C4}" dt="2020-11-23T07:51:21.323" v="10"/>
        <pc:sldMkLst>
          <pc:docMk/>
          <pc:sldMk cId="896895879" sldId="3338"/>
        </pc:sldMkLst>
      </pc:sldChg>
      <pc:sldChg chg="del">
        <pc:chgData name="Zenos Zenica" userId="de3ee720dba36952" providerId="Windows Live" clId="Web-{48E4E262-EF5E-4DCC-8585-C7C293F726C4}" dt="2020-11-23T07:51:22.354" v="11"/>
        <pc:sldMkLst>
          <pc:docMk/>
          <pc:sldMk cId="1194611426" sldId="3339"/>
        </pc:sldMkLst>
      </pc:sldChg>
      <pc:sldChg chg="del">
        <pc:chgData name="Zenos Zenica" userId="de3ee720dba36952" providerId="Windows Live" clId="Web-{48E4E262-EF5E-4DCC-8585-C7C293F726C4}" dt="2020-11-23T07:51:22.370" v="12"/>
        <pc:sldMkLst>
          <pc:docMk/>
          <pc:sldMk cId="1744402656" sldId="3341"/>
        </pc:sldMkLst>
      </pc:sldChg>
      <pc:sldChg chg="del">
        <pc:chgData name="Zenos Zenica" userId="de3ee720dba36952" providerId="Windows Live" clId="Web-{48E4E262-EF5E-4DCC-8585-C7C293F726C4}" dt="2020-11-23T07:51:48.417" v="42"/>
        <pc:sldMkLst>
          <pc:docMk/>
          <pc:sldMk cId="3803869599" sldId="3342"/>
        </pc:sldMkLst>
      </pc:sldChg>
      <pc:sldChg chg="del">
        <pc:chgData name="Zenos Zenica" userId="de3ee720dba36952" providerId="Windows Live" clId="Web-{48E4E262-EF5E-4DCC-8585-C7C293F726C4}" dt="2020-11-23T07:51:48.699" v="43"/>
        <pc:sldMkLst>
          <pc:docMk/>
          <pc:sldMk cId="3185193610" sldId="3343"/>
        </pc:sldMkLst>
      </pc:sldChg>
      <pc:sldChg chg="del">
        <pc:chgData name="Zenos Zenica" userId="de3ee720dba36952" providerId="Windows Live" clId="Web-{48E4E262-EF5E-4DCC-8585-C7C293F726C4}" dt="2020-11-23T07:51:48.714" v="44"/>
        <pc:sldMkLst>
          <pc:docMk/>
          <pc:sldMk cId="1001458029" sldId="3344"/>
        </pc:sldMkLst>
      </pc:sldChg>
      <pc:sldChg chg="del">
        <pc:chgData name="Zenos Zenica" userId="de3ee720dba36952" providerId="Windows Live" clId="Web-{48E4E262-EF5E-4DCC-8585-C7C293F726C4}" dt="2020-11-23T07:51:49.292" v="45"/>
        <pc:sldMkLst>
          <pc:docMk/>
          <pc:sldMk cId="3522403463" sldId="3345"/>
        </pc:sldMkLst>
      </pc:sldChg>
      <pc:sldChg chg="del">
        <pc:chgData name="Zenos Zenica" userId="de3ee720dba36952" providerId="Windows Live" clId="Web-{48E4E262-EF5E-4DCC-8585-C7C293F726C4}" dt="2020-11-23T07:51:49.824" v="46"/>
        <pc:sldMkLst>
          <pc:docMk/>
          <pc:sldMk cId="1136903043" sldId="3346"/>
        </pc:sldMkLst>
      </pc:sldChg>
      <pc:sldChg chg="del">
        <pc:chgData name="Zenos Zenica" userId="de3ee720dba36952" providerId="Windows Live" clId="Web-{48E4E262-EF5E-4DCC-8585-C7C293F726C4}" dt="2020-11-23T07:51:50.355" v="47"/>
        <pc:sldMkLst>
          <pc:docMk/>
          <pc:sldMk cId="2346756623" sldId="3347"/>
        </pc:sldMkLst>
      </pc:sldChg>
      <pc:sldChg chg="del">
        <pc:chgData name="Zenos Zenica" userId="de3ee720dba36952" providerId="Windows Live" clId="Web-{48E4E262-EF5E-4DCC-8585-C7C293F726C4}" dt="2020-11-23T07:51:50.652" v="48"/>
        <pc:sldMkLst>
          <pc:docMk/>
          <pc:sldMk cId="618627144" sldId="3348"/>
        </pc:sldMkLst>
      </pc:sldChg>
      <pc:sldChg chg="del">
        <pc:chgData name="Zenos Zenica" userId="de3ee720dba36952" providerId="Windows Live" clId="Web-{48E4E262-EF5E-4DCC-8585-C7C293F726C4}" dt="2020-11-23T07:51:50.949" v="49"/>
        <pc:sldMkLst>
          <pc:docMk/>
          <pc:sldMk cId="3929150096" sldId="3349"/>
        </pc:sldMkLst>
      </pc:sldChg>
      <pc:sldChg chg="del">
        <pc:chgData name="Zenos Zenica" userId="de3ee720dba36952" providerId="Windows Live" clId="Web-{48E4E262-EF5E-4DCC-8585-C7C293F726C4}" dt="2020-11-23T07:51:51.527" v="50"/>
        <pc:sldMkLst>
          <pc:docMk/>
          <pc:sldMk cId="2226171858" sldId="3350"/>
        </pc:sldMkLst>
      </pc:sldChg>
      <pc:sldChg chg="del">
        <pc:chgData name="Zenos Zenica" userId="de3ee720dba36952" providerId="Windows Live" clId="Web-{48E4E262-EF5E-4DCC-8585-C7C293F726C4}" dt="2020-11-23T07:51:51.824" v="51"/>
        <pc:sldMkLst>
          <pc:docMk/>
          <pc:sldMk cId="1657241537" sldId="3351"/>
        </pc:sldMkLst>
      </pc:sldChg>
      <pc:sldChg chg="del">
        <pc:chgData name="Zenos Zenica" userId="de3ee720dba36952" providerId="Windows Live" clId="Web-{48E4E262-EF5E-4DCC-8585-C7C293F726C4}" dt="2020-11-23T07:51:52.574" v="52"/>
        <pc:sldMkLst>
          <pc:docMk/>
          <pc:sldMk cId="3913240375" sldId="3352"/>
        </pc:sldMkLst>
      </pc:sldChg>
      <pc:sldChg chg="del">
        <pc:chgData name="Zenos Zenica" userId="de3ee720dba36952" providerId="Windows Live" clId="Web-{48E4E262-EF5E-4DCC-8585-C7C293F726C4}" dt="2020-11-23T07:51:26.510" v="18"/>
        <pc:sldMkLst>
          <pc:docMk/>
          <pc:sldMk cId="441202695" sldId="3353"/>
        </pc:sldMkLst>
      </pc:sldChg>
      <pc:sldChg chg="del">
        <pc:chgData name="Zenos Zenica" userId="de3ee720dba36952" providerId="Windows Live" clId="Web-{48E4E262-EF5E-4DCC-8585-C7C293F726C4}" dt="2020-11-23T07:51:14.338" v="5"/>
        <pc:sldMkLst>
          <pc:docMk/>
          <pc:sldMk cId="1980646231" sldId="3355"/>
        </pc:sldMkLst>
      </pc:sldChg>
      <pc:sldChg chg="del ord">
        <pc:chgData name="Zenos Zenica" userId="de3ee720dba36952" providerId="Windows Live" clId="Web-{48E4E262-EF5E-4DCC-8585-C7C293F726C4}" dt="2020-11-23T07:51:19.119" v="7"/>
        <pc:sldMkLst>
          <pc:docMk/>
          <pc:sldMk cId="2893588497" sldId="3356"/>
        </pc:sldMkLst>
      </pc:sldChg>
      <pc:sldChg chg="del">
        <pc:chgData name="Zenos Zenica" userId="de3ee720dba36952" providerId="Windows Live" clId="Web-{48E4E262-EF5E-4DCC-8585-C7C293F726C4}" dt="2020-11-23T07:52:00.574" v="55"/>
        <pc:sldMkLst>
          <pc:docMk/>
          <pc:sldMk cId="3118804360" sldId="3357"/>
        </pc:sldMkLst>
      </pc:sldChg>
      <pc:sldChg chg="del">
        <pc:chgData name="Zenos Zenica" userId="de3ee720dba36952" providerId="Windows Live" clId="Web-{48E4E262-EF5E-4DCC-8585-C7C293F726C4}" dt="2020-11-23T07:51:23.182" v="14"/>
        <pc:sldMkLst>
          <pc:docMk/>
          <pc:sldMk cId="3151600471" sldId="3416"/>
        </pc:sldMkLst>
      </pc:sldChg>
      <pc:sldChg chg="del">
        <pc:chgData name="Zenos Zenica" userId="de3ee720dba36952" providerId="Windows Live" clId="Web-{48E4E262-EF5E-4DCC-8585-C7C293F726C4}" dt="2020-11-23T07:51:34.651" v="29"/>
        <pc:sldMkLst>
          <pc:docMk/>
          <pc:sldMk cId="2943454782" sldId="3417"/>
        </pc:sldMkLst>
      </pc:sldChg>
      <pc:sldChg chg="del">
        <pc:chgData name="Zenos Zenica" userId="de3ee720dba36952" providerId="Windows Live" clId="Web-{48E4E262-EF5E-4DCC-8585-C7C293F726C4}" dt="2020-11-23T07:52:01.668" v="56"/>
        <pc:sldMkLst>
          <pc:docMk/>
          <pc:sldMk cId="714886677" sldId="3420"/>
        </pc:sldMkLst>
      </pc:sldChg>
      <pc:sldChg chg="del">
        <pc:chgData name="Zenos Zenica" userId="de3ee720dba36952" providerId="Windows Live" clId="Web-{48E4E262-EF5E-4DCC-8585-C7C293F726C4}" dt="2020-11-23T07:51:36.073" v="31"/>
        <pc:sldMkLst>
          <pc:docMk/>
          <pc:sldMk cId="2431529789" sldId="3422"/>
        </pc:sldMkLst>
      </pc:sldChg>
      <pc:sldChg chg="del">
        <pc:chgData name="Zenos Zenica" userId="de3ee720dba36952" providerId="Windows Live" clId="Web-{48E4E262-EF5E-4DCC-8585-C7C293F726C4}" dt="2020-11-23T07:51:36.823" v="32"/>
        <pc:sldMkLst>
          <pc:docMk/>
          <pc:sldMk cId="2415010360" sldId="3423"/>
        </pc:sldMkLst>
      </pc:sldChg>
      <pc:sldChg chg="del">
        <pc:chgData name="Zenos Zenica" userId="de3ee720dba36952" providerId="Windows Live" clId="Web-{48E4E262-EF5E-4DCC-8585-C7C293F726C4}" dt="2020-11-23T07:51:37.198" v="33"/>
        <pc:sldMkLst>
          <pc:docMk/>
          <pc:sldMk cId="384604115" sldId="3424"/>
        </pc:sldMkLst>
      </pc:sldChg>
      <pc:sldChg chg="del">
        <pc:chgData name="Zenos Zenica" userId="de3ee720dba36952" providerId="Windows Live" clId="Web-{48E4E262-EF5E-4DCC-8585-C7C293F726C4}" dt="2020-11-23T07:51:37.870" v="34"/>
        <pc:sldMkLst>
          <pc:docMk/>
          <pc:sldMk cId="1922954209" sldId="3425"/>
        </pc:sldMkLst>
      </pc:sldChg>
      <pc:sldChg chg="del">
        <pc:chgData name="Zenos Zenica" userId="de3ee720dba36952" providerId="Windows Live" clId="Web-{48E4E262-EF5E-4DCC-8585-C7C293F726C4}" dt="2020-11-23T07:51:38.589" v="35"/>
        <pc:sldMkLst>
          <pc:docMk/>
          <pc:sldMk cId="4221683711" sldId="3426"/>
        </pc:sldMkLst>
      </pc:sldChg>
      <pc:sldChg chg="del">
        <pc:chgData name="Zenos Zenica" userId="de3ee720dba36952" providerId="Windows Live" clId="Web-{48E4E262-EF5E-4DCC-8585-C7C293F726C4}" dt="2020-11-23T07:51:38.886" v="36"/>
        <pc:sldMkLst>
          <pc:docMk/>
          <pc:sldMk cId="1914390035" sldId="3427"/>
        </pc:sldMkLst>
      </pc:sldChg>
      <pc:sldChg chg="del">
        <pc:chgData name="Zenos Zenica" userId="de3ee720dba36952" providerId="Windows Live" clId="Web-{48E4E262-EF5E-4DCC-8585-C7C293F726C4}" dt="2020-11-23T07:51:39.558" v="37"/>
        <pc:sldMkLst>
          <pc:docMk/>
          <pc:sldMk cId="2154140175" sldId="3428"/>
        </pc:sldMkLst>
      </pc:sldChg>
      <pc:sldChg chg="del">
        <pc:chgData name="Zenos Zenica" userId="de3ee720dba36952" providerId="Windows Live" clId="Web-{48E4E262-EF5E-4DCC-8585-C7C293F726C4}" dt="2020-11-23T07:51:47.511" v="41"/>
        <pc:sldMkLst>
          <pc:docMk/>
          <pc:sldMk cId="2156171954" sldId="3429"/>
        </pc:sldMkLst>
      </pc:sldChg>
      <pc:sldChg chg="del">
        <pc:chgData name="Zenos Zenica" userId="de3ee720dba36952" providerId="Windows Live" clId="Web-{48E4E262-EF5E-4DCC-8585-C7C293F726C4}" dt="2020-11-23T07:51:52.589" v="53"/>
        <pc:sldMkLst>
          <pc:docMk/>
          <pc:sldMk cId="3564596886" sldId="3430"/>
        </pc:sldMkLst>
      </pc:sldChg>
      <pc:sldChg chg="del">
        <pc:chgData name="Zenos Zenica" userId="de3ee720dba36952" providerId="Windows Live" clId="Web-{48E4E262-EF5E-4DCC-8585-C7C293F726C4}" dt="2020-11-23T07:51:54.027" v="54"/>
        <pc:sldMkLst>
          <pc:docMk/>
          <pc:sldMk cId="928267502" sldId="3431"/>
        </pc:sldMkLst>
      </pc:sldChg>
      <pc:sldChg chg="del">
        <pc:chgData name="Zenos Zenica" userId="de3ee720dba36952" providerId="Windows Live" clId="Web-{48E4E262-EF5E-4DCC-8585-C7C293F726C4}" dt="2020-11-23T07:51:40.120" v="39"/>
        <pc:sldMkLst>
          <pc:docMk/>
          <pc:sldMk cId="795621440" sldId="4414"/>
        </pc:sldMkLst>
      </pc:sldChg>
      <pc:sldChg chg="del">
        <pc:chgData name="Zenos Zenica" userId="de3ee720dba36952" providerId="Windows Live" clId="Web-{48E4E262-EF5E-4DCC-8585-C7C293F726C4}" dt="2020-11-23T07:51:46.464" v="40"/>
        <pc:sldMkLst>
          <pc:docMk/>
          <pc:sldMk cId="1853713524" sldId="4415"/>
        </pc:sldMkLst>
      </pc:sldChg>
      <pc:sldChg chg="del">
        <pc:chgData name="Zenos Zenica" userId="de3ee720dba36952" providerId="Windows Live" clId="Web-{48E4E262-EF5E-4DCC-8585-C7C293F726C4}" dt="2020-11-23T07:51:24.542" v="15"/>
        <pc:sldMkLst>
          <pc:docMk/>
          <pc:sldMk cId="2135269489" sldId="4453"/>
        </pc:sldMkLst>
      </pc:sldChg>
      <pc:sldChg chg="del">
        <pc:chgData name="Zenos Zenica" userId="de3ee720dba36952" providerId="Windows Live" clId="Web-{48E4E262-EF5E-4DCC-8585-C7C293F726C4}" dt="2020-11-23T07:51:25.292" v="16"/>
        <pc:sldMkLst>
          <pc:docMk/>
          <pc:sldMk cId="324974782" sldId="4454"/>
        </pc:sldMkLst>
      </pc:sldChg>
      <pc:sldChg chg="del">
        <pc:chgData name="Zenos Zenica" userId="de3ee720dba36952" providerId="Windows Live" clId="Web-{48E4E262-EF5E-4DCC-8585-C7C293F726C4}" dt="2020-11-23T07:51:20.213" v="8"/>
        <pc:sldMkLst>
          <pc:docMk/>
          <pc:sldMk cId="204089798" sldId="4508"/>
        </pc:sldMkLst>
      </pc:sldChg>
      <pc:sldChg chg="del">
        <pc:chgData name="Zenos Zenica" userId="de3ee720dba36952" providerId="Windows Live" clId="Web-{48E4E262-EF5E-4DCC-8585-C7C293F726C4}" dt="2020-11-23T07:51:29.448" v="21"/>
        <pc:sldMkLst>
          <pc:docMk/>
          <pc:sldMk cId="1145838049" sldId="4509"/>
        </pc:sldMkLst>
      </pc:sldChg>
      <pc:sldChg chg="del">
        <pc:chgData name="Zenos Zenica" userId="de3ee720dba36952" providerId="Windows Live" clId="Web-{48E4E262-EF5E-4DCC-8585-C7C293F726C4}" dt="2020-11-23T07:51:30.089" v="22"/>
        <pc:sldMkLst>
          <pc:docMk/>
          <pc:sldMk cId="139839723" sldId="4510"/>
        </pc:sldMkLst>
      </pc:sldChg>
      <pc:sldChg chg="del">
        <pc:chgData name="Zenos Zenica" userId="de3ee720dba36952" providerId="Windows Live" clId="Web-{48E4E262-EF5E-4DCC-8585-C7C293F726C4}" dt="2020-11-23T07:51:31.057" v="23"/>
        <pc:sldMkLst>
          <pc:docMk/>
          <pc:sldMk cId="1101745320" sldId="4511"/>
        </pc:sldMkLst>
      </pc:sldChg>
      <pc:sldChg chg="del">
        <pc:chgData name="Zenos Zenica" userId="de3ee720dba36952" providerId="Windows Live" clId="Web-{48E4E262-EF5E-4DCC-8585-C7C293F726C4}" dt="2020-11-23T07:51:31.636" v="24"/>
        <pc:sldMkLst>
          <pc:docMk/>
          <pc:sldMk cId="2635086758" sldId="4512"/>
        </pc:sldMkLst>
      </pc:sldChg>
      <pc:sldChg chg="del">
        <pc:chgData name="Zenos Zenica" userId="de3ee720dba36952" providerId="Windows Live" clId="Web-{48E4E262-EF5E-4DCC-8585-C7C293F726C4}" dt="2020-11-23T07:51:32.276" v="25"/>
        <pc:sldMkLst>
          <pc:docMk/>
          <pc:sldMk cId="1492426281" sldId="4513"/>
        </pc:sldMkLst>
      </pc:sldChg>
      <pc:sldChg chg="del">
        <pc:chgData name="Zenos Zenica" userId="de3ee720dba36952" providerId="Windows Live" clId="Web-{48E4E262-EF5E-4DCC-8585-C7C293F726C4}" dt="2020-11-23T07:51:33.089" v="26"/>
        <pc:sldMkLst>
          <pc:docMk/>
          <pc:sldMk cId="651822727" sldId="4514"/>
        </pc:sldMkLst>
      </pc:sldChg>
      <pc:sldChg chg="del">
        <pc:chgData name="Zenos Zenica" userId="de3ee720dba36952" providerId="Windows Live" clId="Web-{48E4E262-EF5E-4DCC-8585-C7C293F726C4}" dt="2020-11-23T07:51:33.870" v="27"/>
        <pc:sldMkLst>
          <pc:docMk/>
          <pc:sldMk cId="2816545536" sldId="4515"/>
        </pc:sldMkLst>
      </pc:sldChg>
      <pc:sldChg chg="del">
        <pc:chgData name="Zenos Zenica" userId="de3ee720dba36952" providerId="Windows Live" clId="Web-{48E4E262-EF5E-4DCC-8585-C7C293F726C4}" dt="2020-11-23T07:51:33.870" v="28"/>
        <pc:sldMkLst>
          <pc:docMk/>
          <pc:sldMk cId="3398099825" sldId="4516"/>
        </pc:sldMkLst>
      </pc:sldChg>
      <pc:sldChg chg="del">
        <pc:chgData name="Zenos Zenica" userId="de3ee720dba36952" providerId="Windows Live" clId="Web-{48E4E262-EF5E-4DCC-8585-C7C293F726C4}" dt="2020-11-23T07:51:34.995" v="30"/>
        <pc:sldMkLst>
          <pc:docMk/>
          <pc:sldMk cId="1078092694" sldId="4517"/>
        </pc:sldMkLst>
      </pc:sldChg>
      <pc:sldChg chg="new del">
        <pc:chgData name="Zenos Zenica" userId="de3ee720dba36952" providerId="Windows Live" clId="Web-{48E4E262-EF5E-4DCC-8585-C7C293F726C4}" dt="2020-11-23T07:51:11.057" v="4"/>
        <pc:sldMkLst>
          <pc:docMk/>
          <pc:sldMk cId="2096003915" sldId="4518"/>
        </pc:sldMkLst>
      </pc:sldChg>
      <pc:sldChg chg="add del">
        <pc:chgData name="Zenos Zenica" userId="de3ee720dba36952" providerId="Windows Live" clId="Web-{48E4E262-EF5E-4DCC-8585-C7C293F726C4}" dt="2020-11-23T07:51:05.838" v="2"/>
        <pc:sldMkLst>
          <pc:docMk/>
          <pc:sldMk cId="1306023396" sldId="4519"/>
        </pc:sldMkLst>
      </pc:sldChg>
    </pc:docChg>
  </pc:docChgLst>
  <pc:docChgLst>
    <pc:chgData name="Zenos Zenica" userId="de3ee720dba36952" providerId="Windows Live" clId="Web-{E9448D18-A68A-4951-B59F-967B57E9829C}"/>
    <pc:docChg chg="addSld delSld modSld">
      <pc:chgData name="Zenos Zenica" userId="de3ee720dba36952" providerId="Windows Live" clId="Web-{E9448D18-A68A-4951-B59F-967B57E9829C}" dt="2020-11-23T17:04:45.452" v="4" actId="20577"/>
      <pc:docMkLst>
        <pc:docMk/>
      </pc:docMkLst>
      <pc:sldChg chg="add del replId">
        <pc:chgData name="Zenos Zenica" userId="de3ee720dba36952" providerId="Windows Live" clId="Web-{E9448D18-A68A-4951-B59F-967B57E9829C}" dt="2020-11-23T17:04:31.967" v="1"/>
        <pc:sldMkLst>
          <pc:docMk/>
          <pc:sldMk cId="275135034" sldId="362"/>
        </pc:sldMkLst>
      </pc:sldChg>
      <pc:sldChg chg="modSp add replId">
        <pc:chgData name="Zenos Zenica" userId="de3ee720dba36952" providerId="Windows Live" clId="Web-{E9448D18-A68A-4951-B59F-967B57E9829C}" dt="2020-11-23T17:04:45.452" v="4" actId="20577"/>
        <pc:sldMkLst>
          <pc:docMk/>
          <pc:sldMk cId="1111562945" sldId="362"/>
        </pc:sldMkLst>
        <pc:spChg chg="mod">
          <ac:chgData name="Zenos Zenica" userId="de3ee720dba36952" providerId="Windows Live" clId="Web-{E9448D18-A68A-4951-B59F-967B57E9829C}" dt="2020-11-23T17:04:45.452" v="4" actId="20577"/>
          <ac:spMkLst>
            <pc:docMk/>
            <pc:sldMk cId="1111562945" sldId="362"/>
            <ac:spMk id="2" creationId="{1B5E7D2C-93EE-469D-8726-66BF8D83B687}"/>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833926837164132E-2"/>
          <c:y val="2.2404136148211976E-2"/>
          <c:w val="0.92651343476853354"/>
          <c:h val="0.95519172770357608"/>
        </c:manualLayout>
      </c:layout>
      <c:barChart>
        <c:barDir val="bar"/>
        <c:grouping val="stacked"/>
        <c:varyColors val="0"/>
        <c:ser>
          <c:idx val="0"/>
          <c:order val="0"/>
          <c:spPr>
            <a:solidFill>
              <a:schemeClr val="accent2"/>
            </a:solidFill>
            <a:ln>
              <a:noFill/>
            </a:ln>
          </c:spPr>
          <c:invertIfNegative val="0"/>
          <c:dPt>
            <c:idx val="0"/>
            <c:invertIfNegative val="0"/>
            <c:bubble3D val="0"/>
            <c:spPr>
              <a:solidFill>
                <a:schemeClr val="accent1"/>
              </a:solidFill>
              <a:ln>
                <a:noFill/>
              </a:ln>
            </c:spPr>
            <c:extLst xmlns:c16r2="http://schemas.microsoft.com/office/drawing/2015/06/chart">
              <c:ext xmlns:c16="http://schemas.microsoft.com/office/drawing/2014/chart" uri="{C3380CC4-5D6E-409C-BE32-E72D297353CC}">
                <c16:uniqueId val="{00000000-9940-40E5-82EE-A492B346FFF0}"/>
              </c:ext>
            </c:extLst>
          </c:dPt>
          <c:dPt>
            <c:idx val="1"/>
            <c:invertIfNegative val="0"/>
            <c:bubble3D val="0"/>
            <c:spPr>
              <a:solidFill>
                <a:schemeClr val="accent1"/>
              </a:solidFill>
              <a:ln>
                <a:noFill/>
              </a:ln>
            </c:spPr>
            <c:extLst xmlns:c16r2="http://schemas.microsoft.com/office/drawing/2015/06/chart">
              <c:ext xmlns:c16="http://schemas.microsoft.com/office/drawing/2014/chart" uri="{C3380CC4-5D6E-409C-BE32-E72D297353CC}">
                <c16:uniqueId val="{00000001-9940-40E5-82EE-A492B346FFF0}"/>
              </c:ext>
            </c:extLst>
          </c:dPt>
          <c:dPt>
            <c:idx val="2"/>
            <c:invertIfNegative val="0"/>
            <c:bubble3D val="0"/>
            <c:spPr>
              <a:solidFill>
                <a:schemeClr val="accent1"/>
              </a:solidFill>
              <a:ln>
                <a:noFill/>
              </a:ln>
            </c:spPr>
            <c:extLst xmlns:c16r2="http://schemas.microsoft.com/office/drawing/2015/06/chart">
              <c:ext xmlns:c16="http://schemas.microsoft.com/office/drawing/2014/chart" uri="{C3380CC4-5D6E-409C-BE32-E72D297353CC}">
                <c16:uniqueId val="{00000002-9940-40E5-82EE-A492B346FFF0}"/>
              </c:ext>
            </c:extLst>
          </c:dPt>
          <c:dPt>
            <c:idx val="8"/>
            <c:invertIfNegative val="0"/>
            <c:bubble3D val="0"/>
            <c:spPr>
              <a:solidFill>
                <a:schemeClr val="accent6"/>
              </a:solidFill>
              <a:ln>
                <a:noFill/>
              </a:ln>
            </c:spPr>
            <c:extLst xmlns:c16r2="http://schemas.microsoft.com/office/drawing/2015/06/chart">
              <c:ext xmlns:c16="http://schemas.microsoft.com/office/drawing/2014/chart" uri="{C3380CC4-5D6E-409C-BE32-E72D297353CC}">
                <c16:uniqueId val="{00000003-9940-40E5-82EE-A492B346FFF0}"/>
              </c:ext>
            </c:extLst>
          </c:dPt>
          <c:dPt>
            <c:idx val="9"/>
            <c:invertIfNegative val="0"/>
            <c:bubble3D val="0"/>
            <c:spPr>
              <a:solidFill>
                <a:schemeClr val="accent6"/>
              </a:solidFill>
              <a:ln>
                <a:noFill/>
              </a:ln>
            </c:spPr>
            <c:extLst xmlns:c16r2="http://schemas.microsoft.com/office/drawing/2015/06/chart">
              <c:ext xmlns:c16="http://schemas.microsoft.com/office/drawing/2014/chart" uri="{C3380CC4-5D6E-409C-BE32-E72D297353CC}">
                <c16:uniqueId val="{00000004-9940-40E5-82EE-A492B346FFF0}"/>
              </c:ext>
            </c:extLst>
          </c:dPt>
          <c:dPt>
            <c:idx val="10"/>
            <c:invertIfNegative val="0"/>
            <c:bubble3D val="0"/>
            <c:spPr>
              <a:solidFill>
                <a:schemeClr val="accent6"/>
              </a:solidFill>
              <a:ln>
                <a:noFill/>
              </a:ln>
            </c:spPr>
            <c:extLst xmlns:c16r2="http://schemas.microsoft.com/office/drawing/2015/06/chart">
              <c:ext xmlns:c16="http://schemas.microsoft.com/office/drawing/2014/chart" uri="{C3380CC4-5D6E-409C-BE32-E72D297353CC}">
                <c16:uniqueId val="{00000005-9940-40E5-82EE-A492B346FFF0}"/>
              </c:ext>
            </c:extLst>
          </c:dPt>
          <c:dPt>
            <c:idx val="11"/>
            <c:invertIfNegative val="0"/>
            <c:bubble3D val="0"/>
            <c:spPr>
              <a:solidFill>
                <a:schemeClr val="accent6"/>
              </a:solidFill>
              <a:ln>
                <a:noFill/>
              </a:ln>
            </c:spPr>
            <c:extLst xmlns:c16r2="http://schemas.microsoft.com/office/drawing/2015/06/chart">
              <c:ext xmlns:c16="http://schemas.microsoft.com/office/drawing/2014/chart" uri="{C3380CC4-5D6E-409C-BE32-E72D297353CC}">
                <c16:uniqueId val="{00000006-9940-40E5-82EE-A492B346FFF0}"/>
              </c:ext>
            </c:extLst>
          </c:dPt>
          <c:dLbls>
            <c:dLbl>
              <c:idx val="0"/>
              <c:layout>
                <c:manualLayout>
                  <c:x val="0.42311427646487537"/>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940-40E5-82EE-A492B346FFF0}"/>
                </c:ext>
              </c:extLst>
            </c:dLbl>
            <c:dLbl>
              <c:idx val="1"/>
              <c:layout>
                <c:manualLayout>
                  <c:x val="0.40887018452573648"/>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940-40E5-82EE-A492B346FFF0}"/>
                </c:ext>
              </c:extLst>
            </c:dLbl>
            <c:dLbl>
              <c:idx val="2"/>
              <c:layout>
                <c:manualLayout>
                  <c:x val="0.44383295564907738"/>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940-40E5-82EE-A492B346FFF0}"/>
                </c:ext>
              </c:extLst>
            </c:dLbl>
            <c:dLbl>
              <c:idx val="3"/>
              <c:layout>
                <c:manualLayout>
                  <c:x val="0.35383619294269991"/>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940-40E5-82EE-A492B346FFF0}"/>
                </c:ext>
              </c:extLst>
            </c:dLbl>
            <c:dLbl>
              <c:idx val="4"/>
              <c:layout>
                <c:manualLayout>
                  <c:x val="0.42311427646487537"/>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940-40E5-82EE-A492B346FFF0}"/>
                </c:ext>
              </c:extLst>
            </c:dLbl>
            <c:dLbl>
              <c:idx val="5"/>
              <c:layout>
                <c:manualLayout>
                  <c:x val="0.41599223049530593"/>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940-40E5-82EE-A492B346FFF0}"/>
                </c:ext>
              </c:extLst>
            </c:dLbl>
            <c:dLbl>
              <c:idx val="6"/>
              <c:layout>
                <c:manualLayout>
                  <c:x val="0.42311427646487537"/>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940-40E5-82EE-A492B346FFF0}"/>
                </c:ext>
              </c:extLst>
            </c:dLbl>
            <c:dLbl>
              <c:idx val="7"/>
              <c:layout>
                <c:manualLayout>
                  <c:x val="0.47134995144059566"/>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940-40E5-82EE-A492B346FFF0}"/>
                </c:ext>
              </c:extLst>
            </c:dLbl>
            <c:dLbl>
              <c:idx val="8"/>
              <c:layout>
                <c:manualLayout>
                  <c:x val="0.40887018452573648"/>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940-40E5-82EE-A492B346FFF0}"/>
                </c:ext>
              </c:extLst>
            </c:dLbl>
            <c:dLbl>
              <c:idx val="9"/>
              <c:layout>
                <c:manualLayout>
                  <c:x val="0.37455487212690192"/>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940-40E5-82EE-A492B346FFF0}"/>
                </c:ext>
              </c:extLst>
            </c:dLbl>
            <c:dLbl>
              <c:idx val="10"/>
              <c:layout>
                <c:manualLayout>
                  <c:x val="0.41599223049530593"/>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940-40E5-82EE-A492B346FFF0}"/>
                </c:ext>
              </c:extLst>
            </c:dLbl>
            <c:dLbl>
              <c:idx val="11"/>
              <c:layout>
                <c:manualLayout>
                  <c:x val="0.49206863062479766"/>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940-40E5-82EE-A492B346FFF0}"/>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Hoja1! $A$1:$L$1</c:f>
              <c:numCache>
                <c:formatCode>General</c:formatCode>
                <c:ptCount val="12"/>
                <c:pt idx="0">
                  <c:v>56.999999999999993</c:v>
                </c:pt>
                <c:pt idx="1">
                  <c:v>55.000000000000007</c:v>
                </c:pt>
                <c:pt idx="2">
                  <c:v>60</c:v>
                </c:pt>
                <c:pt idx="3">
                  <c:v>47</c:v>
                </c:pt>
                <c:pt idx="4">
                  <c:v>56.999999999999993</c:v>
                </c:pt>
                <c:pt idx="5">
                  <c:v>56.000000000000007</c:v>
                </c:pt>
                <c:pt idx="6">
                  <c:v>56.999999999999993</c:v>
                </c:pt>
                <c:pt idx="7">
                  <c:v>64</c:v>
                </c:pt>
                <c:pt idx="8">
                  <c:v>55.000000000000007</c:v>
                </c:pt>
                <c:pt idx="9">
                  <c:v>50</c:v>
                </c:pt>
                <c:pt idx="10">
                  <c:v>56.000000000000007</c:v>
                </c:pt>
                <c:pt idx="11">
                  <c:v>67</c:v>
                </c:pt>
              </c:numCache>
            </c:numRef>
          </c:val>
          <c:extLst xmlns:c16r2="http://schemas.microsoft.com/office/drawing/2015/06/chart">
            <c:ext xmlns:c16="http://schemas.microsoft.com/office/drawing/2014/chart" uri="{C3380CC4-5D6E-409C-BE32-E72D297353CC}">
              <c16:uniqueId val="{0000000C-9940-40E5-82EE-A492B346FFF0}"/>
            </c:ext>
          </c:extLst>
        </c:ser>
        <c:dLbls>
          <c:showLegendKey val="0"/>
          <c:showVal val="0"/>
          <c:showCatName val="0"/>
          <c:showSerName val="0"/>
          <c:showPercent val="0"/>
          <c:showBubbleSize val="0"/>
        </c:dLbls>
        <c:gapWidth val="80"/>
        <c:overlap val="100"/>
        <c:axId val="41420672"/>
        <c:axId val="41422208"/>
      </c:barChart>
      <c:catAx>
        <c:axId val="4142067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41422208"/>
        <c:crosses val="min"/>
        <c:auto val="0"/>
        <c:lblAlgn val="ctr"/>
        <c:lblOffset val="100"/>
        <c:noMultiLvlLbl val="0"/>
      </c:catAx>
      <c:valAx>
        <c:axId val="41422208"/>
        <c:scaling>
          <c:orientation val="minMax"/>
          <c:max val="67"/>
          <c:min val="0"/>
        </c:scaling>
        <c:delete val="1"/>
        <c:axPos val="t"/>
        <c:numFmt formatCode="General" sourceLinked="1"/>
        <c:majorTickMark val="out"/>
        <c:minorTickMark val="none"/>
        <c:tickLblPos val="nextTo"/>
        <c:crossAx val="4142067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621621621621623E-2"/>
          <c:y val="2.6571282575370468E-2"/>
          <c:w val="0.8723492723492724"/>
          <c:h val="0.94685743484925922"/>
        </c:manualLayout>
      </c:layout>
      <c:barChart>
        <c:barDir val="bar"/>
        <c:grouping val="stacked"/>
        <c:varyColors val="0"/>
        <c:ser>
          <c:idx val="0"/>
          <c:order val="0"/>
          <c:spPr>
            <a:solidFill>
              <a:schemeClr val="accent1"/>
            </a:solidFill>
            <a:ln>
              <a:noFill/>
            </a:ln>
          </c:spPr>
          <c:invertIfNegative val="0"/>
          <c:dLbls>
            <c:dLbl>
              <c:idx val="0"/>
              <c:layout>
                <c:manualLayout>
                  <c:x val="0.48981288981288984"/>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B8-4AAB-A15F-21D8D64D5996}"/>
                </c:ext>
              </c:extLst>
            </c:dLbl>
            <c:dLbl>
              <c:idx val="1"/>
              <c:layout>
                <c:manualLayout>
                  <c:x val="0.48523908523908527"/>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B8-4AAB-A15F-21D8D64D5996}"/>
                </c:ext>
              </c:extLst>
            </c:dLbl>
            <c:dLbl>
              <c:idx val="2"/>
              <c:layout>
                <c:manualLayout>
                  <c:x val="0.48523908523908527"/>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B8-4AAB-A15F-21D8D64D5996}"/>
                </c:ext>
              </c:extLst>
            </c:dLbl>
            <c:dLbl>
              <c:idx val="3"/>
              <c:layout>
                <c:manualLayout>
                  <c:x val="0.48024948024948028"/>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9B8-4AAB-A15F-21D8D64D5996}"/>
                </c:ext>
              </c:extLst>
            </c:dLbl>
            <c:dLbl>
              <c:idx val="4"/>
              <c:layout>
                <c:manualLayout>
                  <c:x val="0.48024948024948028"/>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B8-4AAB-A15F-21D8D64D5996}"/>
                </c:ext>
              </c:extLst>
            </c:dLbl>
            <c:dLbl>
              <c:idx val="5"/>
              <c:layout>
                <c:manualLayout>
                  <c:x val="0.4756756756756757"/>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9B8-4AAB-A15F-21D8D64D5996}"/>
                </c:ext>
              </c:extLst>
            </c:dLbl>
            <c:dLbl>
              <c:idx val="6"/>
              <c:layout>
                <c:manualLayout>
                  <c:x val="0.4756756756756757"/>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9B8-4AAB-A15F-21D8D64D5996}"/>
                </c:ext>
              </c:extLst>
            </c:dLbl>
            <c:dLbl>
              <c:idx val="7"/>
              <c:layout>
                <c:manualLayout>
                  <c:x val="0.4756756756756757"/>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9B8-4AAB-A15F-21D8D64D5996}"/>
                </c:ext>
              </c:extLst>
            </c:dLbl>
            <c:dLbl>
              <c:idx val="8"/>
              <c:layout>
                <c:manualLayout>
                  <c:x val="0.4756756756756757"/>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9B8-4AAB-A15F-21D8D64D5996}"/>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Hoja1! $A$1:$I$1</c:f>
              <c:numCache>
                <c:formatCode>General</c:formatCode>
                <c:ptCount val="9"/>
                <c:pt idx="0">
                  <c:v>91</c:v>
                </c:pt>
                <c:pt idx="1">
                  <c:v>90</c:v>
                </c:pt>
                <c:pt idx="2">
                  <c:v>90</c:v>
                </c:pt>
                <c:pt idx="3">
                  <c:v>89</c:v>
                </c:pt>
                <c:pt idx="4">
                  <c:v>89</c:v>
                </c:pt>
                <c:pt idx="5">
                  <c:v>88</c:v>
                </c:pt>
                <c:pt idx="6">
                  <c:v>88</c:v>
                </c:pt>
                <c:pt idx="7">
                  <c:v>88</c:v>
                </c:pt>
                <c:pt idx="8">
                  <c:v>88</c:v>
                </c:pt>
              </c:numCache>
            </c:numRef>
          </c:val>
          <c:extLst xmlns:c16r2="http://schemas.microsoft.com/office/drawing/2015/06/chart">
            <c:ext xmlns:c16="http://schemas.microsoft.com/office/drawing/2014/chart" uri="{C3380CC4-5D6E-409C-BE32-E72D297353CC}">
              <c16:uniqueId val="{00000009-E9B8-4AAB-A15F-21D8D64D5996}"/>
            </c:ext>
          </c:extLst>
        </c:ser>
        <c:dLbls>
          <c:showLegendKey val="0"/>
          <c:showVal val="0"/>
          <c:showCatName val="0"/>
          <c:showSerName val="0"/>
          <c:showPercent val="0"/>
          <c:showBubbleSize val="0"/>
        </c:dLbls>
        <c:gapWidth val="80"/>
        <c:overlap val="100"/>
        <c:axId val="42767488"/>
        <c:axId val="42769024"/>
      </c:barChart>
      <c:catAx>
        <c:axId val="4276748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42769024"/>
        <c:crosses val="min"/>
        <c:auto val="0"/>
        <c:lblAlgn val="ctr"/>
        <c:lblOffset val="100"/>
        <c:noMultiLvlLbl val="0"/>
      </c:catAx>
      <c:valAx>
        <c:axId val="42769024"/>
        <c:scaling>
          <c:orientation val="minMax"/>
          <c:max val="91"/>
          <c:min val="0"/>
        </c:scaling>
        <c:delete val="1"/>
        <c:axPos val="t"/>
        <c:numFmt formatCode="General" sourceLinked="1"/>
        <c:majorTickMark val="out"/>
        <c:minorTickMark val="none"/>
        <c:tickLblPos val="nextTo"/>
        <c:crossAx val="4276748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621621621621623E-2"/>
          <c:y val="2.404068423485899E-2"/>
          <c:w val="0.8723492723492724"/>
          <c:h val="0.951918631530282"/>
        </c:manualLayout>
      </c:layout>
      <c:barChart>
        <c:barDir val="bar"/>
        <c:grouping val="stacked"/>
        <c:varyColors val="0"/>
        <c:ser>
          <c:idx val="0"/>
          <c:order val="0"/>
          <c:spPr>
            <a:solidFill>
              <a:schemeClr val="accent1"/>
            </a:solidFill>
            <a:ln>
              <a:noFill/>
            </a:ln>
          </c:spPr>
          <c:invertIfNegative val="0"/>
          <c:dLbls>
            <c:dLbl>
              <c:idx val="0"/>
              <c:layout>
                <c:manualLayout>
                  <c:x val="0.48981288981288984"/>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B6-4BCF-A8C3-EF7508E9833F}"/>
                </c:ext>
              </c:extLst>
            </c:dLbl>
            <c:dLbl>
              <c:idx val="1"/>
              <c:layout>
                <c:manualLayout>
                  <c:x val="0.48981288981288984"/>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3B6-4BCF-A8C3-EF7508E9833F}"/>
                </c:ext>
              </c:extLst>
            </c:dLbl>
            <c:dLbl>
              <c:idx val="2"/>
              <c:layout>
                <c:manualLayout>
                  <c:x val="0.48981288981288984"/>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3B6-4BCF-A8C3-EF7508E9833F}"/>
                </c:ext>
              </c:extLst>
            </c:dLbl>
            <c:dLbl>
              <c:idx val="3"/>
              <c:layout>
                <c:manualLayout>
                  <c:x val="0.48981288981288984"/>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3B6-4BCF-A8C3-EF7508E9833F}"/>
                </c:ext>
              </c:extLst>
            </c:dLbl>
            <c:dLbl>
              <c:idx val="4"/>
              <c:layout>
                <c:manualLayout>
                  <c:x val="0.48981288981288984"/>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3B6-4BCF-A8C3-EF7508E9833F}"/>
                </c:ext>
              </c:extLst>
            </c:dLbl>
            <c:dLbl>
              <c:idx val="5"/>
              <c:layout>
                <c:manualLayout>
                  <c:x val="0.48482328482328485"/>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3B6-4BCF-A8C3-EF7508E9833F}"/>
                </c:ext>
              </c:extLst>
            </c:dLbl>
            <c:dLbl>
              <c:idx val="6"/>
              <c:layout>
                <c:manualLayout>
                  <c:x val="0.48482328482328485"/>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3B6-4BCF-A8C3-EF7508E9833F}"/>
                </c:ext>
              </c:extLst>
            </c:dLbl>
            <c:dLbl>
              <c:idx val="7"/>
              <c:layout>
                <c:manualLayout>
                  <c:x val="0.48482328482328485"/>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3B6-4BCF-A8C3-EF7508E9833F}"/>
                </c:ext>
              </c:extLst>
            </c:dLbl>
            <c:dLbl>
              <c:idx val="8"/>
              <c:layout>
                <c:manualLayout>
                  <c:x val="0.47983367983367986"/>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3B6-4BCF-A8C3-EF7508E9833F}"/>
                </c:ext>
              </c:extLst>
            </c:dLbl>
            <c:dLbl>
              <c:idx val="9"/>
              <c:layout>
                <c:manualLayout>
                  <c:x val="0.47983367983367986"/>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3B6-4BCF-A8C3-EF7508E9833F}"/>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Hoja1! $A$1:$J$1</c:f>
              <c:numCache>
                <c:formatCode>General</c:formatCode>
                <c:ptCount val="10"/>
                <c:pt idx="0">
                  <c:v>87</c:v>
                </c:pt>
                <c:pt idx="1">
                  <c:v>87</c:v>
                </c:pt>
                <c:pt idx="2">
                  <c:v>87</c:v>
                </c:pt>
                <c:pt idx="3">
                  <c:v>87</c:v>
                </c:pt>
                <c:pt idx="4">
                  <c:v>87</c:v>
                </c:pt>
                <c:pt idx="5">
                  <c:v>86</c:v>
                </c:pt>
                <c:pt idx="6">
                  <c:v>86</c:v>
                </c:pt>
                <c:pt idx="7">
                  <c:v>86</c:v>
                </c:pt>
                <c:pt idx="8">
                  <c:v>85</c:v>
                </c:pt>
                <c:pt idx="9">
                  <c:v>85</c:v>
                </c:pt>
              </c:numCache>
            </c:numRef>
          </c:val>
          <c:extLst xmlns:c16r2="http://schemas.microsoft.com/office/drawing/2015/06/chart">
            <c:ext xmlns:c16="http://schemas.microsoft.com/office/drawing/2014/chart" uri="{C3380CC4-5D6E-409C-BE32-E72D297353CC}">
              <c16:uniqueId val="{0000000A-43B6-4BCF-A8C3-EF7508E9833F}"/>
            </c:ext>
          </c:extLst>
        </c:ser>
        <c:dLbls>
          <c:showLegendKey val="0"/>
          <c:showVal val="0"/>
          <c:showCatName val="0"/>
          <c:showSerName val="0"/>
          <c:showPercent val="0"/>
          <c:showBubbleSize val="0"/>
        </c:dLbls>
        <c:gapWidth val="80"/>
        <c:overlap val="100"/>
        <c:axId val="43092608"/>
        <c:axId val="43106688"/>
      </c:barChart>
      <c:catAx>
        <c:axId val="4309260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43106688"/>
        <c:crosses val="min"/>
        <c:auto val="0"/>
        <c:lblAlgn val="ctr"/>
        <c:lblOffset val="100"/>
        <c:noMultiLvlLbl val="0"/>
      </c:catAx>
      <c:valAx>
        <c:axId val="43106688"/>
        <c:scaling>
          <c:orientation val="minMax"/>
          <c:max val="87"/>
          <c:min val="0"/>
        </c:scaling>
        <c:delete val="1"/>
        <c:axPos val="t"/>
        <c:numFmt formatCode="General" sourceLinked="1"/>
        <c:majorTickMark val="out"/>
        <c:minorTickMark val="none"/>
        <c:tickLblPos val="nextTo"/>
        <c:crossAx val="43092608"/>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2919" cy="341064"/>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5624596" y="1"/>
            <a:ext cx="4302919" cy="341064"/>
          </a:xfrm>
          <a:prstGeom prst="rect">
            <a:avLst/>
          </a:prstGeom>
        </p:spPr>
        <p:txBody>
          <a:bodyPr vert="horz" lIns="91440" tIns="45720" rIns="91440" bIns="45720" rtlCol="0"/>
          <a:lstStyle>
            <a:lvl1pPr algn="r">
              <a:defRPr sz="1200"/>
            </a:lvl1pPr>
          </a:lstStyle>
          <a:p>
            <a:fld id="{F7A5D488-EE37-CC46-A31F-D42BB591ED34}" type="datetimeFigureOut">
              <a:rPr lang="x-none" smtClean="0"/>
              <a:t>21/04/2022</a:t>
            </a:fld>
            <a:endParaRPr lang="x-none"/>
          </a:p>
        </p:txBody>
      </p:sp>
      <p:sp>
        <p:nvSpPr>
          <p:cNvPr id="4" name="Slide Image Placeholder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992982" y="3271381"/>
            <a:ext cx="7943850" cy="2676585"/>
          </a:xfrm>
          <a:prstGeom prst="rect">
            <a:avLst/>
          </a:prstGeom>
        </p:spPr>
        <p:txBody>
          <a:bodyPr vert="horz" lIns="91440" tIns="45720" rIns="91440" bIns="45720" rtlCol="0"/>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 </a:t>
            </a:r>
            <a:endParaRPr lang="x-none"/>
          </a:p>
        </p:txBody>
      </p:sp>
      <p:sp>
        <p:nvSpPr>
          <p:cNvPr id="6" name="Footer Placeholder 5"/>
          <p:cNvSpPr>
            <a:spLocks noGrp="1"/>
          </p:cNvSpPr>
          <p:nvPr>
            <p:ph type="ftr" sz="quarter" idx="4"/>
          </p:nvPr>
        </p:nvSpPr>
        <p:spPr>
          <a:xfrm>
            <a:off x="0" y="6456612"/>
            <a:ext cx="4302919" cy="341063"/>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5624596" y="6456612"/>
            <a:ext cx="4302919" cy="341063"/>
          </a:xfrm>
          <a:prstGeom prst="rect">
            <a:avLst/>
          </a:prstGeom>
        </p:spPr>
        <p:txBody>
          <a:bodyPr vert="horz" lIns="91440" tIns="45720" rIns="91440" bIns="45720" rtlCol="0" anchor="b"/>
          <a:lstStyle>
            <a:lvl1pPr algn="r">
              <a:defRPr sz="1200"/>
            </a:lvl1pPr>
          </a:lstStyle>
          <a:p>
            <a:fld id="{F1E38DE7-A09D-934A-B951-FC1196F25BFE}" type="slidenum">
              <a:rPr lang="x-none" smtClean="0"/>
              <a:t>‹#›</a:t>
            </a:fld>
            <a:endParaRPr lang="x-none"/>
          </a:p>
        </p:txBody>
      </p:sp>
    </p:spTree>
    <p:extLst>
      <p:ext uri="{BB962C8B-B14F-4D97-AF65-F5344CB8AC3E}">
        <p14:creationId xmlns:p14="http://schemas.microsoft.com/office/powerpoint/2010/main" val="1604681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656413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5730384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23705463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3022235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2870869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6627567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34983560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13335793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2686903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38247738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2104496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41448015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9827911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20506542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39554119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128190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27657847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35575344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19733381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29825933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21714187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2204227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29402234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31580157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25285947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22013911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26599573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40643570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4962931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5073765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9</a:t>
            </a:fld>
            <a:endParaRPr lang="en-GB" dirty="0"/>
          </a:p>
        </p:txBody>
      </p:sp>
    </p:spTree>
    <p:extLst>
      <p:ext uri="{BB962C8B-B14F-4D97-AF65-F5344CB8AC3E}">
        <p14:creationId xmlns:p14="http://schemas.microsoft.com/office/powerpoint/2010/main" val="6184143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0</a:t>
            </a:fld>
            <a:endParaRPr lang="en-GB" dirty="0"/>
          </a:p>
        </p:txBody>
      </p:sp>
    </p:spTree>
    <p:extLst>
      <p:ext uri="{BB962C8B-B14F-4D97-AF65-F5344CB8AC3E}">
        <p14:creationId xmlns:p14="http://schemas.microsoft.com/office/powerpoint/2010/main" val="38213949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36423023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1</a:t>
            </a:fld>
            <a:endParaRPr lang="en-GB" dirty="0"/>
          </a:p>
        </p:txBody>
      </p:sp>
    </p:spTree>
    <p:extLst>
      <p:ext uri="{BB962C8B-B14F-4D97-AF65-F5344CB8AC3E}">
        <p14:creationId xmlns:p14="http://schemas.microsoft.com/office/powerpoint/2010/main" val="221057894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2</a:t>
            </a:fld>
            <a:endParaRPr lang="en-GB" dirty="0"/>
          </a:p>
        </p:txBody>
      </p:sp>
    </p:spTree>
    <p:extLst>
      <p:ext uri="{BB962C8B-B14F-4D97-AF65-F5344CB8AC3E}">
        <p14:creationId xmlns:p14="http://schemas.microsoft.com/office/powerpoint/2010/main" val="7880528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3</a:t>
            </a:fld>
            <a:endParaRPr lang="en-GB" dirty="0"/>
          </a:p>
        </p:txBody>
      </p:sp>
    </p:spTree>
    <p:extLst>
      <p:ext uri="{BB962C8B-B14F-4D97-AF65-F5344CB8AC3E}">
        <p14:creationId xmlns:p14="http://schemas.microsoft.com/office/powerpoint/2010/main" val="394963875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4</a:t>
            </a:fld>
            <a:endParaRPr lang="en-GB" dirty="0"/>
          </a:p>
        </p:txBody>
      </p:sp>
    </p:spTree>
    <p:extLst>
      <p:ext uri="{BB962C8B-B14F-4D97-AF65-F5344CB8AC3E}">
        <p14:creationId xmlns:p14="http://schemas.microsoft.com/office/powerpoint/2010/main" val="9221468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5</a:t>
            </a:fld>
            <a:endParaRPr lang="en-GB" dirty="0"/>
          </a:p>
        </p:txBody>
      </p:sp>
    </p:spTree>
    <p:extLst>
      <p:ext uri="{BB962C8B-B14F-4D97-AF65-F5344CB8AC3E}">
        <p14:creationId xmlns:p14="http://schemas.microsoft.com/office/powerpoint/2010/main" val="1343039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6</a:t>
            </a:fld>
            <a:endParaRPr lang="en-GB" dirty="0"/>
          </a:p>
        </p:txBody>
      </p:sp>
    </p:spTree>
    <p:extLst>
      <p:ext uri="{BB962C8B-B14F-4D97-AF65-F5344CB8AC3E}">
        <p14:creationId xmlns:p14="http://schemas.microsoft.com/office/powerpoint/2010/main" val="19115429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7</a:t>
            </a:fld>
            <a:endParaRPr lang="en-GB" dirty="0"/>
          </a:p>
        </p:txBody>
      </p:sp>
    </p:spTree>
    <p:extLst>
      <p:ext uri="{BB962C8B-B14F-4D97-AF65-F5344CB8AC3E}">
        <p14:creationId xmlns:p14="http://schemas.microsoft.com/office/powerpoint/2010/main" val="45077018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8</a:t>
            </a:fld>
            <a:endParaRPr lang="en-GB" dirty="0"/>
          </a:p>
        </p:txBody>
      </p:sp>
    </p:spTree>
    <p:extLst>
      <p:ext uri="{BB962C8B-B14F-4D97-AF65-F5344CB8AC3E}">
        <p14:creationId xmlns:p14="http://schemas.microsoft.com/office/powerpoint/2010/main" val="375682830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9</a:t>
            </a:fld>
            <a:endParaRPr lang="en-GB" dirty="0"/>
          </a:p>
        </p:txBody>
      </p:sp>
    </p:spTree>
    <p:extLst>
      <p:ext uri="{BB962C8B-B14F-4D97-AF65-F5344CB8AC3E}">
        <p14:creationId xmlns:p14="http://schemas.microsoft.com/office/powerpoint/2010/main" val="213098671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0</a:t>
            </a:fld>
            <a:endParaRPr lang="en-GB" dirty="0"/>
          </a:p>
        </p:txBody>
      </p:sp>
    </p:spTree>
    <p:extLst>
      <p:ext uri="{BB962C8B-B14F-4D97-AF65-F5344CB8AC3E}">
        <p14:creationId xmlns:p14="http://schemas.microsoft.com/office/powerpoint/2010/main" val="41885493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226403945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1</a:t>
            </a:fld>
            <a:endParaRPr lang="en-GB" dirty="0"/>
          </a:p>
        </p:txBody>
      </p:sp>
    </p:spTree>
    <p:extLst>
      <p:ext uri="{BB962C8B-B14F-4D97-AF65-F5344CB8AC3E}">
        <p14:creationId xmlns:p14="http://schemas.microsoft.com/office/powerpoint/2010/main" val="14205089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2</a:t>
            </a:fld>
            <a:endParaRPr lang="en-GB" dirty="0"/>
          </a:p>
        </p:txBody>
      </p:sp>
    </p:spTree>
    <p:extLst>
      <p:ext uri="{BB962C8B-B14F-4D97-AF65-F5344CB8AC3E}">
        <p14:creationId xmlns:p14="http://schemas.microsoft.com/office/powerpoint/2010/main" val="9481073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1898953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4904180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1927071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746425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DFC340-CFC0-6A4C-8739-7D4FA9DA005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D613CCAE-13AB-6842-B47D-76BE65EB51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2945ADC5-98F3-A642-A230-0718603F2124}"/>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72675CD4-30E5-CF49-8842-60F4A2315B83}"/>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86FCA30-F267-7349-9909-8F3428830F5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1198126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ACF8004-C643-3A40-A8B1-C6D441F12D94}"/>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E01DB86-4DCD-3743-A4B8-28D6A99965B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7AB98A4-B84D-9549-8075-546BC844B5E5}"/>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8CBAEBA6-D608-2F44-A1B9-691DDF8949B6}"/>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03E2669C-E0CE-464D-875E-B81DA2EC9DC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50290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362D6791-6A1F-F44C-98EE-F93493AD35A2}"/>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0667828-FC2D-B748-A402-E746C654347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A59B886-00D1-6646-99D8-673550CF469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0D97CF24-47D4-6442-87A5-30A49C0EFB0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A038CB8-F6E8-924B-BDE1-6DFEB84876C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933186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18565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39016982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3767657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to left - photo on right - NAVY">
    <p:spTree>
      <p:nvGrpSpPr>
        <p:cNvPr id="1" name=""/>
        <p:cNvGrpSpPr/>
        <p:nvPr/>
      </p:nvGrpSpPr>
      <p:grpSpPr>
        <a:xfrm>
          <a:off x="0" y="0"/>
          <a:ext cx="0" cy="0"/>
          <a:chOff x="0" y="0"/>
          <a:chExt cx="0" cy="0"/>
        </a:xfrm>
      </p:grpSpPr>
      <p:sp>
        <p:nvSpPr>
          <p:cNvPr id="13" name="Rectangle 12"/>
          <p:cNvSpPr/>
          <p:nvPr userDrawn="1"/>
        </p:nvSpPr>
        <p:spPr>
          <a:xfrm>
            <a:off x="0" y="-1"/>
            <a:ext cx="12192000" cy="6858001"/>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tangle 13"/>
          <p:cNvSpPr/>
          <p:nvPr userDrawn="1"/>
        </p:nvSpPr>
        <p:spPr>
          <a:xfrm>
            <a:off x="424669" y="412421"/>
            <a:ext cx="5666415" cy="2123658"/>
          </a:xfrm>
          <a:prstGeom prst="rect">
            <a:avLst/>
          </a:prstGeom>
        </p:spPr>
        <p:txBody>
          <a:bodyPr wrap="square">
            <a:spAutoFit/>
          </a:bodyPr>
          <a:lstStyle/>
          <a:p>
            <a:pPr fontAlgn="base"/>
            <a:r>
              <a:rPr lang="en-GB" sz="4400" b="0" i="0" u="none" strike="noStrike" kern="1200" dirty="0">
                <a:solidFill>
                  <a:schemeClr val="bg1"/>
                </a:solidFill>
                <a:effectLst/>
                <a:latin typeface="+mn-lt"/>
                <a:ea typeface="+mn-ea"/>
                <a:cs typeface="+mn-cs"/>
              </a:rPr>
              <a:t>WELCOME TO THE </a:t>
            </a:r>
            <a:r>
              <a:rPr lang="en-GB" sz="4400" b="1" i="0" u="none" strike="noStrike" kern="1200" dirty="0">
                <a:solidFill>
                  <a:schemeClr val="bg1"/>
                </a:solidFill>
                <a:effectLst/>
                <a:latin typeface="+mn-lt"/>
                <a:ea typeface="+mn-ea"/>
                <a:cs typeface="+mn-cs"/>
              </a:rPr>
              <a:t>SMART UP </a:t>
            </a:r>
            <a:r>
              <a:rPr lang="en-GB" sz="4400" b="0" i="0" u="none" strike="noStrike" kern="1200" dirty="0">
                <a:solidFill>
                  <a:schemeClr val="bg1"/>
                </a:solidFill>
                <a:effectLst/>
                <a:latin typeface="+mn-lt"/>
                <a:ea typeface="+mn-ea"/>
                <a:cs typeface="+mn-cs"/>
              </a:rPr>
              <a:t>POWERPOINT</a:t>
            </a:r>
            <a:endParaRPr lang="en-GB" sz="3600" baseline="0" dirty="0">
              <a:solidFill>
                <a:schemeClr val="bg1"/>
              </a:solidFill>
              <a:latin typeface="+mn-lt"/>
              <a:ea typeface="Quattrocento Sans"/>
              <a:cs typeface="Quattrocento Sans"/>
              <a:sym typeface="Quattrocento Sans"/>
            </a:endParaRPr>
          </a:p>
        </p:txBody>
      </p:sp>
      <p:sp>
        <p:nvSpPr>
          <p:cNvPr id="15" name="Rectangle 14"/>
          <p:cNvSpPr/>
          <p:nvPr userDrawn="1"/>
        </p:nvSpPr>
        <p:spPr>
          <a:xfrm>
            <a:off x="6680844" y="402213"/>
            <a:ext cx="5260610" cy="4708981"/>
          </a:xfrm>
          <a:prstGeom prst="rect">
            <a:avLst/>
          </a:prstGeom>
        </p:spPr>
        <p:txBody>
          <a:bodyPr wrap="square">
            <a:spAutoFit/>
          </a:bodyPr>
          <a:lstStyle/>
          <a:p>
            <a:pPr fontAlgn="base"/>
            <a:r>
              <a:rPr lang="en-GB" sz="3000" b="0" i="0" u="none" strike="noStrike" kern="1200" dirty="0">
                <a:solidFill>
                  <a:schemeClr val="bg1"/>
                </a:solidFill>
                <a:effectLst/>
                <a:latin typeface="+mn-lt"/>
                <a:ea typeface="+mn-ea"/>
                <a:cs typeface="+mn-cs"/>
              </a:rPr>
              <a:t>FEATURES OF THE</a:t>
            </a:r>
          </a:p>
          <a:p>
            <a:pPr fontAlgn="base"/>
            <a:r>
              <a:rPr lang="en-GB" sz="3000" b="1" i="0" u="none" strike="noStrike" kern="1200" dirty="0">
                <a:solidFill>
                  <a:schemeClr val="bg1"/>
                </a:solidFill>
                <a:effectLst/>
                <a:latin typeface="+mn-lt"/>
                <a:ea typeface="+mn-ea"/>
                <a:cs typeface="+mn-cs"/>
              </a:rPr>
              <a:t>SMART UP</a:t>
            </a:r>
          </a:p>
          <a:p>
            <a:pPr fontAlgn="base"/>
            <a:r>
              <a:rPr lang="en-GB" sz="3000" b="0" i="0" u="none" strike="noStrike" kern="1200" dirty="0">
                <a:solidFill>
                  <a:schemeClr val="bg1"/>
                </a:solidFill>
                <a:effectLst/>
                <a:latin typeface="+mn-lt"/>
                <a:ea typeface="+mn-ea"/>
                <a:cs typeface="+mn-cs"/>
              </a:rPr>
              <a:t>POWERPOINT:</a:t>
            </a:r>
          </a:p>
          <a:p>
            <a:pPr fontAlgn="base"/>
            <a:endParaRPr lang="en-GB" sz="3000" b="0" i="0" u="none" strike="noStrike" kern="1200" dirty="0">
              <a:solidFill>
                <a:schemeClr val="bg1"/>
              </a:solidFill>
              <a:effectLst/>
              <a:latin typeface="+mn-lt"/>
              <a:ea typeface="+mn-ea"/>
              <a:cs typeface="+mn-cs"/>
            </a:endParaRPr>
          </a:p>
          <a:p>
            <a:pPr marL="342900" indent="-342900" fontAlgn="base">
              <a:buFont typeface="Arial" charset="0"/>
              <a:buChar char="•"/>
            </a:pPr>
            <a:r>
              <a:rPr lang="en-GB" sz="2400" b="0" i="0" u="none" strike="noStrike" kern="1200" dirty="0">
                <a:solidFill>
                  <a:schemeClr val="bg1"/>
                </a:solidFill>
                <a:effectLst/>
                <a:latin typeface="+mn-lt"/>
                <a:ea typeface="+mn-ea"/>
                <a:cs typeface="+mn-cs"/>
              </a:rPr>
              <a:t>Set up in widescreen format. </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using the </a:t>
            </a:r>
            <a:r>
              <a:rPr lang="en-GB" sz="2400" b="1" i="0" u="none" strike="noStrike" kern="1200" dirty="0">
                <a:solidFill>
                  <a:schemeClr val="bg1"/>
                </a:solidFill>
                <a:effectLst/>
                <a:latin typeface="+mn-lt"/>
                <a:ea typeface="+mn-ea"/>
                <a:cs typeface="+mn-cs"/>
              </a:rPr>
              <a:t>SMART UP </a:t>
            </a:r>
            <a:r>
              <a:rPr lang="en-GB" sz="2400" b="0" i="0" u="none" strike="noStrike" kern="1200" dirty="0">
                <a:solidFill>
                  <a:schemeClr val="bg1"/>
                </a:solidFill>
                <a:effectLst/>
                <a:latin typeface="+mn-lt"/>
                <a:ea typeface="+mn-ea"/>
                <a:cs typeface="+mn-cs"/>
              </a:rPr>
              <a:t>Brand Colours</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Based on Master Slides design</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Easy Drag and Drop to change picture</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80 easy editable icons</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Easy and Fully editable in PowerPoint</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600" b="0" i="0" u="none" strike="noStrike" kern="1200" dirty="0">
                <a:solidFill>
                  <a:schemeClr val="bg1"/>
                </a:solidFill>
                <a:effectLst/>
                <a:latin typeface="+mn-lt"/>
                <a:ea typeface="+mn-ea"/>
                <a:cs typeface="+mn-cs"/>
              </a:rPr>
              <a:t>		</a:t>
            </a:r>
            <a:endParaRPr lang="en-GB" sz="3600" baseline="0" dirty="0">
              <a:solidFill>
                <a:schemeClr val="bg1"/>
              </a:solidFill>
              <a:latin typeface="+mn-lt"/>
              <a:ea typeface="Quattrocento Sans"/>
              <a:cs typeface="Quattrocento Sans"/>
              <a:sym typeface="Quattrocento Sans"/>
            </a:endParaRPr>
          </a:p>
        </p:txBody>
      </p:sp>
      <p:sp>
        <p:nvSpPr>
          <p:cNvPr id="16" name="Rectangle 15"/>
          <p:cNvSpPr/>
          <p:nvPr userDrawn="1"/>
        </p:nvSpPr>
        <p:spPr>
          <a:xfrm>
            <a:off x="424669" y="3027059"/>
            <a:ext cx="6005629" cy="2308324"/>
          </a:xfrm>
          <a:prstGeom prst="rect">
            <a:avLst/>
          </a:prstGeom>
        </p:spPr>
        <p:txBody>
          <a:bodyPr wrap="square">
            <a:spAutoFit/>
          </a:bodyPr>
          <a:lstStyle/>
          <a:p>
            <a:pPr fontAlgn="base"/>
            <a:r>
              <a:rPr lang="en-GB" sz="2400" b="0" i="0" u="none" strike="noStrike" kern="1200" dirty="0">
                <a:solidFill>
                  <a:schemeClr val="bg1"/>
                </a:solidFill>
                <a:effectLst/>
                <a:latin typeface="+mn-lt"/>
                <a:ea typeface="+mn-ea"/>
                <a:cs typeface="+mn-cs"/>
              </a:rPr>
              <a:t>Our aim is to have a consistent “look and feel” throughout our branding material including our PowerPoint.</a:t>
            </a:r>
            <a:r>
              <a:rPr lang="en-GB" sz="2400" b="0" i="0" u="none" strike="noStrike" kern="1200" baseline="0" dirty="0">
                <a:solidFill>
                  <a:schemeClr val="bg1"/>
                </a:solidFill>
                <a:effectLst/>
                <a:latin typeface="+mn-lt"/>
                <a:ea typeface="+mn-ea"/>
                <a:cs typeface="+mn-cs"/>
              </a:rPr>
              <a:t> </a:t>
            </a:r>
            <a:r>
              <a:rPr lang="en-GB" sz="2400" b="0" i="0" u="none" strike="noStrike" kern="1200" dirty="0">
                <a:solidFill>
                  <a:schemeClr val="bg1"/>
                </a:solidFill>
                <a:effectLst/>
                <a:latin typeface="+mn-lt"/>
                <a:ea typeface="+mn-ea"/>
                <a:cs typeface="+mn-cs"/>
              </a:rPr>
              <a:t>The slide layouts within this PowerPoint  will give you a great deal of creative </a:t>
            </a:r>
            <a:r>
              <a:rPr lang="en-GB" sz="2400" b="0" i="0" u="none" strike="noStrike" kern="1200" dirty="0" err="1">
                <a:solidFill>
                  <a:schemeClr val="bg1"/>
                </a:solidFill>
                <a:effectLst/>
                <a:latin typeface="+mn-lt"/>
                <a:ea typeface="+mn-ea"/>
                <a:cs typeface="+mn-cs"/>
              </a:rPr>
              <a:t>flexibily</a:t>
            </a:r>
            <a:r>
              <a:rPr lang="en-GB" sz="2400" b="0" i="0" u="none" strike="noStrike" kern="1200" dirty="0">
                <a:solidFill>
                  <a:schemeClr val="bg1"/>
                </a:solidFill>
                <a:effectLst/>
                <a:latin typeface="+mn-lt"/>
                <a:ea typeface="+mn-ea"/>
                <a:cs typeface="+mn-cs"/>
              </a:rPr>
              <a:t> when creating your Presentation.</a:t>
            </a:r>
            <a:endParaRPr lang="en-GB" sz="3600" baseline="0" dirty="0">
              <a:solidFill>
                <a:schemeClr val="bg1"/>
              </a:solidFill>
              <a:latin typeface="+mn-lt"/>
              <a:ea typeface="Quattrocento Sans"/>
              <a:cs typeface="Quattrocento Sans"/>
              <a:sym typeface="Quattrocento Sans"/>
            </a:endParaRPr>
          </a:p>
        </p:txBody>
      </p:sp>
      <p:cxnSp>
        <p:nvCxnSpPr>
          <p:cNvPr id="17" name="Straight Connector 16"/>
          <p:cNvCxnSpPr/>
          <p:nvPr userDrawn="1"/>
        </p:nvCxnSpPr>
        <p:spPr>
          <a:xfrm>
            <a:off x="6592529"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0" y="2880991"/>
            <a:ext cx="65925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9" name="Straight Connector 8"/>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nt Slide">
    <p:spTree>
      <p:nvGrpSpPr>
        <p:cNvPr id="1" name=""/>
        <p:cNvGrpSpPr/>
        <p:nvPr/>
      </p:nvGrpSpPr>
      <p:grpSpPr>
        <a:xfrm>
          <a:off x="0" y="0"/>
          <a:ext cx="0" cy="0"/>
          <a:chOff x="0" y="0"/>
          <a:chExt cx="0" cy="0"/>
        </a:xfrm>
      </p:grpSpPr>
      <p:sp>
        <p:nvSpPr>
          <p:cNvPr id="22" name="Rectangle 21"/>
          <p:cNvSpPr/>
          <p:nvPr userDrawn="1"/>
        </p:nvSpPr>
        <p:spPr>
          <a:xfrm>
            <a:off x="0" y="-1"/>
            <a:ext cx="12192000" cy="6858001"/>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Rectangle 1"/>
          <p:cNvSpPr/>
          <p:nvPr userDrawn="1"/>
        </p:nvSpPr>
        <p:spPr>
          <a:xfrm>
            <a:off x="424669" y="528535"/>
            <a:ext cx="5666415" cy="1446550"/>
          </a:xfrm>
          <a:prstGeom prst="rect">
            <a:avLst/>
          </a:prstGeom>
        </p:spPr>
        <p:txBody>
          <a:bodyPr wrap="square">
            <a:spAutoFit/>
          </a:bodyPr>
          <a:lstStyle/>
          <a:p>
            <a:pPr fontAlgn="base"/>
            <a:r>
              <a:rPr lang="en-GB" sz="4400" b="1" i="0" u="none" strike="noStrike" kern="1200" baseline="0" dirty="0">
                <a:solidFill>
                  <a:schemeClr val="bg1"/>
                </a:solidFill>
                <a:effectLst/>
                <a:latin typeface="+mn-lt"/>
                <a:ea typeface="+mn-ea"/>
                <a:cs typeface="+mn-cs"/>
                <a:sym typeface="Quattrocento Sans"/>
              </a:rPr>
              <a:t>SMART UP</a:t>
            </a:r>
          </a:p>
          <a:p>
            <a:pPr fontAlgn="base"/>
            <a:r>
              <a:rPr lang="en-GB" sz="4400" b="0" i="0" u="none" strike="noStrike" kern="1200" baseline="0" dirty="0">
                <a:solidFill>
                  <a:schemeClr val="bg1"/>
                </a:solidFill>
                <a:effectLst/>
                <a:latin typeface="+mn-lt"/>
                <a:ea typeface="+mn-ea"/>
                <a:cs typeface="+mn-cs"/>
                <a:sym typeface="Quattrocento Sans"/>
              </a:rPr>
              <a:t>FONT TYPEFACE &amp; SIZE</a:t>
            </a:r>
            <a:endParaRPr lang="en-GB" sz="3600" baseline="0" dirty="0">
              <a:solidFill>
                <a:schemeClr val="bg1"/>
              </a:solidFill>
              <a:latin typeface="+mn-lt"/>
              <a:ea typeface="Quattrocento Sans"/>
              <a:cs typeface="Quattrocento Sans"/>
              <a:sym typeface="Quattrocento Sans"/>
            </a:endParaRPr>
          </a:p>
        </p:txBody>
      </p:sp>
      <p:sp>
        <p:nvSpPr>
          <p:cNvPr id="11" name="Rectangle 10"/>
          <p:cNvSpPr/>
          <p:nvPr userDrawn="1"/>
        </p:nvSpPr>
        <p:spPr>
          <a:xfrm>
            <a:off x="7093974" y="817711"/>
            <a:ext cx="4589207" cy="4708981"/>
          </a:xfrm>
          <a:prstGeom prst="rect">
            <a:avLst/>
          </a:prstGeom>
        </p:spPr>
        <p:txBody>
          <a:bodyPr wrap="square">
            <a:spAutoFit/>
          </a:bodyPr>
          <a:lstStyle/>
          <a:p>
            <a:pPr fontAlgn="base"/>
            <a:r>
              <a:rPr lang="en-GB" sz="3000" b="0" i="0" u="none" strike="noStrike" kern="1200" dirty="0">
                <a:solidFill>
                  <a:schemeClr val="bg1"/>
                </a:solidFill>
                <a:effectLst/>
                <a:latin typeface="+mn-lt"/>
                <a:ea typeface="+mn-ea"/>
                <a:cs typeface="+mn-cs"/>
              </a:rPr>
              <a:t>PLEASE</a:t>
            </a:r>
            <a:r>
              <a:rPr lang="en-GB" sz="3000" b="0" i="0" u="none" strike="noStrike" kern="1200" baseline="0" dirty="0">
                <a:solidFill>
                  <a:schemeClr val="bg1"/>
                </a:solidFill>
                <a:effectLst/>
                <a:latin typeface="+mn-lt"/>
                <a:ea typeface="+mn-ea"/>
                <a:cs typeface="+mn-cs"/>
              </a:rPr>
              <a:t> ENSURE TO KEEP FONTS AS PER THE LAYOUT</a:t>
            </a:r>
            <a:endParaRPr lang="en-GB" sz="3000" b="0" i="0" u="none" strike="noStrike" kern="1200" dirty="0">
              <a:solidFill>
                <a:schemeClr val="bg1"/>
              </a:solidFill>
              <a:effectLst/>
              <a:latin typeface="+mn-lt"/>
              <a:ea typeface="+mn-ea"/>
              <a:cs typeface="+mn-cs"/>
            </a:endParaRPr>
          </a:p>
          <a:p>
            <a:pPr fontAlgn="base"/>
            <a:endParaRPr lang="en-GB"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GB" sz="3000" b="0" i="0" u="none" strike="noStrike" kern="1200" dirty="0">
                <a:solidFill>
                  <a:schemeClr val="bg1"/>
                </a:solidFill>
                <a:effectLst/>
                <a:latin typeface="+mn-lt"/>
                <a:ea typeface="+mn-ea"/>
                <a:cs typeface="+mn-cs"/>
              </a:rPr>
              <a:t>48 point </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Divider</a:t>
            </a:r>
            <a:r>
              <a:rPr lang="en-GB"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GB"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36 point</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GB"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30 point</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	</a:t>
            </a:r>
            <a:r>
              <a:rPr lang="en-GB" sz="3000" b="0" i="0" u="none" strike="noStrike" kern="1200" baseline="0" dirty="0">
                <a:solidFill>
                  <a:schemeClr val="bg1"/>
                </a:solidFill>
                <a:effectLst/>
                <a:latin typeface="+mn-lt"/>
                <a:ea typeface="+mn-ea"/>
                <a:cs typeface="+mn-cs"/>
              </a:rPr>
              <a:t>       </a:t>
            </a:r>
            <a:r>
              <a:rPr lang="en-GB"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GB"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24 point</a:t>
            </a:r>
            <a:r>
              <a:rPr lang="en-GB" sz="3000" b="0" i="0" u="none" strike="noStrike" kern="1200" baseline="0" dirty="0">
                <a:solidFill>
                  <a:schemeClr val="bg1"/>
                </a:solidFill>
                <a:effectLst/>
                <a:latin typeface="+mn-lt"/>
                <a:ea typeface="+mn-ea"/>
                <a:cs typeface="+mn-cs"/>
              </a:rPr>
              <a:t>  -  </a:t>
            </a:r>
            <a:r>
              <a:rPr lang="en-GB" sz="3000" b="0" i="0" u="none" strike="noStrike" kern="1200" baseline="0" dirty="0">
                <a:solidFill>
                  <a:schemeClr val="bg1"/>
                </a:solidFill>
                <a:effectLst/>
                <a:latin typeface="+mn-lt"/>
                <a:ea typeface="Quattrocento Sans"/>
                <a:cs typeface="Quattrocento Sans"/>
                <a:sym typeface="Quattrocento Sans"/>
              </a:rPr>
              <a:t>Main </a:t>
            </a:r>
            <a:r>
              <a:rPr lang="en-GB" sz="3000" b="0" i="0" u="none" strike="noStrike" kern="1200" dirty="0">
                <a:solidFill>
                  <a:schemeClr val="bg1"/>
                </a:solidFill>
                <a:effectLst/>
                <a:latin typeface="+mn-lt"/>
                <a:ea typeface="+mn-ea"/>
                <a:cs typeface="+mn-cs"/>
              </a:rPr>
              <a:t>Text Body </a:t>
            </a:r>
            <a:endParaRPr lang="en-GB" sz="3000" dirty="0"/>
          </a:p>
          <a:p>
            <a:pPr fontAlgn="base"/>
            <a:endParaRPr lang="en-GB" sz="3000" b="0" i="0" u="none" strike="noStrike" kern="1200" dirty="0">
              <a:solidFill>
                <a:schemeClr val="bg1"/>
              </a:solidFill>
              <a:effectLst/>
              <a:latin typeface="+mn-lt"/>
              <a:ea typeface="+mn-ea"/>
              <a:cs typeface="+mn-cs"/>
            </a:endParaRPr>
          </a:p>
        </p:txBody>
      </p:sp>
      <p:sp>
        <p:nvSpPr>
          <p:cNvPr id="12" name="Rectangle 11"/>
          <p:cNvSpPr/>
          <p:nvPr userDrawn="1"/>
        </p:nvSpPr>
        <p:spPr>
          <a:xfrm>
            <a:off x="424669" y="3128660"/>
            <a:ext cx="6005160" cy="2123658"/>
          </a:xfrm>
          <a:prstGeom prst="rect">
            <a:avLst/>
          </a:prstGeom>
        </p:spPr>
        <p:txBody>
          <a:bodyPr wrap="square">
            <a:spAutoFit/>
          </a:bodyPr>
          <a:lstStyle/>
          <a:p>
            <a:pPr fontAlgn="base"/>
            <a:r>
              <a:rPr lang="en-GB"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GB" sz="2400" b="1" i="0" u="none" strike="noStrike" kern="1200" baseline="0" dirty="0">
                <a:solidFill>
                  <a:schemeClr val="bg1"/>
                </a:solidFill>
                <a:effectLst/>
                <a:latin typeface="+mn-lt"/>
                <a:ea typeface="+mn-ea"/>
                <a:cs typeface="+mn-cs"/>
                <a:sym typeface="Quattrocento Sans"/>
              </a:rPr>
              <a:t>SMART UP </a:t>
            </a:r>
            <a:r>
              <a:rPr lang="en-GB" sz="2400" b="0" i="0" u="none" strike="noStrike" kern="1200" baseline="0" dirty="0">
                <a:solidFill>
                  <a:schemeClr val="bg1"/>
                </a:solidFill>
                <a:effectLst/>
                <a:latin typeface="+mn-lt"/>
                <a:ea typeface="+mn-ea"/>
                <a:cs typeface="+mn-cs"/>
                <a:sym typeface="Quattrocento Sans"/>
              </a:rPr>
              <a:t>PowerPoint is….</a:t>
            </a:r>
          </a:p>
          <a:p>
            <a:pPr fontAlgn="base"/>
            <a:endParaRPr lang="en-GB" sz="2400" b="0" i="0" u="none" strike="noStrike" kern="1200" baseline="0" dirty="0">
              <a:solidFill>
                <a:schemeClr val="bg1"/>
              </a:solidFill>
              <a:effectLst/>
              <a:latin typeface="+mn-lt"/>
              <a:ea typeface="+mn-ea"/>
              <a:cs typeface="+mn-cs"/>
              <a:sym typeface="Quattrocento Sans"/>
            </a:endParaRPr>
          </a:p>
          <a:p>
            <a:pPr fontAlgn="base"/>
            <a:r>
              <a:rPr lang="en-GB" sz="3600" b="1" i="1" baseline="0" dirty="0">
                <a:solidFill>
                  <a:schemeClr val="bg1"/>
                </a:solidFill>
                <a:latin typeface="+mn-lt"/>
                <a:ea typeface="Quattrocento Sans"/>
                <a:cs typeface="Quattrocento Sans"/>
                <a:sym typeface="Quattrocento Sans"/>
              </a:rPr>
              <a:t>Calibri</a:t>
            </a:r>
            <a:endParaRPr lang="en-GB" sz="3600" baseline="0" dirty="0">
              <a:solidFill>
                <a:schemeClr val="bg1"/>
              </a:solidFill>
              <a:latin typeface="+mn-lt"/>
              <a:ea typeface="Quattrocento Sans"/>
              <a:cs typeface="Quattrocento Sans"/>
              <a:sym typeface="Quattrocento Sans"/>
            </a:endParaRPr>
          </a:p>
        </p:txBody>
      </p:sp>
      <p:cxnSp>
        <p:nvCxnSpPr>
          <p:cNvPr id="13" name="Straight Connector 12"/>
          <p:cNvCxnSpPr/>
          <p:nvPr userDrawn="1"/>
        </p:nvCxnSpPr>
        <p:spPr>
          <a:xfrm>
            <a:off x="6592529"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0" y="2503620"/>
            <a:ext cx="65925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9" name="Straight Connector 8"/>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con slide">
    <p:spTree>
      <p:nvGrpSpPr>
        <p:cNvPr id="1" name=""/>
        <p:cNvGrpSpPr/>
        <p:nvPr/>
      </p:nvGrpSpPr>
      <p:grpSpPr>
        <a:xfrm>
          <a:off x="0" y="0"/>
          <a:ext cx="0" cy="0"/>
          <a:chOff x="0" y="0"/>
          <a:chExt cx="0" cy="0"/>
        </a:xfrm>
      </p:grpSpPr>
      <p:sp>
        <p:nvSpPr>
          <p:cNvPr id="22" name="Rectangle 21"/>
          <p:cNvSpPr/>
          <p:nvPr userDrawn="1"/>
        </p:nvSpPr>
        <p:spPr>
          <a:xfrm>
            <a:off x="0" y="-1"/>
            <a:ext cx="12192000" cy="685800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5" name="Straight Connector 4"/>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501175" y="505425"/>
            <a:ext cx="4644643" cy="4339650"/>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GB" sz="3600" dirty="0">
                <a:solidFill>
                  <a:schemeClr val="bg1"/>
                </a:solidFill>
                <a:latin typeface="+mn-lt"/>
                <a:ea typeface="Quattrocento Sans"/>
                <a:cs typeface="Quattrocento Sans"/>
                <a:sym typeface="Quattrocento Sans"/>
              </a:rPr>
              <a:t>ICONS</a:t>
            </a:r>
            <a:r>
              <a:rPr lang="en-GB" sz="3600" baseline="0" dirty="0">
                <a:solidFill>
                  <a:schemeClr val="bg1"/>
                </a:solidFill>
                <a:latin typeface="+mn-lt"/>
                <a:ea typeface="Quattrocento Sans"/>
                <a:cs typeface="Quattrocento Sans"/>
                <a:sym typeface="Quattrocento Sans"/>
              </a:rPr>
              <a:t> WHICH CAN BE USED WITHIN THE </a:t>
            </a:r>
            <a:r>
              <a:rPr lang="en-GB" sz="3600" b="1" baseline="0" dirty="0">
                <a:solidFill>
                  <a:schemeClr val="bg1"/>
                </a:solidFill>
                <a:latin typeface="+mn-lt"/>
                <a:ea typeface="Quattrocento Sans"/>
                <a:cs typeface="Quattrocento Sans"/>
                <a:sym typeface="Quattrocento Sans"/>
              </a:rPr>
              <a:t>SMART UP </a:t>
            </a:r>
            <a:r>
              <a:rPr lang="en-GB"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GB"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GB" sz="2400" i="1" dirty="0">
                <a:solidFill>
                  <a:schemeClr val="bg1"/>
                </a:solidFill>
                <a:latin typeface="+mn-lt"/>
                <a:ea typeface="Quattrocento Sans"/>
                <a:cs typeface="Quattrocento Sans"/>
                <a:sym typeface="Quattrocento Sans"/>
              </a:rPr>
              <a:t>Resize them without losing quality.</a:t>
            </a:r>
            <a:r>
              <a:rPr lang="en-GB" sz="2400" i="1" baseline="0" dirty="0">
                <a:solidFill>
                  <a:schemeClr val="bg1"/>
                </a:solidFill>
                <a:latin typeface="+mn-lt"/>
                <a:ea typeface="Quattrocento Sans"/>
                <a:cs typeface="Quattrocento Sans"/>
                <a:sym typeface="Quattrocento Sans"/>
              </a:rPr>
              <a:t> </a:t>
            </a:r>
            <a:r>
              <a:rPr lang="en-GB" sz="2400" i="1" dirty="0">
                <a:solidFill>
                  <a:schemeClr val="bg1"/>
                </a:solidFill>
                <a:latin typeface="+mn-lt"/>
                <a:ea typeface="Quattrocento Sans"/>
                <a:cs typeface="Quattrocento Sans"/>
                <a:sym typeface="Quattrocento Sans"/>
              </a:rPr>
              <a:t> Change line colour, width and style.</a:t>
            </a:r>
            <a:r>
              <a:rPr lang="en-GB" sz="2400" i="1" baseline="0" dirty="0">
                <a:solidFill>
                  <a:schemeClr val="bg1"/>
                </a:solidFill>
                <a:latin typeface="+mn-lt"/>
                <a:ea typeface="Quattrocento Sans"/>
                <a:cs typeface="Quattrocento Sans"/>
                <a:sym typeface="Quattrocento Sans"/>
              </a:rPr>
              <a:t> </a:t>
            </a:r>
          </a:p>
          <a:p>
            <a:pPr marL="0" lvl="0" indent="0" algn="l" rtl="0">
              <a:spcBef>
                <a:spcPts val="0"/>
              </a:spcBef>
              <a:spcAft>
                <a:spcPts val="0"/>
              </a:spcAft>
              <a:buFont typeface="Arial" charset="0"/>
              <a:buNone/>
            </a:pPr>
            <a:endParaRPr lang="en-GB" sz="2400" dirty="0">
              <a:solidFill>
                <a:schemeClr val="bg1"/>
              </a:solidFill>
              <a:latin typeface="+mn-lt"/>
              <a:ea typeface="Quattrocento Sans"/>
              <a:cs typeface="Quattrocento Sans"/>
              <a:sym typeface="Quattrocento Sans"/>
            </a:endParaRPr>
          </a:p>
          <a:p>
            <a:pPr marL="0" lvl="0" indent="0" algn="l" rtl="0">
              <a:spcBef>
                <a:spcPts val="0"/>
              </a:spcBef>
              <a:spcAft>
                <a:spcPts val="0"/>
              </a:spcAft>
              <a:buFont typeface="Arial" charset="0"/>
              <a:buNone/>
            </a:pPr>
            <a:r>
              <a:rPr lang="en-GB" sz="2400" dirty="0">
                <a:solidFill>
                  <a:schemeClr val="bg1"/>
                </a:solidFill>
                <a:latin typeface="+mn-lt"/>
                <a:ea typeface="Quattrocento Sans"/>
                <a:cs typeface="Quattrocento Sans"/>
                <a:sym typeface="Quattrocento Sans"/>
              </a:rPr>
              <a:t>Isn’t that nice? :)</a:t>
            </a:r>
          </a:p>
        </p:txBody>
      </p:sp>
      <p:cxnSp>
        <p:nvCxnSpPr>
          <p:cNvPr id="7" name="Straight Connector 6"/>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39" name="フッター プレースホルダー 1"/>
          <p:cNvSpPr txBox="1">
            <a:spLocks/>
          </p:cNvSpPr>
          <p:nvPr userDrawn="1"/>
        </p:nvSpPr>
        <p:spPr>
          <a:xfrm>
            <a:off x="13220963" y="10854933"/>
            <a:ext cx="5791200" cy="5476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ctr" defTabSz="914400" rtl="0" eaLnBrk="1" latinLnBrk="0" hangingPunct="1">
              <a:spcBef>
                <a:spcPct val="20000"/>
              </a:spcBef>
              <a:buChar char="•"/>
              <a:defRPr sz="3200" kern="1200">
                <a:solidFill>
                  <a:schemeClr val="tx1"/>
                </a:solidFill>
                <a:latin typeface="Lucida Grande" charset="0"/>
                <a:ea typeface="MS PGothic" charset="-128"/>
                <a:cs typeface="Geneva" charset="0"/>
              </a:defRPr>
            </a:lvl1pPr>
            <a:lvl2pPr marL="742950" indent="-285750" algn="l" defTabSz="914400" rtl="0" eaLnBrk="1" latinLnBrk="0" hangingPunct="1">
              <a:spcBef>
                <a:spcPct val="20000"/>
              </a:spcBef>
              <a:buChar char="–"/>
              <a:defRPr sz="2800" kern="1200">
                <a:solidFill>
                  <a:schemeClr val="tx1"/>
                </a:solidFill>
                <a:latin typeface="Lucida Grande" charset="0"/>
                <a:ea typeface="Geneva" charset="0"/>
                <a:cs typeface="Geneva" charset="0"/>
              </a:defRPr>
            </a:lvl2pPr>
            <a:lvl3pPr marL="1143000" indent="-228600" algn="l" defTabSz="914400" rtl="0" eaLnBrk="1" latinLnBrk="0" hangingPunct="1">
              <a:spcBef>
                <a:spcPct val="20000"/>
              </a:spcBef>
              <a:buChar char="•"/>
              <a:defRPr sz="2400" kern="1200">
                <a:solidFill>
                  <a:schemeClr val="tx1"/>
                </a:solidFill>
                <a:latin typeface="Lucida Grande" charset="0"/>
                <a:ea typeface="Geneva" charset="0"/>
                <a:cs typeface="Geneva" charset="0"/>
              </a:defRPr>
            </a:lvl3pPr>
            <a:lvl4pPr marL="16002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4pPr>
            <a:lvl5pPr marL="20574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9pPr>
          </a:lstStyle>
          <a:p>
            <a:pPr algn="l">
              <a:spcBef>
                <a:spcPct val="0"/>
              </a:spcBef>
              <a:buFontTx/>
              <a:buNone/>
            </a:pPr>
            <a:r>
              <a:rPr lang="en-GB" altLang="ja-JP" sz="1400" dirty="0">
                <a:ea typeface="ＭＳ Ｐゴシック" charset="-128"/>
                <a:cs typeface="ＭＳ Ｐゴシック" charset="-128"/>
              </a:rPr>
              <a:t>The Power of PowerPoint | thepopp.com</a:t>
            </a:r>
          </a:p>
        </p:txBody>
      </p:sp>
      <p:sp>
        <p:nvSpPr>
          <p:cNvPr id="49" name="フッター プレースホルダー 1"/>
          <p:cNvSpPr txBox="1">
            <a:spLocks/>
          </p:cNvSpPr>
          <p:nvPr userDrawn="1"/>
        </p:nvSpPr>
        <p:spPr>
          <a:xfrm>
            <a:off x="12681715" y="10880333"/>
            <a:ext cx="5791200" cy="5476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ctr" defTabSz="914400" rtl="0" eaLnBrk="1" latinLnBrk="0" hangingPunct="1">
              <a:spcBef>
                <a:spcPct val="20000"/>
              </a:spcBef>
              <a:buChar char="•"/>
              <a:defRPr sz="3200" kern="1200">
                <a:solidFill>
                  <a:schemeClr val="tx1"/>
                </a:solidFill>
                <a:latin typeface="Lucida Grande" charset="0"/>
                <a:ea typeface="MS PGothic" charset="-128"/>
                <a:cs typeface="Geneva" charset="0"/>
              </a:defRPr>
            </a:lvl1pPr>
            <a:lvl2pPr marL="742950" indent="-285750" algn="l" defTabSz="914400" rtl="0" eaLnBrk="1" latinLnBrk="0" hangingPunct="1">
              <a:spcBef>
                <a:spcPct val="20000"/>
              </a:spcBef>
              <a:buChar char="–"/>
              <a:defRPr sz="2800" kern="1200">
                <a:solidFill>
                  <a:schemeClr val="tx1"/>
                </a:solidFill>
                <a:latin typeface="Lucida Grande" charset="0"/>
                <a:ea typeface="Geneva" charset="0"/>
                <a:cs typeface="Geneva" charset="0"/>
              </a:defRPr>
            </a:lvl2pPr>
            <a:lvl3pPr marL="1143000" indent="-228600" algn="l" defTabSz="914400" rtl="0" eaLnBrk="1" latinLnBrk="0" hangingPunct="1">
              <a:spcBef>
                <a:spcPct val="20000"/>
              </a:spcBef>
              <a:buChar char="•"/>
              <a:defRPr sz="2400" kern="1200">
                <a:solidFill>
                  <a:schemeClr val="tx1"/>
                </a:solidFill>
                <a:latin typeface="Lucida Grande" charset="0"/>
                <a:ea typeface="Geneva" charset="0"/>
                <a:cs typeface="Geneva" charset="0"/>
              </a:defRPr>
            </a:lvl3pPr>
            <a:lvl4pPr marL="16002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4pPr>
            <a:lvl5pPr marL="20574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9pPr>
          </a:lstStyle>
          <a:p>
            <a:pPr algn="l">
              <a:spcBef>
                <a:spcPct val="0"/>
              </a:spcBef>
              <a:buFontTx/>
              <a:buNone/>
            </a:pPr>
            <a:r>
              <a:rPr lang="en-GB" altLang="ja-JP" sz="1400" dirty="0">
                <a:ea typeface="ＭＳ Ｐゴシック" charset="-128"/>
                <a:cs typeface="ＭＳ Ｐゴシック" charset="-128"/>
              </a:rPr>
              <a:t>The Power of PowerPoint | thepopp.com</a:t>
            </a:r>
          </a:p>
        </p:txBody>
      </p:sp>
      <p:sp>
        <p:nvSpPr>
          <p:cNvPr id="50" name="Oval 1"/>
          <p:cNvSpPr>
            <a:spLocks noChangeArrowheads="1"/>
          </p:cNvSpPr>
          <p:nvPr userDrawn="1"/>
        </p:nvSpPr>
        <p:spPr bwMode="auto">
          <a:xfrm>
            <a:off x="5370596" y="2052534"/>
            <a:ext cx="720000" cy="720000"/>
          </a:xfrm>
          <a:prstGeom prst="ellipse">
            <a:avLst/>
          </a:prstGeom>
          <a:solidFill>
            <a:srgbClr val="F05A2A"/>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1</a:t>
            </a:r>
          </a:p>
        </p:txBody>
      </p:sp>
      <p:sp>
        <p:nvSpPr>
          <p:cNvPr id="58" name="Rectangle 57"/>
          <p:cNvSpPr/>
          <p:nvPr userDrawn="1"/>
        </p:nvSpPr>
        <p:spPr>
          <a:xfrm>
            <a:off x="448232" y="5065249"/>
            <a:ext cx="4269258" cy="461665"/>
          </a:xfrm>
          <a:prstGeom prst="rect">
            <a:avLst/>
          </a:prstGeom>
        </p:spPr>
        <p:txBody>
          <a:bodyPr wrap="square">
            <a:spAutoFit/>
          </a:bodyPr>
          <a:lstStyle/>
          <a:p>
            <a:pPr algn="just" fontAlgn="base"/>
            <a:r>
              <a:rPr lang="en-GB" sz="800" b="0" i="0" dirty="0">
                <a:solidFill>
                  <a:srgbClr val="245473"/>
                </a:solidFill>
                <a:effectLst/>
                <a:latin typeface="+mn-lt"/>
              </a:rPr>
              <a:t>This programme has been funded with support from the European Commission. The author is solely responsible for this publication (communication) and the Commission accepts no responsibility for any  use that may be made of the information contained therein.</a:t>
            </a:r>
          </a:p>
        </p:txBody>
      </p:sp>
      <p:sp>
        <p:nvSpPr>
          <p:cNvPr id="65" name="Text Placeholder 63"/>
          <p:cNvSpPr>
            <a:spLocks noGrp="1"/>
          </p:cNvSpPr>
          <p:nvPr>
            <p:ph type="body" sz="quarter" idx="22" hasCustomPrompt="1"/>
          </p:nvPr>
        </p:nvSpPr>
        <p:spPr>
          <a:xfrm>
            <a:off x="6232224" y="2061678"/>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66" name="Text Placeholder 63"/>
          <p:cNvSpPr>
            <a:spLocks noGrp="1"/>
          </p:cNvSpPr>
          <p:nvPr>
            <p:ph type="body" sz="quarter" idx="23" hasCustomPrompt="1"/>
          </p:nvPr>
        </p:nvSpPr>
        <p:spPr>
          <a:xfrm>
            <a:off x="6232224" y="2582788"/>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2" name="Text Placeholder 23"/>
          <p:cNvSpPr>
            <a:spLocks noGrp="1"/>
          </p:cNvSpPr>
          <p:nvPr>
            <p:ph type="body" sz="quarter" idx="13" hasCustomPrompt="1"/>
          </p:nvPr>
        </p:nvSpPr>
        <p:spPr>
          <a:xfrm>
            <a:off x="528265" y="2138185"/>
            <a:ext cx="4118429" cy="2548702"/>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73" name="Oval 72"/>
          <p:cNvSpPr>
            <a:spLocks noChangeArrowheads="1"/>
          </p:cNvSpPr>
          <p:nvPr userDrawn="1"/>
        </p:nvSpPr>
        <p:spPr bwMode="auto">
          <a:xfrm>
            <a:off x="5375141" y="3129586"/>
            <a:ext cx="720000" cy="720000"/>
          </a:xfrm>
          <a:prstGeom prst="ellipse">
            <a:avLst/>
          </a:prstGeom>
          <a:solidFill>
            <a:srgbClr val="BBC646"/>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2</a:t>
            </a:r>
          </a:p>
        </p:txBody>
      </p:sp>
      <p:sp>
        <p:nvSpPr>
          <p:cNvPr id="74" name="Text Placeholder 63"/>
          <p:cNvSpPr>
            <a:spLocks noGrp="1"/>
          </p:cNvSpPr>
          <p:nvPr>
            <p:ph type="body" sz="quarter" idx="24" hasCustomPrompt="1"/>
          </p:nvPr>
        </p:nvSpPr>
        <p:spPr>
          <a:xfrm>
            <a:off x="6236769" y="3138730"/>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75" name="Text Placeholder 63"/>
          <p:cNvSpPr>
            <a:spLocks noGrp="1"/>
          </p:cNvSpPr>
          <p:nvPr>
            <p:ph type="body" sz="quarter" idx="25" hasCustomPrompt="1"/>
          </p:nvPr>
        </p:nvSpPr>
        <p:spPr>
          <a:xfrm>
            <a:off x="6236769" y="3659840"/>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6" name="Oval 75"/>
          <p:cNvSpPr>
            <a:spLocks noChangeArrowheads="1"/>
          </p:cNvSpPr>
          <p:nvPr userDrawn="1"/>
        </p:nvSpPr>
        <p:spPr bwMode="auto">
          <a:xfrm>
            <a:off x="5370596" y="4207979"/>
            <a:ext cx="720000" cy="720000"/>
          </a:xfrm>
          <a:prstGeom prst="ellipse">
            <a:avLst/>
          </a:prstGeom>
          <a:solidFill>
            <a:srgbClr val="29B3E8"/>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3</a:t>
            </a:r>
          </a:p>
        </p:txBody>
      </p:sp>
      <p:sp>
        <p:nvSpPr>
          <p:cNvPr id="77" name="Text Placeholder 63"/>
          <p:cNvSpPr>
            <a:spLocks noGrp="1"/>
          </p:cNvSpPr>
          <p:nvPr>
            <p:ph type="body" sz="quarter" idx="26" hasCustomPrompt="1"/>
          </p:nvPr>
        </p:nvSpPr>
        <p:spPr>
          <a:xfrm>
            <a:off x="6232224" y="4217123"/>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78" name="Text Placeholder 63"/>
          <p:cNvSpPr>
            <a:spLocks noGrp="1"/>
          </p:cNvSpPr>
          <p:nvPr>
            <p:ph type="body" sz="quarter" idx="27" hasCustomPrompt="1"/>
          </p:nvPr>
        </p:nvSpPr>
        <p:spPr>
          <a:xfrm>
            <a:off x="6232224" y="4738233"/>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9" name="Oval 78"/>
          <p:cNvSpPr>
            <a:spLocks noChangeArrowheads="1"/>
          </p:cNvSpPr>
          <p:nvPr userDrawn="1"/>
        </p:nvSpPr>
        <p:spPr bwMode="auto">
          <a:xfrm>
            <a:off x="5393421" y="5302137"/>
            <a:ext cx="720000" cy="720000"/>
          </a:xfrm>
          <a:prstGeom prst="ellipse">
            <a:avLst/>
          </a:prstGeom>
          <a:solidFill>
            <a:srgbClr val="E53292"/>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4</a:t>
            </a:r>
          </a:p>
        </p:txBody>
      </p:sp>
      <p:sp>
        <p:nvSpPr>
          <p:cNvPr id="80" name="Text Placeholder 63"/>
          <p:cNvSpPr>
            <a:spLocks noGrp="1"/>
          </p:cNvSpPr>
          <p:nvPr>
            <p:ph type="body" sz="quarter" idx="28" hasCustomPrompt="1"/>
          </p:nvPr>
        </p:nvSpPr>
        <p:spPr>
          <a:xfrm>
            <a:off x="6255049" y="5311281"/>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81" name="Text Placeholder 63"/>
          <p:cNvSpPr>
            <a:spLocks noGrp="1"/>
          </p:cNvSpPr>
          <p:nvPr>
            <p:ph type="body" sz="quarter" idx="29" hasCustomPrompt="1"/>
          </p:nvPr>
        </p:nvSpPr>
        <p:spPr>
          <a:xfrm>
            <a:off x="6255049" y="5832391"/>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pic>
        <p:nvPicPr>
          <p:cNvPr id="22" name="Picture 21">
            <a:extLst>
              <a:ext uri="{FF2B5EF4-FFF2-40B4-BE49-F238E27FC236}">
                <a16:creationId xmlns:a16="http://schemas.microsoft.com/office/drawing/2014/main" xmlns="" id="{A3140CC1-D5A6-9C40-B677-969939A9FA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6237" y="539983"/>
            <a:ext cx="4373248" cy="882773"/>
          </a:xfrm>
          <a:prstGeom prst="rect">
            <a:avLst/>
          </a:prstGeom>
        </p:spPr>
      </p:pic>
      <p:pic>
        <p:nvPicPr>
          <p:cNvPr id="23" name="Picture 22">
            <a:extLst>
              <a:ext uri="{FF2B5EF4-FFF2-40B4-BE49-F238E27FC236}">
                <a16:creationId xmlns:a16="http://schemas.microsoft.com/office/drawing/2014/main" xmlns="" id="{87A7B185-5702-EE47-9B1C-4786C90E393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5733" t="18650"/>
          <a:stretch/>
        </p:blipFill>
        <p:spPr>
          <a:xfrm rot="16200000">
            <a:off x="-39049" y="5532073"/>
            <a:ext cx="1364978" cy="128687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7CB813-EC21-CC46-9578-1B2717E47199}"/>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6CF911C0-7EE8-B549-BE1E-140FD4CC0C4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04B3C92-F189-B64E-AF52-05C203FD5866}"/>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6BD741C-3A0D-A94F-96EA-B994E7F19D80}"/>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210EFD-0771-B942-93F2-3F6FD8A8F1E8}"/>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9919526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Slide Lef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4495027" y="873303"/>
            <a:ext cx="7074043"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4508938" y="1982978"/>
            <a:ext cx="7060133"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4189948" y="1767276"/>
            <a:ext cx="7753040"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5" name="Picture Placeholder 4"/>
          <p:cNvSpPr>
            <a:spLocks noGrp="1"/>
          </p:cNvSpPr>
          <p:nvPr>
            <p:ph type="pic" sz="quarter" idx="15"/>
          </p:nvPr>
        </p:nvSpPr>
        <p:spPr>
          <a:xfrm>
            <a:off x="1" y="0"/>
            <a:ext cx="3922000" cy="6826250"/>
          </a:xfrm>
        </p:spPr>
        <p:txBody>
          <a:bodyPr>
            <a:normAutofit/>
          </a:bodyPr>
          <a:lstStyle>
            <a:lvl1pPr algn="ctr">
              <a:defRPr sz="1800">
                <a:solidFill>
                  <a:srgbClr val="245473"/>
                </a:solidFill>
              </a:defRPr>
            </a:lvl1pPr>
          </a:lstStyle>
          <a:p>
            <a:endParaRPr lang="en-GB" dirty="0"/>
          </a:p>
          <a:p>
            <a:endParaRPr lang="en-GB" dirty="0"/>
          </a:p>
          <a:p>
            <a:endParaRPr lang="en-GB" dirty="0"/>
          </a:p>
          <a:p>
            <a:endParaRPr lang="en-GB" dirty="0"/>
          </a:p>
          <a:p>
            <a:endParaRPr lang="en-GB" dirty="0"/>
          </a:p>
          <a:p>
            <a:endParaRPr lang="en-GB" dirty="0"/>
          </a:p>
          <a:p>
            <a:endParaRPr lang="en-GB" dirty="0"/>
          </a:p>
          <a:p>
            <a:r>
              <a:rPr lang="en-GB" dirty="0"/>
              <a:t>Click to add photo</a:t>
            </a:r>
          </a:p>
        </p:txBody>
      </p:sp>
      <p:sp>
        <p:nvSpPr>
          <p:cNvPr id="13" name="Rectangle 12"/>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6" name="Group 15">
            <a:extLst>
              <a:ext uri="{FF2B5EF4-FFF2-40B4-BE49-F238E27FC236}">
                <a16:creationId xmlns:a16="http://schemas.microsoft.com/office/drawing/2014/main" xmlns="" id="{6D136BF9-5546-6940-8DE6-3CF000FEB318}"/>
              </a:ext>
            </a:extLst>
          </p:cNvPr>
          <p:cNvGrpSpPr/>
          <p:nvPr userDrawn="1"/>
        </p:nvGrpSpPr>
        <p:grpSpPr>
          <a:xfrm>
            <a:off x="3334007" y="6278877"/>
            <a:ext cx="8395542" cy="332623"/>
            <a:chOff x="7632699" y="6308250"/>
            <a:chExt cx="4040789" cy="572290"/>
          </a:xfrm>
        </p:grpSpPr>
        <p:sp>
          <p:nvSpPr>
            <p:cNvPr id="19" name="テキスト プレースホルダー 36">
              <a:extLst>
                <a:ext uri="{FF2B5EF4-FFF2-40B4-BE49-F238E27FC236}">
                  <a16:creationId xmlns:a16="http://schemas.microsoft.com/office/drawing/2014/main" xmlns="" id="{4BC86759-3B8E-0A4A-A22F-1A78E44114E1}"/>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0" name="テキスト プレースホルダー 36">
              <a:extLst>
                <a:ext uri="{FF2B5EF4-FFF2-40B4-BE49-F238E27FC236}">
                  <a16:creationId xmlns:a16="http://schemas.microsoft.com/office/drawing/2014/main" xmlns="" id="{1A9BF760-CB5C-5847-AA83-56DC745A41B2}"/>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1" name="Picture 20">
            <a:extLst>
              <a:ext uri="{FF2B5EF4-FFF2-40B4-BE49-F238E27FC236}">
                <a16:creationId xmlns:a16="http://schemas.microsoft.com/office/drawing/2014/main" xmlns="" id="{526F6654-02F5-A547-996D-5CEC647299B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Slide Right">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8270000" y="0"/>
            <a:ext cx="3922000" cy="6826250"/>
          </a:xfrm>
        </p:spPr>
        <p:txBody>
          <a:bodyPr>
            <a:normAutofit/>
          </a:bodyPr>
          <a:lstStyle>
            <a:lvl1pPr algn="ctr">
              <a:defRPr sz="1800">
                <a:solidFill>
                  <a:srgbClr val="245473"/>
                </a:solidFill>
              </a:defRPr>
            </a:lvl1pPr>
          </a:lstStyle>
          <a:p>
            <a:endParaRPr lang="en-GB" dirty="0"/>
          </a:p>
          <a:p>
            <a:endParaRPr lang="en-GB" dirty="0"/>
          </a:p>
          <a:p>
            <a:endParaRPr lang="en-GB" dirty="0"/>
          </a:p>
          <a:p>
            <a:endParaRPr lang="en-GB" dirty="0"/>
          </a:p>
          <a:p>
            <a:endParaRPr lang="en-GB" dirty="0"/>
          </a:p>
          <a:p>
            <a:endParaRPr lang="en-GB" dirty="0"/>
          </a:p>
          <a:p>
            <a:endParaRPr lang="en-GB" dirty="0"/>
          </a:p>
          <a:p>
            <a:r>
              <a:rPr lang="en-GB" dirty="0"/>
              <a:t>Click to add photo</a:t>
            </a:r>
          </a:p>
        </p:txBody>
      </p:sp>
      <p:sp>
        <p:nvSpPr>
          <p:cNvPr id="23" name="Text Placeholder 23"/>
          <p:cNvSpPr>
            <a:spLocks noGrp="1"/>
          </p:cNvSpPr>
          <p:nvPr>
            <p:ph type="body" sz="quarter" idx="16" hasCustomPrompt="1"/>
          </p:nvPr>
        </p:nvSpPr>
        <p:spPr>
          <a:xfrm>
            <a:off x="718642" y="873067"/>
            <a:ext cx="7066011"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24" name="Text Placeholder 25"/>
          <p:cNvSpPr>
            <a:spLocks noGrp="1"/>
          </p:cNvSpPr>
          <p:nvPr>
            <p:ph type="body" sz="quarter" idx="17" hasCustomPrompt="1"/>
          </p:nvPr>
        </p:nvSpPr>
        <p:spPr>
          <a:xfrm>
            <a:off x="736049" y="1982742"/>
            <a:ext cx="7052117"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25" name="Straight Connector 24"/>
          <p:cNvCxnSpPr/>
          <p:nvPr userDrawn="1"/>
        </p:nvCxnSpPr>
        <p:spPr>
          <a:xfrm flipH="1">
            <a:off x="425728" y="1767040"/>
            <a:ext cx="7551624"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0" name="Rectangle 29"/>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1" name="Group 10">
            <a:extLst>
              <a:ext uri="{FF2B5EF4-FFF2-40B4-BE49-F238E27FC236}">
                <a16:creationId xmlns:a16="http://schemas.microsoft.com/office/drawing/2014/main" xmlns="" id="{A007B40A-3467-DB4C-89EA-97DB4AA7D7E3}"/>
              </a:ext>
            </a:extLst>
          </p:cNvPr>
          <p:cNvGrpSpPr/>
          <p:nvPr userDrawn="1"/>
        </p:nvGrpSpPr>
        <p:grpSpPr>
          <a:xfrm>
            <a:off x="1333695" y="6201410"/>
            <a:ext cx="2312384" cy="332623"/>
            <a:chOff x="10743787" y="6308250"/>
            <a:chExt cx="1112954" cy="572290"/>
          </a:xfrm>
        </p:grpSpPr>
        <p:sp>
          <p:nvSpPr>
            <p:cNvPr id="12" name="テキスト プレースホルダー 36">
              <a:extLst>
                <a:ext uri="{FF2B5EF4-FFF2-40B4-BE49-F238E27FC236}">
                  <a16:creationId xmlns:a16="http://schemas.microsoft.com/office/drawing/2014/main" xmlns="" id="{B084CC3A-DD02-A24D-AA62-027486FC2B8F}"/>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3" name="テキスト プレースホルダー 36">
              <a:extLst>
                <a:ext uri="{FF2B5EF4-FFF2-40B4-BE49-F238E27FC236}">
                  <a16:creationId xmlns:a16="http://schemas.microsoft.com/office/drawing/2014/main" xmlns="" id="{B9087191-E74F-314C-827A-09925C706A39}"/>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4" name="Picture 13">
            <a:extLst>
              <a:ext uri="{FF2B5EF4-FFF2-40B4-BE49-F238E27FC236}">
                <a16:creationId xmlns:a16="http://schemas.microsoft.com/office/drawing/2014/main" xmlns="" id="{65D933AB-2A14-6F4F-AD5A-CE21FA11958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only with 2 colums - RIGHT">
    <p:spTree>
      <p:nvGrpSpPr>
        <p:cNvPr id="1" name=""/>
        <p:cNvGrpSpPr/>
        <p:nvPr/>
      </p:nvGrpSpPr>
      <p:grpSpPr>
        <a:xfrm>
          <a:off x="0" y="0"/>
          <a:ext cx="0" cy="0"/>
          <a:chOff x="0" y="0"/>
          <a:chExt cx="0" cy="0"/>
        </a:xfrm>
      </p:grpSpPr>
      <p:sp>
        <p:nvSpPr>
          <p:cNvPr id="24" name="Text Placeholder 25"/>
          <p:cNvSpPr>
            <a:spLocks noGrp="1"/>
          </p:cNvSpPr>
          <p:nvPr>
            <p:ph type="body" sz="quarter" idx="15" hasCustomPrompt="1"/>
          </p:nvPr>
        </p:nvSpPr>
        <p:spPr>
          <a:xfrm>
            <a:off x="2734104" y="1998568"/>
            <a:ext cx="4340114"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5" name="Text Placeholder 25"/>
          <p:cNvSpPr>
            <a:spLocks noGrp="1"/>
          </p:cNvSpPr>
          <p:nvPr>
            <p:ph type="body" sz="quarter" idx="16" hasCustomPrompt="1"/>
          </p:nvPr>
        </p:nvSpPr>
        <p:spPr>
          <a:xfrm>
            <a:off x="7266140" y="1996914"/>
            <a:ext cx="4340114"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9"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27" name="Straight Connector 26"/>
          <p:cNvCxnSpPr/>
          <p:nvPr userDrawn="1"/>
        </p:nvCxnSpPr>
        <p:spPr>
          <a:xfrm flipH="1">
            <a:off x="2266122" y="1767276"/>
            <a:ext cx="9676865"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15" name="Group 14"/>
          <p:cNvGrpSpPr/>
          <p:nvPr userDrawn="1"/>
        </p:nvGrpSpPr>
        <p:grpSpPr>
          <a:xfrm>
            <a:off x="3334007" y="6278877"/>
            <a:ext cx="8395542" cy="332623"/>
            <a:chOff x="7632699" y="6308250"/>
            <a:chExt cx="4040789" cy="572290"/>
          </a:xfrm>
        </p:grpSpPr>
        <p:sp>
          <p:nvSpPr>
            <p:cNvPr id="16" name="テキスト プレースホルダー 36"/>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sp>
        <p:nvSpPr>
          <p:cNvPr id="19" name="Rectangle 18"/>
          <p:cNvSpPr/>
          <p:nvPr userDrawn="1"/>
        </p:nvSpPr>
        <p:spPr>
          <a:xfrm>
            <a:off x="-4240"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xmlns="" id="{C88269A5-701F-6949-B048-589F1BF7F78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with 3 colums - RIGHT">
    <p:spTree>
      <p:nvGrpSpPr>
        <p:cNvPr id="1" name=""/>
        <p:cNvGrpSpPr/>
        <p:nvPr/>
      </p:nvGrpSpPr>
      <p:grpSpPr>
        <a:xfrm>
          <a:off x="0" y="0"/>
          <a:ext cx="0" cy="0"/>
          <a:chOff x="0" y="0"/>
          <a:chExt cx="0" cy="0"/>
        </a:xfrm>
      </p:grpSpPr>
      <p:sp>
        <p:nvSpPr>
          <p:cNvPr id="33" name="Text Placeholder 25"/>
          <p:cNvSpPr>
            <a:spLocks noGrp="1"/>
          </p:cNvSpPr>
          <p:nvPr>
            <p:ph type="body" sz="quarter" idx="15" hasCustomPrompt="1"/>
          </p:nvPr>
        </p:nvSpPr>
        <p:spPr>
          <a:xfrm>
            <a:off x="2716696"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34" name="Text Placeholder 25"/>
          <p:cNvSpPr>
            <a:spLocks noGrp="1"/>
          </p:cNvSpPr>
          <p:nvPr>
            <p:ph type="body" sz="quarter" idx="16" hasCustomPrompt="1"/>
          </p:nvPr>
        </p:nvSpPr>
        <p:spPr>
          <a:xfrm>
            <a:off x="8710202"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35" name="Text Placeholder 25"/>
          <p:cNvSpPr>
            <a:spLocks noGrp="1"/>
          </p:cNvSpPr>
          <p:nvPr>
            <p:ph type="body" sz="quarter" idx="17" hasCustomPrompt="1"/>
          </p:nvPr>
        </p:nvSpPr>
        <p:spPr>
          <a:xfrm>
            <a:off x="5714013"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13"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23" name="Straight Connector 22"/>
          <p:cNvCxnSpPr/>
          <p:nvPr userDrawn="1"/>
        </p:nvCxnSpPr>
        <p:spPr>
          <a:xfrm flipH="1">
            <a:off x="2266122" y="1767276"/>
            <a:ext cx="9676865"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26" name="Rectangle 2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Picture 13">
            <a:extLst>
              <a:ext uri="{FF2B5EF4-FFF2-40B4-BE49-F238E27FC236}">
                <a16:creationId xmlns:a16="http://schemas.microsoft.com/office/drawing/2014/main" xmlns="" id="{70DA7FD3-E69A-1641-A2C7-D181592526E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15" name="Group 14">
            <a:extLst>
              <a:ext uri="{FF2B5EF4-FFF2-40B4-BE49-F238E27FC236}">
                <a16:creationId xmlns:a16="http://schemas.microsoft.com/office/drawing/2014/main" xmlns="" id="{46328970-35E4-CD43-AC6C-DBF187C5B1AF}"/>
              </a:ext>
            </a:extLst>
          </p:cNvPr>
          <p:cNvGrpSpPr/>
          <p:nvPr userDrawn="1"/>
        </p:nvGrpSpPr>
        <p:grpSpPr>
          <a:xfrm>
            <a:off x="3334007" y="6278877"/>
            <a:ext cx="8395542" cy="332623"/>
            <a:chOff x="7632699" y="6308250"/>
            <a:chExt cx="4040789" cy="572290"/>
          </a:xfrm>
        </p:grpSpPr>
        <p:sp>
          <p:nvSpPr>
            <p:cNvPr id="18" name="テキスト プレースホルダー 36">
              <a:extLst>
                <a:ext uri="{FF2B5EF4-FFF2-40B4-BE49-F238E27FC236}">
                  <a16:creationId xmlns:a16="http://schemas.microsoft.com/office/drawing/2014/main" xmlns="" id="{9A05FA7E-C217-DC48-95D7-8D38AE20CBE9}"/>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9" name="テキスト プレースホルダー 36">
              <a:extLst>
                <a:ext uri="{FF2B5EF4-FFF2-40B4-BE49-F238E27FC236}">
                  <a16:creationId xmlns:a16="http://schemas.microsoft.com/office/drawing/2014/main" xmlns="" id="{FF6BC695-5326-8B49-8F95-724E5B695B5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0" name="Picture 19">
            <a:extLst>
              <a:ext uri="{FF2B5EF4-FFF2-40B4-BE49-F238E27FC236}">
                <a16:creationId xmlns:a16="http://schemas.microsoft.com/office/drawing/2014/main" xmlns="" id="{694CF00F-1854-2945-AD41-A475C572B9C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only with 1 colum - LEFT">
    <p:spTree>
      <p:nvGrpSpPr>
        <p:cNvPr id="1" name=""/>
        <p:cNvGrpSpPr/>
        <p:nvPr/>
      </p:nvGrpSpPr>
      <p:grpSpPr>
        <a:xfrm>
          <a:off x="0" y="0"/>
          <a:ext cx="0" cy="0"/>
          <a:chOff x="0" y="0"/>
          <a:chExt cx="0" cy="0"/>
        </a:xfrm>
      </p:grpSpPr>
      <p:sp>
        <p:nvSpPr>
          <p:cNvPr id="22" name="Text Placeholder 23"/>
          <p:cNvSpPr>
            <a:spLocks noGrp="1"/>
          </p:cNvSpPr>
          <p:nvPr>
            <p:ph type="body" sz="quarter" idx="15" hasCustomPrompt="1"/>
          </p:nvPr>
        </p:nvSpPr>
        <p:spPr>
          <a:xfrm>
            <a:off x="718642" y="873067"/>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23" name="Text Placeholder 25"/>
          <p:cNvSpPr>
            <a:spLocks noGrp="1"/>
          </p:cNvSpPr>
          <p:nvPr>
            <p:ph type="body" sz="quarter" idx="16" hasCustomPrompt="1"/>
          </p:nvPr>
        </p:nvSpPr>
        <p:spPr>
          <a:xfrm>
            <a:off x="736049" y="1982742"/>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24" name="Straight Connector 23"/>
          <p:cNvCxnSpPr/>
          <p:nvPr userDrawn="1"/>
        </p:nvCxnSpPr>
        <p:spPr>
          <a:xfrm flipH="1">
            <a:off x="425727" y="1767040"/>
            <a:ext cx="9301597"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sp>
        <p:nvSpPr>
          <p:cNvPr id="19" name="Rectangle 18"/>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3" name="Group 12">
            <a:extLst>
              <a:ext uri="{FF2B5EF4-FFF2-40B4-BE49-F238E27FC236}">
                <a16:creationId xmlns:a16="http://schemas.microsoft.com/office/drawing/2014/main" xmlns="" id="{895BA794-76E1-C242-9A27-24CE7E2B4E3C}"/>
              </a:ext>
            </a:extLst>
          </p:cNvPr>
          <p:cNvGrpSpPr/>
          <p:nvPr userDrawn="1"/>
        </p:nvGrpSpPr>
        <p:grpSpPr>
          <a:xfrm>
            <a:off x="1333695" y="6201410"/>
            <a:ext cx="2312384" cy="332623"/>
            <a:chOff x="10743787" y="6308250"/>
            <a:chExt cx="1112954" cy="572290"/>
          </a:xfrm>
        </p:grpSpPr>
        <p:sp>
          <p:nvSpPr>
            <p:cNvPr id="14" name="テキスト プレースホルダー 36">
              <a:extLst>
                <a:ext uri="{FF2B5EF4-FFF2-40B4-BE49-F238E27FC236}">
                  <a16:creationId xmlns:a16="http://schemas.microsoft.com/office/drawing/2014/main" xmlns="" id="{701912EB-5F7B-824A-92EB-00EB0F388EB4}"/>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5" name="テキスト プレースホルダー 36">
              <a:extLst>
                <a:ext uri="{FF2B5EF4-FFF2-40B4-BE49-F238E27FC236}">
                  <a16:creationId xmlns:a16="http://schemas.microsoft.com/office/drawing/2014/main" xmlns="" id="{CB8F34CD-18E2-5C4C-8028-879A13939DB5}"/>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7" name="Picture 16">
            <a:extLst>
              <a:ext uri="{FF2B5EF4-FFF2-40B4-BE49-F238E27FC236}">
                <a16:creationId xmlns:a16="http://schemas.microsoft.com/office/drawing/2014/main" xmlns="" id="{6E5F8B4E-A0FA-9A4E-9CB3-073ED019B41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only with 2 colums - LEFT">
    <p:spTree>
      <p:nvGrpSpPr>
        <p:cNvPr id="1" name=""/>
        <p:cNvGrpSpPr/>
        <p:nvPr/>
      </p:nvGrpSpPr>
      <p:grpSpPr>
        <a:xfrm>
          <a:off x="0" y="0"/>
          <a:ext cx="0" cy="0"/>
          <a:chOff x="0" y="0"/>
          <a:chExt cx="0" cy="0"/>
        </a:xfrm>
      </p:grpSpPr>
      <p:sp>
        <p:nvSpPr>
          <p:cNvPr id="23" name="Text Placeholder 25"/>
          <p:cNvSpPr>
            <a:spLocks noGrp="1"/>
          </p:cNvSpPr>
          <p:nvPr>
            <p:ph type="body" sz="quarter" idx="16" hasCustomPrompt="1"/>
          </p:nvPr>
        </p:nvSpPr>
        <p:spPr>
          <a:xfrm>
            <a:off x="657223" y="2002626"/>
            <a:ext cx="4340114"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4" name="Text Placeholder 25"/>
          <p:cNvSpPr>
            <a:spLocks noGrp="1"/>
          </p:cNvSpPr>
          <p:nvPr>
            <p:ph type="body" sz="quarter" idx="17" hasCustomPrompt="1"/>
          </p:nvPr>
        </p:nvSpPr>
        <p:spPr>
          <a:xfrm>
            <a:off x="5189259" y="2000972"/>
            <a:ext cx="4340114"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6" name="Text Placeholder 23"/>
          <p:cNvSpPr>
            <a:spLocks noGrp="1"/>
          </p:cNvSpPr>
          <p:nvPr>
            <p:ph type="body" sz="quarter" idx="18" hasCustomPrompt="1"/>
          </p:nvPr>
        </p:nvSpPr>
        <p:spPr>
          <a:xfrm>
            <a:off x="639815" y="877361"/>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32" name="Straight Connector 31"/>
          <p:cNvCxnSpPr/>
          <p:nvPr userDrawn="1"/>
        </p:nvCxnSpPr>
        <p:spPr>
          <a:xfrm flipH="1">
            <a:off x="425727" y="1767040"/>
            <a:ext cx="9254301"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xmlns="" id="{6D7D5E2A-2B81-A148-9321-B307B24B86E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grpSp>
        <p:nvGrpSpPr>
          <p:cNvPr id="13" name="Group 12">
            <a:extLst>
              <a:ext uri="{FF2B5EF4-FFF2-40B4-BE49-F238E27FC236}">
                <a16:creationId xmlns:a16="http://schemas.microsoft.com/office/drawing/2014/main" xmlns="" id="{ADAB36EC-5DEF-9B45-8EDB-092DA7FDACA9}"/>
              </a:ext>
            </a:extLst>
          </p:cNvPr>
          <p:cNvGrpSpPr/>
          <p:nvPr userDrawn="1"/>
        </p:nvGrpSpPr>
        <p:grpSpPr>
          <a:xfrm>
            <a:off x="1333695" y="6201410"/>
            <a:ext cx="2312384" cy="332623"/>
            <a:chOff x="10743787" y="6308250"/>
            <a:chExt cx="1112954" cy="572290"/>
          </a:xfrm>
        </p:grpSpPr>
        <p:sp>
          <p:nvSpPr>
            <p:cNvPr id="19" name="テキスト プレースホルダー 36">
              <a:extLst>
                <a:ext uri="{FF2B5EF4-FFF2-40B4-BE49-F238E27FC236}">
                  <a16:creationId xmlns:a16="http://schemas.microsoft.com/office/drawing/2014/main" xmlns="" id="{532796E0-DEBC-F04D-B4AE-B3EE1ED82F71}"/>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1" name="テキスト プレースホルダー 36">
              <a:extLst>
                <a:ext uri="{FF2B5EF4-FFF2-40B4-BE49-F238E27FC236}">
                  <a16:creationId xmlns:a16="http://schemas.microsoft.com/office/drawing/2014/main" xmlns="" id="{CDA7F8D1-6FF9-4B4D-996A-76C35DA2948B}"/>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2" name="Picture 21">
            <a:extLst>
              <a:ext uri="{FF2B5EF4-FFF2-40B4-BE49-F238E27FC236}">
                <a16:creationId xmlns:a16="http://schemas.microsoft.com/office/drawing/2014/main" xmlns="" id="{E7B94B9B-271A-9A40-8864-E7E637033B5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only with 3 colums - LEFT">
    <p:spTree>
      <p:nvGrpSpPr>
        <p:cNvPr id="1" name=""/>
        <p:cNvGrpSpPr/>
        <p:nvPr/>
      </p:nvGrpSpPr>
      <p:grpSpPr>
        <a:xfrm>
          <a:off x="0" y="0"/>
          <a:ext cx="0" cy="0"/>
          <a:chOff x="0" y="0"/>
          <a:chExt cx="0" cy="0"/>
        </a:xfrm>
      </p:grpSpPr>
      <p:sp>
        <p:nvSpPr>
          <p:cNvPr id="14" name="テキスト プレースホルダー 36"/>
          <p:cNvSpPr txBox="1">
            <a:spLocks/>
          </p:cNvSpPr>
          <p:nvPr userDrawn="1"/>
        </p:nvSpPr>
        <p:spPr bwMode="auto">
          <a:xfrm>
            <a:off x="580570" y="6321603"/>
            <a:ext cx="877943"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r">
              <a:buFontTx/>
              <a:buNone/>
            </a:pPr>
            <a:endParaRPr kumimoji="1" lang="en-GB" altLang="ja-JP" sz="1100" dirty="0">
              <a:solidFill>
                <a:srgbClr val="003841"/>
              </a:solidFill>
              <a:latin typeface="Calibri" charset="0"/>
            </a:endParaRPr>
          </a:p>
        </p:txBody>
      </p:sp>
      <p:sp>
        <p:nvSpPr>
          <p:cNvPr id="22" name="Text Placeholder 25"/>
          <p:cNvSpPr>
            <a:spLocks noGrp="1"/>
          </p:cNvSpPr>
          <p:nvPr userDrawn="1">
            <p:ph type="body" sz="quarter" idx="15" hasCustomPrompt="1"/>
          </p:nvPr>
        </p:nvSpPr>
        <p:spPr>
          <a:xfrm>
            <a:off x="712878"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3" name="Text Placeholder 25"/>
          <p:cNvSpPr>
            <a:spLocks noGrp="1"/>
          </p:cNvSpPr>
          <p:nvPr userDrawn="1">
            <p:ph type="body" sz="quarter" idx="16" hasCustomPrompt="1"/>
          </p:nvPr>
        </p:nvSpPr>
        <p:spPr>
          <a:xfrm>
            <a:off x="6706384"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4" name="Text Placeholder 25"/>
          <p:cNvSpPr>
            <a:spLocks noGrp="1"/>
          </p:cNvSpPr>
          <p:nvPr userDrawn="1">
            <p:ph type="body" sz="quarter" idx="20" hasCustomPrompt="1"/>
          </p:nvPr>
        </p:nvSpPr>
        <p:spPr>
          <a:xfrm>
            <a:off x="3710195"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5" name="Text Placeholder 23"/>
          <p:cNvSpPr>
            <a:spLocks noGrp="1"/>
          </p:cNvSpPr>
          <p:nvPr userDrawn="1">
            <p:ph type="body" sz="quarter" idx="21" hasCustomPrompt="1"/>
          </p:nvPr>
        </p:nvSpPr>
        <p:spPr>
          <a:xfrm>
            <a:off x="712878" y="873067"/>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31" name="テキスト プレースホルダー 36"/>
          <p:cNvSpPr txBox="1">
            <a:spLocks/>
          </p:cNvSpPr>
          <p:nvPr userDrawn="1"/>
        </p:nvSpPr>
        <p:spPr bwMode="auto">
          <a:xfrm>
            <a:off x="3979193" y="5224665"/>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cxnSp>
        <p:nvCxnSpPr>
          <p:cNvPr id="32" name="Straight Connector 31"/>
          <p:cNvCxnSpPr/>
          <p:nvPr userDrawn="1"/>
        </p:nvCxnSpPr>
        <p:spPr>
          <a:xfrm flipH="1">
            <a:off x="425727" y="1767040"/>
            <a:ext cx="9411956"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9" name="Rectangle 18"/>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0" name="Picture 19">
            <a:extLst>
              <a:ext uri="{FF2B5EF4-FFF2-40B4-BE49-F238E27FC236}">
                <a16:creationId xmlns:a16="http://schemas.microsoft.com/office/drawing/2014/main" xmlns="" id="{F17E6557-D97C-E242-B6F9-6382EA595FC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grpSp>
        <p:nvGrpSpPr>
          <p:cNvPr id="21" name="Group 20">
            <a:extLst>
              <a:ext uri="{FF2B5EF4-FFF2-40B4-BE49-F238E27FC236}">
                <a16:creationId xmlns:a16="http://schemas.microsoft.com/office/drawing/2014/main" xmlns="" id="{D82BC0DB-5DE7-2447-83C8-23383567DECE}"/>
              </a:ext>
            </a:extLst>
          </p:cNvPr>
          <p:cNvGrpSpPr/>
          <p:nvPr userDrawn="1"/>
        </p:nvGrpSpPr>
        <p:grpSpPr>
          <a:xfrm>
            <a:off x="1333695" y="6201410"/>
            <a:ext cx="2312384" cy="332623"/>
            <a:chOff x="10743787" y="6308250"/>
            <a:chExt cx="1112954" cy="572290"/>
          </a:xfrm>
        </p:grpSpPr>
        <p:sp>
          <p:nvSpPr>
            <p:cNvPr id="26" name="テキスト プレースホルダー 36">
              <a:extLst>
                <a:ext uri="{FF2B5EF4-FFF2-40B4-BE49-F238E27FC236}">
                  <a16:creationId xmlns:a16="http://schemas.microsoft.com/office/drawing/2014/main" xmlns="" id="{2C5D5364-575D-D042-B367-4A2C62F98CF8}"/>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7" name="テキスト プレースホルダー 36">
              <a:extLst>
                <a:ext uri="{FF2B5EF4-FFF2-40B4-BE49-F238E27FC236}">
                  <a16:creationId xmlns:a16="http://schemas.microsoft.com/office/drawing/2014/main" xmlns="" id="{CB369F45-4993-CE41-9F64-43C9D8D15EE9}"/>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8" name="Picture 27">
            <a:extLst>
              <a:ext uri="{FF2B5EF4-FFF2-40B4-BE49-F238E27FC236}">
                <a16:creationId xmlns:a16="http://schemas.microsoft.com/office/drawing/2014/main" xmlns="" id="{AD59E0B3-62A5-5549-BAF8-ABCFE552912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676221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 Lim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3E6101-8CDB-1E44-BCE5-139DFA9B83F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7379D324-F97E-F04F-8BCE-2C3BEE45C2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DCBE6176-868D-A64F-B6A0-5AFA337B28A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65049F25-091C-1040-B4DB-DF7F2B1093F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657932-5FDE-8F4B-8640-B8259841517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0106150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 Blue">
    <p:spTree>
      <p:nvGrpSpPr>
        <p:cNvPr id="1" name=""/>
        <p:cNvGrpSpPr/>
        <p:nvPr/>
      </p:nvGrpSpPr>
      <p:grpSpPr>
        <a:xfrm>
          <a:off x="0" y="0"/>
          <a:ext cx="0" cy="0"/>
          <a:chOff x="0" y="0"/>
          <a:chExt cx="0" cy="0"/>
        </a:xfrm>
      </p:grpSpPr>
      <p:sp>
        <p:nvSpPr>
          <p:cNvPr id="6" name="Rectangle 5"/>
          <p:cNvSpPr/>
          <p:nvPr userDrawn="1"/>
        </p:nvSpPr>
        <p:spPr>
          <a:xfrm>
            <a:off x="0" y="0"/>
            <a:ext cx="12192000" cy="6952129"/>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4"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 Pink">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9"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olumn with icons slide - layout 1">
    <p:spTree>
      <p:nvGrpSpPr>
        <p:cNvPr id="1" name=""/>
        <p:cNvGrpSpPr/>
        <p:nvPr/>
      </p:nvGrpSpPr>
      <p:grpSpPr>
        <a:xfrm>
          <a:off x="0" y="0"/>
          <a:ext cx="0" cy="0"/>
          <a:chOff x="0" y="0"/>
          <a:chExt cx="0" cy="0"/>
        </a:xfrm>
      </p:grpSpPr>
      <p:cxnSp>
        <p:nvCxnSpPr>
          <p:cNvPr id="21" name="Straight Connector 20"/>
          <p:cNvCxnSpPr/>
          <p:nvPr userDrawn="1"/>
        </p:nvCxnSpPr>
        <p:spPr>
          <a:xfrm>
            <a:off x="-36415" y="2997017"/>
            <a:ext cx="12192000" cy="0"/>
          </a:xfrm>
          <a:prstGeom prst="line">
            <a:avLst/>
          </a:prstGeom>
          <a:ln>
            <a:solidFill>
              <a:srgbClr val="245473"/>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0" hasCustomPrompt="1"/>
          </p:nvPr>
        </p:nvSpPr>
        <p:spPr>
          <a:xfrm>
            <a:off x="303467" y="3845754"/>
            <a:ext cx="2672815" cy="1878334"/>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2" name="Text Placeholder 2"/>
          <p:cNvSpPr>
            <a:spLocks noGrp="1"/>
          </p:cNvSpPr>
          <p:nvPr>
            <p:ph type="body" sz="quarter" idx="11" hasCustomPrompt="1"/>
          </p:nvPr>
        </p:nvSpPr>
        <p:spPr>
          <a:xfrm>
            <a:off x="3243611" y="383458"/>
            <a:ext cx="2672815" cy="1779573"/>
          </a:xfrm>
        </p:spPr>
        <p:txBody>
          <a:bodyPr anchor="b">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4" name="Text Placeholder 2"/>
          <p:cNvSpPr>
            <a:spLocks noGrp="1"/>
          </p:cNvSpPr>
          <p:nvPr>
            <p:ph type="body" sz="quarter" idx="12" hasCustomPrompt="1"/>
          </p:nvPr>
        </p:nvSpPr>
        <p:spPr>
          <a:xfrm>
            <a:off x="6115112" y="3845754"/>
            <a:ext cx="2672815" cy="192257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6" name="Text Placeholder 2"/>
          <p:cNvSpPr>
            <a:spLocks noGrp="1"/>
          </p:cNvSpPr>
          <p:nvPr>
            <p:ph type="body" sz="quarter" idx="13" hasCustomPrompt="1"/>
          </p:nvPr>
        </p:nvSpPr>
        <p:spPr>
          <a:xfrm>
            <a:off x="9068395" y="383458"/>
            <a:ext cx="2672815" cy="1779573"/>
          </a:xfrm>
        </p:spPr>
        <p:txBody>
          <a:bodyPr anchor="b">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 name="Oval 1"/>
          <p:cNvSpPr/>
          <p:nvPr userDrawn="1"/>
        </p:nvSpPr>
        <p:spPr>
          <a:xfrm>
            <a:off x="985917" y="2341774"/>
            <a:ext cx="1327355" cy="1327355"/>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Oval 12"/>
          <p:cNvSpPr/>
          <p:nvPr userDrawn="1"/>
        </p:nvSpPr>
        <p:spPr>
          <a:xfrm>
            <a:off x="3936550" y="2357577"/>
            <a:ext cx="1327355" cy="1327355"/>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Oval 15"/>
          <p:cNvSpPr/>
          <p:nvPr userDrawn="1"/>
        </p:nvSpPr>
        <p:spPr>
          <a:xfrm>
            <a:off x="6751909" y="2313333"/>
            <a:ext cx="1327355" cy="1327355"/>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Oval 16"/>
          <p:cNvSpPr/>
          <p:nvPr userDrawn="1"/>
        </p:nvSpPr>
        <p:spPr>
          <a:xfrm>
            <a:off x="9765418" y="2342845"/>
            <a:ext cx="1327355" cy="1327355"/>
          </a:xfrm>
          <a:prstGeom prst="ellips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4" name="Group 23">
            <a:extLst>
              <a:ext uri="{FF2B5EF4-FFF2-40B4-BE49-F238E27FC236}">
                <a16:creationId xmlns:a16="http://schemas.microsoft.com/office/drawing/2014/main" xmlns="" id="{E931C879-0C42-5546-BAF2-B2AD85753C19}"/>
              </a:ext>
            </a:extLst>
          </p:cNvPr>
          <p:cNvGrpSpPr/>
          <p:nvPr userDrawn="1"/>
        </p:nvGrpSpPr>
        <p:grpSpPr>
          <a:xfrm>
            <a:off x="5518067" y="6300459"/>
            <a:ext cx="2312384" cy="332623"/>
            <a:chOff x="10743787" y="6308250"/>
            <a:chExt cx="1112954" cy="572290"/>
          </a:xfrm>
        </p:grpSpPr>
        <p:sp>
          <p:nvSpPr>
            <p:cNvPr id="25" name="テキスト プレースホルダー 36">
              <a:extLst>
                <a:ext uri="{FF2B5EF4-FFF2-40B4-BE49-F238E27FC236}">
                  <a16:creationId xmlns:a16="http://schemas.microsoft.com/office/drawing/2014/main" xmlns="" id="{CB4597BD-02B4-7E48-82FB-F43E4F1EA558}"/>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6" name="テキスト プレースホルダー 36">
              <a:extLst>
                <a:ext uri="{FF2B5EF4-FFF2-40B4-BE49-F238E27FC236}">
                  <a16:creationId xmlns:a16="http://schemas.microsoft.com/office/drawing/2014/main" xmlns="" id="{43713398-D2FD-D24F-945B-F9C48B21BA4D}"/>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7" name="Picture 26">
            <a:extLst>
              <a:ext uri="{FF2B5EF4-FFF2-40B4-BE49-F238E27FC236}">
                <a16:creationId xmlns:a16="http://schemas.microsoft.com/office/drawing/2014/main" xmlns="" id="{0811E7D2-998A-4B4A-BF79-BFC8238DE45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397427"/>
            <a:ext cx="1257734" cy="191646"/>
          </a:xfrm>
          <a:prstGeom prst="rect">
            <a:avLst/>
          </a:prstGeom>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column with icons slide - layout 2">
    <p:spTree>
      <p:nvGrpSpPr>
        <p:cNvPr id="1" name=""/>
        <p:cNvGrpSpPr/>
        <p:nvPr/>
      </p:nvGrpSpPr>
      <p:grpSpPr>
        <a:xfrm>
          <a:off x="0" y="0"/>
          <a:ext cx="0" cy="0"/>
          <a:chOff x="0" y="0"/>
          <a:chExt cx="0" cy="0"/>
        </a:xfrm>
      </p:grpSpPr>
      <p:cxnSp>
        <p:nvCxnSpPr>
          <p:cNvPr id="18" name="Straight Connector 17"/>
          <p:cNvCxnSpPr/>
          <p:nvPr userDrawn="1"/>
        </p:nvCxnSpPr>
        <p:spPr>
          <a:xfrm>
            <a:off x="-6261" y="1227211"/>
            <a:ext cx="12192000" cy="0"/>
          </a:xfrm>
          <a:prstGeom prst="line">
            <a:avLst/>
          </a:prstGeom>
          <a:ln>
            <a:solidFill>
              <a:srgbClr val="245473"/>
            </a:solidFill>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10" hasCustomPrompt="1"/>
          </p:nvPr>
        </p:nvSpPr>
        <p:spPr>
          <a:xfrm>
            <a:off x="333621" y="2090693"/>
            <a:ext cx="2672815" cy="371208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0" name="Text Placeholder 2"/>
          <p:cNvSpPr>
            <a:spLocks noGrp="1"/>
          </p:cNvSpPr>
          <p:nvPr>
            <p:ph type="body" sz="quarter" idx="11" hasCustomPrompt="1"/>
          </p:nvPr>
        </p:nvSpPr>
        <p:spPr>
          <a:xfrm>
            <a:off x="3273765" y="2090693"/>
            <a:ext cx="2672815" cy="3712088"/>
          </a:xfrm>
        </p:spPr>
        <p:txBody>
          <a:bodyPr anchor="t">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1" name="Text Placeholder 2"/>
          <p:cNvSpPr>
            <a:spLocks noGrp="1"/>
          </p:cNvSpPr>
          <p:nvPr>
            <p:ph type="body" sz="quarter" idx="12" hasCustomPrompt="1"/>
          </p:nvPr>
        </p:nvSpPr>
        <p:spPr>
          <a:xfrm>
            <a:off x="6145266" y="2090693"/>
            <a:ext cx="2672815" cy="371208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2" name="Text Placeholder 2"/>
          <p:cNvSpPr>
            <a:spLocks noGrp="1"/>
          </p:cNvSpPr>
          <p:nvPr>
            <p:ph type="body" sz="quarter" idx="13" hasCustomPrompt="1"/>
          </p:nvPr>
        </p:nvSpPr>
        <p:spPr>
          <a:xfrm>
            <a:off x="9098549" y="2090693"/>
            <a:ext cx="2672815" cy="3712088"/>
          </a:xfrm>
        </p:spPr>
        <p:txBody>
          <a:bodyPr anchor="t">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0" name="Oval 29"/>
          <p:cNvSpPr/>
          <p:nvPr userDrawn="1"/>
        </p:nvSpPr>
        <p:spPr>
          <a:xfrm>
            <a:off x="1016071" y="571968"/>
            <a:ext cx="1327355" cy="1327355"/>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Oval 30"/>
          <p:cNvSpPr/>
          <p:nvPr userDrawn="1"/>
        </p:nvSpPr>
        <p:spPr>
          <a:xfrm>
            <a:off x="3966704" y="587771"/>
            <a:ext cx="1327355" cy="1327355"/>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Oval 31"/>
          <p:cNvSpPr/>
          <p:nvPr userDrawn="1"/>
        </p:nvSpPr>
        <p:spPr>
          <a:xfrm>
            <a:off x="6782063" y="543527"/>
            <a:ext cx="1327355" cy="1327355"/>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Oval 32"/>
          <p:cNvSpPr/>
          <p:nvPr userDrawn="1"/>
        </p:nvSpPr>
        <p:spPr>
          <a:xfrm>
            <a:off x="9795572" y="573039"/>
            <a:ext cx="1327355" cy="1327355"/>
          </a:xfrm>
          <a:prstGeom prst="ellips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3" name="Group 12">
            <a:extLst>
              <a:ext uri="{FF2B5EF4-FFF2-40B4-BE49-F238E27FC236}">
                <a16:creationId xmlns:a16="http://schemas.microsoft.com/office/drawing/2014/main" xmlns="" id="{5F027659-0F67-374E-9B5B-7757D16E8696}"/>
              </a:ext>
            </a:extLst>
          </p:cNvPr>
          <p:cNvGrpSpPr/>
          <p:nvPr userDrawn="1"/>
        </p:nvGrpSpPr>
        <p:grpSpPr>
          <a:xfrm>
            <a:off x="5518067" y="6320337"/>
            <a:ext cx="2312384" cy="332623"/>
            <a:chOff x="10743787" y="6308250"/>
            <a:chExt cx="1112954" cy="572290"/>
          </a:xfrm>
        </p:grpSpPr>
        <p:sp>
          <p:nvSpPr>
            <p:cNvPr id="14" name="テキスト プレースホルダー 36">
              <a:extLst>
                <a:ext uri="{FF2B5EF4-FFF2-40B4-BE49-F238E27FC236}">
                  <a16:creationId xmlns:a16="http://schemas.microsoft.com/office/drawing/2014/main" xmlns="" id="{535210E2-33C0-E547-812F-8F5B6534A584}"/>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a:extLst>
                <a:ext uri="{FF2B5EF4-FFF2-40B4-BE49-F238E27FC236}">
                  <a16:creationId xmlns:a16="http://schemas.microsoft.com/office/drawing/2014/main" xmlns="" id="{042B36FA-511B-4140-9958-1328E9BFD5DE}"/>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3" name="Picture 22">
            <a:extLst>
              <a:ext uri="{FF2B5EF4-FFF2-40B4-BE49-F238E27FC236}">
                <a16:creationId xmlns:a16="http://schemas.microsoft.com/office/drawing/2014/main" xmlns="" id="{CBB772CA-66A6-4B48-A303-A5BA4C96060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 with icons slide">
    <p:spTree>
      <p:nvGrpSpPr>
        <p:cNvPr id="1" name=""/>
        <p:cNvGrpSpPr/>
        <p:nvPr/>
      </p:nvGrpSpPr>
      <p:grpSpPr>
        <a:xfrm>
          <a:off x="0" y="0"/>
          <a:ext cx="0" cy="0"/>
          <a:chOff x="0" y="0"/>
          <a:chExt cx="0" cy="0"/>
        </a:xfrm>
      </p:grpSpPr>
      <p:sp>
        <p:nvSpPr>
          <p:cNvPr id="12" name="Rectangle 11"/>
          <p:cNvSpPr/>
          <p:nvPr userDrawn="1"/>
        </p:nvSpPr>
        <p:spPr>
          <a:xfrm>
            <a:off x="0" y="0"/>
            <a:ext cx="12192000" cy="272845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8" name="Text Placeholder 23"/>
          <p:cNvSpPr>
            <a:spLocks noGrp="1"/>
          </p:cNvSpPr>
          <p:nvPr>
            <p:ph type="body" sz="quarter" idx="13" hasCustomPrompt="1"/>
          </p:nvPr>
        </p:nvSpPr>
        <p:spPr>
          <a:xfrm>
            <a:off x="0" y="826647"/>
            <a:ext cx="12192000" cy="697353"/>
          </a:xfrm>
        </p:spPr>
        <p:txBody>
          <a:bodyPr>
            <a:normAutofit/>
          </a:bodyPr>
          <a:lstStyle>
            <a:lvl1pPr marL="0" indent="0" algn="ctr">
              <a:buNone/>
              <a:defRPr sz="3600">
                <a:solidFill>
                  <a:schemeClr val="bg1"/>
                </a:solidFill>
                <a:latin typeface="+mn-lt"/>
              </a:defRPr>
            </a:lvl1pPr>
          </a:lstStyle>
          <a:p>
            <a:pPr lvl="0"/>
            <a:r>
              <a:rPr lang="en-GB" dirty="0"/>
              <a:t>TITLE</a:t>
            </a:r>
          </a:p>
        </p:txBody>
      </p:sp>
      <p:sp>
        <p:nvSpPr>
          <p:cNvPr id="22" name="Text Placeholder 23"/>
          <p:cNvSpPr>
            <a:spLocks noGrp="1"/>
          </p:cNvSpPr>
          <p:nvPr>
            <p:ph type="body" sz="quarter" idx="14" hasCustomPrompt="1"/>
          </p:nvPr>
        </p:nvSpPr>
        <p:spPr>
          <a:xfrm>
            <a:off x="684287"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23" name="Text Placeholder 23"/>
          <p:cNvSpPr>
            <a:spLocks noGrp="1"/>
          </p:cNvSpPr>
          <p:nvPr>
            <p:ph type="body" sz="quarter" idx="15" hasCustomPrompt="1"/>
          </p:nvPr>
        </p:nvSpPr>
        <p:spPr>
          <a:xfrm>
            <a:off x="684287"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4" name="Straight Connector 3"/>
          <p:cNvCxnSpPr/>
          <p:nvPr userDrawn="1"/>
        </p:nvCxnSpPr>
        <p:spPr>
          <a:xfrm flipH="1">
            <a:off x="555813"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26" name="Text Placeholder 23"/>
          <p:cNvSpPr>
            <a:spLocks noGrp="1"/>
          </p:cNvSpPr>
          <p:nvPr>
            <p:ph type="body" sz="quarter" idx="16" hasCustomPrompt="1"/>
          </p:nvPr>
        </p:nvSpPr>
        <p:spPr>
          <a:xfrm>
            <a:off x="4512216"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27" name="Text Placeholder 23"/>
          <p:cNvSpPr>
            <a:spLocks noGrp="1"/>
          </p:cNvSpPr>
          <p:nvPr>
            <p:ph type="body" sz="quarter" idx="17" hasCustomPrompt="1"/>
          </p:nvPr>
        </p:nvSpPr>
        <p:spPr>
          <a:xfrm>
            <a:off x="4512216"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28" name="Straight Connector 27"/>
          <p:cNvCxnSpPr/>
          <p:nvPr userDrawn="1"/>
        </p:nvCxnSpPr>
        <p:spPr>
          <a:xfrm flipH="1">
            <a:off x="4383742"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30" name="Text Placeholder 23"/>
          <p:cNvSpPr>
            <a:spLocks noGrp="1"/>
          </p:cNvSpPr>
          <p:nvPr>
            <p:ph type="body" sz="quarter" idx="18" hasCustomPrompt="1"/>
          </p:nvPr>
        </p:nvSpPr>
        <p:spPr>
          <a:xfrm>
            <a:off x="8228086"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31" name="Text Placeholder 23"/>
          <p:cNvSpPr>
            <a:spLocks noGrp="1"/>
          </p:cNvSpPr>
          <p:nvPr>
            <p:ph type="body" sz="quarter" idx="19" hasCustomPrompt="1"/>
          </p:nvPr>
        </p:nvSpPr>
        <p:spPr>
          <a:xfrm>
            <a:off x="8228086"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35" name="Straight Connector 34"/>
          <p:cNvCxnSpPr/>
          <p:nvPr userDrawn="1"/>
        </p:nvCxnSpPr>
        <p:spPr>
          <a:xfrm flipH="1">
            <a:off x="8099612"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34" name="Oval 33"/>
          <p:cNvSpPr/>
          <p:nvPr userDrawn="1"/>
        </p:nvSpPr>
        <p:spPr>
          <a:xfrm>
            <a:off x="1838368" y="2017629"/>
            <a:ext cx="1075289" cy="1075289"/>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Oval 35"/>
          <p:cNvSpPr/>
          <p:nvPr userDrawn="1"/>
        </p:nvSpPr>
        <p:spPr>
          <a:xfrm>
            <a:off x="5641642" y="2017629"/>
            <a:ext cx="1075289" cy="1075289"/>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Oval 36"/>
          <p:cNvSpPr/>
          <p:nvPr userDrawn="1"/>
        </p:nvSpPr>
        <p:spPr>
          <a:xfrm>
            <a:off x="9394856" y="2017628"/>
            <a:ext cx="1075289" cy="1075289"/>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1" name="Group 20">
            <a:extLst>
              <a:ext uri="{FF2B5EF4-FFF2-40B4-BE49-F238E27FC236}">
                <a16:creationId xmlns:a16="http://schemas.microsoft.com/office/drawing/2014/main" xmlns="" id="{6A1ACCDE-2F4A-624D-AD12-41160F8A718A}"/>
              </a:ext>
            </a:extLst>
          </p:cNvPr>
          <p:cNvGrpSpPr/>
          <p:nvPr userDrawn="1"/>
        </p:nvGrpSpPr>
        <p:grpSpPr>
          <a:xfrm>
            <a:off x="5518067" y="6320337"/>
            <a:ext cx="2312384" cy="332623"/>
            <a:chOff x="10743787" y="6308250"/>
            <a:chExt cx="1112954" cy="572290"/>
          </a:xfrm>
        </p:grpSpPr>
        <p:sp>
          <p:nvSpPr>
            <p:cNvPr id="24" name="テキスト プレースホルダー 36">
              <a:extLst>
                <a:ext uri="{FF2B5EF4-FFF2-40B4-BE49-F238E27FC236}">
                  <a16:creationId xmlns:a16="http://schemas.microsoft.com/office/drawing/2014/main" xmlns="" id="{D6526A23-8572-5F42-9B8E-C5D6473D2803}"/>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5" name="テキスト プレースホルダー 36">
              <a:extLst>
                <a:ext uri="{FF2B5EF4-FFF2-40B4-BE49-F238E27FC236}">
                  <a16:creationId xmlns:a16="http://schemas.microsoft.com/office/drawing/2014/main" xmlns="" id="{B7D8282B-898E-0B47-BF0F-CFC46DE69B6B}"/>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B8479BF6-3A9A-2F42-84AD-58F514B47D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bullets slide">
    <p:spTree>
      <p:nvGrpSpPr>
        <p:cNvPr id="1" name=""/>
        <p:cNvGrpSpPr/>
        <p:nvPr/>
      </p:nvGrpSpPr>
      <p:grpSpPr>
        <a:xfrm>
          <a:off x="0" y="0"/>
          <a:ext cx="0" cy="0"/>
          <a:chOff x="0" y="0"/>
          <a:chExt cx="0" cy="0"/>
        </a:xfrm>
      </p:grpSpPr>
      <p:sp>
        <p:nvSpPr>
          <p:cNvPr id="34" name="Rectangle 33"/>
          <p:cNvSpPr/>
          <p:nvPr userDrawn="1"/>
        </p:nvSpPr>
        <p:spPr>
          <a:xfrm>
            <a:off x="4903304" y="1126433"/>
            <a:ext cx="7288696" cy="1302295"/>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Rectangle 35"/>
          <p:cNvSpPr/>
          <p:nvPr userDrawn="1"/>
        </p:nvSpPr>
        <p:spPr>
          <a:xfrm>
            <a:off x="4903304" y="2749824"/>
            <a:ext cx="7288696" cy="1302295"/>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36"/>
          <p:cNvSpPr/>
          <p:nvPr userDrawn="1"/>
        </p:nvSpPr>
        <p:spPr>
          <a:xfrm>
            <a:off x="4903304" y="4373215"/>
            <a:ext cx="7288696" cy="1302295"/>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8" name="Straight Connector 37"/>
          <p:cNvCxnSpPr/>
          <p:nvPr userDrawn="1"/>
        </p:nvCxnSpPr>
        <p:spPr>
          <a:xfrm>
            <a:off x="6175512" y="1223543"/>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a:off x="6175512" y="2852059"/>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a:off x="6175512" y="4496389"/>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Picture 40"/>
          <p:cNvPicPr>
            <a:picLocks noChangeAspect="1"/>
          </p:cNvPicPr>
          <p:nvPr userDrawn="1"/>
        </p:nvPicPr>
        <p:blipFill rotWithShape="1">
          <a:blip r:embed="rId2">
            <a:extLst>
              <a:ext uri="{28A0092B-C50C-407E-A947-70E740481C1C}">
                <a14:useLocalDpi xmlns:a14="http://schemas.microsoft.com/office/drawing/2010/main" val="0"/>
              </a:ext>
            </a:extLst>
          </a:blip>
          <a:srcRect l="29694" t="6763" r="13475" b="6473"/>
          <a:stretch/>
        </p:blipFill>
        <p:spPr>
          <a:xfrm>
            <a:off x="3954456" y="677649"/>
            <a:ext cx="1176669" cy="5446643"/>
          </a:xfrm>
          <a:prstGeom prst="rect">
            <a:avLst/>
          </a:prstGeom>
        </p:spPr>
      </p:pic>
      <p:sp>
        <p:nvSpPr>
          <p:cNvPr id="42" name="Text Placeholder 23"/>
          <p:cNvSpPr>
            <a:spLocks noGrp="1"/>
          </p:cNvSpPr>
          <p:nvPr>
            <p:ph type="body" sz="quarter" idx="13" hasCustomPrompt="1"/>
          </p:nvPr>
        </p:nvSpPr>
        <p:spPr>
          <a:xfrm>
            <a:off x="643223" y="1079254"/>
            <a:ext cx="3821205" cy="697353"/>
          </a:xfrm>
        </p:spPr>
        <p:txBody>
          <a:bodyPr>
            <a:normAutofit/>
          </a:bodyPr>
          <a:lstStyle>
            <a:lvl1pPr marL="0" indent="0" algn="l">
              <a:buNone/>
              <a:defRPr sz="3600">
                <a:solidFill>
                  <a:srgbClr val="003841"/>
                </a:solidFill>
                <a:latin typeface="+mn-lt"/>
              </a:defRPr>
            </a:lvl1pPr>
          </a:lstStyle>
          <a:p>
            <a:pPr lvl="0"/>
            <a:r>
              <a:rPr lang="en-GB" dirty="0"/>
              <a:t>TITLE</a:t>
            </a:r>
          </a:p>
        </p:txBody>
      </p:sp>
      <p:sp>
        <p:nvSpPr>
          <p:cNvPr id="43" name="Text Placeholder 25"/>
          <p:cNvSpPr>
            <a:spLocks noGrp="1"/>
          </p:cNvSpPr>
          <p:nvPr>
            <p:ph type="body" sz="quarter" idx="14" hasCustomPrompt="1"/>
          </p:nvPr>
        </p:nvSpPr>
        <p:spPr>
          <a:xfrm>
            <a:off x="643223" y="2087287"/>
            <a:ext cx="3821205" cy="3642009"/>
          </a:xfrm>
        </p:spPr>
        <p:txBody>
          <a:bodyPr>
            <a:noAutofit/>
          </a:bodyPr>
          <a:lstStyle>
            <a:lvl1pPr marL="0" indent="0" algn="l">
              <a:buNone/>
              <a:defRPr sz="3000">
                <a:solidFill>
                  <a:srgbClr val="00384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sp>
        <p:nvSpPr>
          <p:cNvPr id="44" name="Text Placeholder 23"/>
          <p:cNvSpPr>
            <a:spLocks noGrp="1"/>
          </p:cNvSpPr>
          <p:nvPr>
            <p:ph type="body" sz="quarter" idx="15" hasCustomPrompt="1"/>
          </p:nvPr>
        </p:nvSpPr>
        <p:spPr>
          <a:xfrm>
            <a:off x="4975024" y="1126433"/>
            <a:ext cx="1176670" cy="1292995"/>
          </a:xfrm>
        </p:spPr>
        <p:txBody>
          <a:bodyPr anchor="ctr">
            <a:normAutofit/>
          </a:bodyPr>
          <a:lstStyle>
            <a:lvl1pPr marL="0" indent="0" algn="ctr">
              <a:buNone/>
              <a:defRPr sz="4800">
                <a:solidFill>
                  <a:schemeClr val="bg1"/>
                </a:solidFill>
                <a:latin typeface="+mn-lt"/>
              </a:defRPr>
            </a:lvl1pPr>
          </a:lstStyle>
          <a:p>
            <a:pPr lvl="0"/>
            <a:r>
              <a:rPr lang="en-GB" dirty="0"/>
              <a:t>01</a:t>
            </a:r>
          </a:p>
        </p:txBody>
      </p:sp>
      <p:sp>
        <p:nvSpPr>
          <p:cNvPr id="45" name="Text Placeholder 2"/>
          <p:cNvSpPr>
            <a:spLocks noGrp="1"/>
          </p:cNvSpPr>
          <p:nvPr>
            <p:ph type="body" sz="quarter" idx="12" hasCustomPrompt="1"/>
          </p:nvPr>
        </p:nvSpPr>
        <p:spPr>
          <a:xfrm>
            <a:off x="6271051" y="1126433"/>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cxnSp>
        <p:nvCxnSpPr>
          <p:cNvPr id="51" name="Straight Connector 50"/>
          <p:cNvCxnSpPr/>
          <p:nvPr userDrawn="1"/>
        </p:nvCxnSpPr>
        <p:spPr>
          <a:xfrm>
            <a:off x="417209" y="1920386"/>
            <a:ext cx="42875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52" name="Text Placeholder 23"/>
          <p:cNvSpPr>
            <a:spLocks noGrp="1"/>
          </p:cNvSpPr>
          <p:nvPr>
            <p:ph type="body" sz="quarter" idx="16" hasCustomPrompt="1"/>
          </p:nvPr>
        </p:nvSpPr>
        <p:spPr>
          <a:xfrm>
            <a:off x="4998842" y="2740524"/>
            <a:ext cx="1176670" cy="1292995"/>
          </a:xfrm>
        </p:spPr>
        <p:txBody>
          <a:bodyPr anchor="ctr">
            <a:normAutofit/>
          </a:bodyPr>
          <a:lstStyle>
            <a:lvl1pPr marL="0" indent="0" algn="ctr">
              <a:buNone/>
              <a:defRPr sz="4800">
                <a:solidFill>
                  <a:schemeClr val="bg1"/>
                </a:solidFill>
                <a:latin typeface="+mn-lt"/>
              </a:defRPr>
            </a:lvl1pPr>
          </a:lstStyle>
          <a:p>
            <a:pPr lvl="0"/>
            <a:r>
              <a:rPr lang="en-GB" dirty="0"/>
              <a:t>02</a:t>
            </a:r>
          </a:p>
        </p:txBody>
      </p:sp>
      <p:sp>
        <p:nvSpPr>
          <p:cNvPr id="53" name="Text Placeholder 2"/>
          <p:cNvSpPr>
            <a:spLocks noGrp="1"/>
          </p:cNvSpPr>
          <p:nvPr>
            <p:ph type="body" sz="quarter" idx="17" hasCustomPrompt="1"/>
          </p:nvPr>
        </p:nvSpPr>
        <p:spPr>
          <a:xfrm>
            <a:off x="6294869" y="2740524"/>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54" name="Text Placeholder 23"/>
          <p:cNvSpPr>
            <a:spLocks noGrp="1"/>
          </p:cNvSpPr>
          <p:nvPr>
            <p:ph type="body" sz="quarter" idx="18" hasCustomPrompt="1"/>
          </p:nvPr>
        </p:nvSpPr>
        <p:spPr>
          <a:xfrm>
            <a:off x="4968894" y="4387646"/>
            <a:ext cx="1176670" cy="1292995"/>
          </a:xfrm>
        </p:spPr>
        <p:txBody>
          <a:bodyPr anchor="ctr">
            <a:normAutofit/>
          </a:bodyPr>
          <a:lstStyle>
            <a:lvl1pPr marL="0" indent="0" algn="ctr">
              <a:buNone/>
              <a:defRPr sz="4800">
                <a:solidFill>
                  <a:schemeClr val="bg1"/>
                </a:solidFill>
                <a:latin typeface="+mn-lt"/>
              </a:defRPr>
            </a:lvl1pPr>
          </a:lstStyle>
          <a:p>
            <a:pPr lvl="0"/>
            <a:r>
              <a:rPr lang="en-GB" dirty="0"/>
              <a:t>03</a:t>
            </a:r>
          </a:p>
        </p:txBody>
      </p:sp>
      <p:sp>
        <p:nvSpPr>
          <p:cNvPr id="55" name="Text Placeholder 2"/>
          <p:cNvSpPr>
            <a:spLocks noGrp="1"/>
          </p:cNvSpPr>
          <p:nvPr>
            <p:ph type="body" sz="quarter" idx="19" hasCustomPrompt="1"/>
          </p:nvPr>
        </p:nvSpPr>
        <p:spPr>
          <a:xfrm>
            <a:off x="6264921" y="4387646"/>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grpSp>
        <p:nvGrpSpPr>
          <p:cNvPr id="25" name="Group 24">
            <a:extLst>
              <a:ext uri="{FF2B5EF4-FFF2-40B4-BE49-F238E27FC236}">
                <a16:creationId xmlns:a16="http://schemas.microsoft.com/office/drawing/2014/main" xmlns="" id="{989948AA-CBBD-C14B-92BE-5E35489505DE}"/>
              </a:ext>
            </a:extLst>
          </p:cNvPr>
          <p:cNvGrpSpPr/>
          <p:nvPr userDrawn="1"/>
        </p:nvGrpSpPr>
        <p:grpSpPr>
          <a:xfrm>
            <a:off x="1333695" y="6201410"/>
            <a:ext cx="2312384" cy="332623"/>
            <a:chOff x="10743787" y="6308250"/>
            <a:chExt cx="1112954" cy="572290"/>
          </a:xfrm>
        </p:grpSpPr>
        <p:sp>
          <p:nvSpPr>
            <p:cNvPr id="26" name="テキスト プレースホルダー 36">
              <a:extLst>
                <a:ext uri="{FF2B5EF4-FFF2-40B4-BE49-F238E27FC236}">
                  <a16:creationId xmlns:a16="http://schemas.microsoft.com/office/drawing/2014/main" xmlns="" id="{4462787E-418A-9941-9477-9D876104E4E0}"/>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7" name="テキスト プレースホルダー 36">
              <a:extLst>
                <a:ext uri="{FF2B5EF4-FFF2-40B4-BE49-F238E27FC236}">
                  <a16:creationId xmlns:a16="http://schemas.microsoft.com/office/drawing/2014/main" xmlns="" id="{E9375A0E-E034-AE4E-8CEA-0882FAE0CF15}"/>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8" name="Picture 27">
            <a:extLst>
              <a:ext uri="{FF2B5EF4-FFF2-40B4-BE49-F238E27FC236}">
                <a16:creationId xmlns:a16="http://schemas.microsoft.com/office/drawing/2014/main" xmlns="" id="{75FF4D26-5450-AF43-B106-5549C62527F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ptop slide 1">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8387" t="10823" r="9307" b="5574"/>
          <a:stretch/>
        </p:blipFill>
        <p:spPr>
          <a:xfrm>
            <a:off x="2000190" y="1447737"/>
            <a:ext cx="7941283" cy="4839954"/>
          </a:xfrm>
          <a:prstGeom prst="rect">
            <a:avLst/>
          </a:prstGeom>
        </p:spPr>
      </p:pic>
      <p:sp>
        <p:nvSpPr>
          <p:cNvPr id="25" name="Text Placeholder 23"/>
          <p:cNvSpPr>
            <a:spLocks noGrp="1"/>
          </p:cNvSpPr>
          <p:nvPr>
            <p:ph type="body" sz="quarter" idx="13" hasCustomPrompt="1"/>
          </p:nvPr>
        </p:nvSpPr>
        <p:spPr>
          <a:xfrm>
            <a:off x="0" y="213464"/>
            <a:ext cx="12192000" cy="704485"/>
          </a:xfrm>
        </p:spPr>
        <p:txBody>
          <a:bodyPr>
            <a:normAutofit/>
          </a:bodyPr>
          <a:lstStyle>
            <a:lvl1pPr marL="0" indent="0" algn="ctr">
              <a:buNone/>
              <a:defRPr sz="3600">
                <a:solidFill>
                  <a:srgbClr val="245473"/>
                </a:solidFill>
                <a:latin typeface="+mn-lt"/>
              </a:defRPr>
            </a:lvl1pPr>
          </a:lstStyle>
          <a:p>
            <a:pPr lvl="0"/>
            <a:r>
              <a:rPr lang="en-GB" dirty="0"/>
              <a:t>TITLE</a:t>
            </a:r>
          </a:p>
        </p:txBody>
      </p:sp>
      <p:sp>
        <p:nvSpPr>
          <p:cNvPr id="26" name="Text Placeholder 25"/>
          <p:cNvSpPr>
            <a:spLocks noGrp="1"/>
          </p:cNvSpPr>
          <p:nvPr>
            <p:ph type="body" sz="quarter" idx="14" hasCustomPrompt="1"/>
          </p:nvPr>
        </p:nvSpPr>
        <p:spPr>
          <a:xfrm>
            <a:off x="0" y="1045042"/>
            <a:ext cx="12192000" cy="590599"/>
          </a:xfrm>
        </p:spPr>
        <p:txBody>
          <a:bodyPr>
            <a:noAutofit/>
          </a:bodyPr>
          <a:lstStyle>
            <a:lvl1pPr marL="0" indent="0" algn="ctr">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cxnSp>
        <p:nvCxnSpPr>
          <p:cNvPr id="27" name="Straight Connector 26"/>
          <p:cNvCxnSpPr/>
          <p:nvPr userDrawn="1"/>
        </p:nvCxnSpPr>
        <p:spPr>
          <a:xfrm flipH="1">
            <a:off x="280404" y="945173"/>
            <a:ext cx="116231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8" name="Picture Placeholder 7"/>
          <p:cNvSpPr>
            <a:spLocks noGrp="1"/>
          </p:cNvSpPr>
          <p:nvPr>
            <p:ph type="pic" sz="quarter" idx="15" hasCustomPrompt="1"/>
          </p:nvPr>
        </p:nvSpPr>
        <p:spPr>
          <a:xfrm>
            <a:off x="3184071" y="1893434"/>
            <a:ext cx="5665788" cy="3478212"/>
          </a:xfrm>
          <a:prstGeom prst="rect">
            <a:avLst/>
          </a:prstGeom>
        </p:spPr>
        <p:txBody>
          <a:bodyPr anchor="t"/>
          <a:lstStyle>
            <a:lvl1pPr marL="228600" marR="0" indent="-228600" algn="ctr" defTabSz="914400" rtl="0" eaLnBrk="1" fontAlgn="auto" latinLnBrk="0" hangingPunct="1">
              <a:lnSpc>
                <a:spcPct val="90000"/>
              </a:lnSpc>
              <a:spcBef>
                <a:spcPts val="1000"/>
              </a:spcBef>
              <a:spcAft>
                <a:spcPts val="0"/>
              </a:spcAft>
              <a:buClrTx/>
              <a:buSzTx/>
              <a:buFont typeface="Arial"/>
              <a:buNone/>
              <a:tabLst/>
              <a:defRPr baseline="0">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a:t>
            </a:r>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endParaRPr lang="en-GB" dirty="0"/>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Click here  to add photo</a:t>
            </a:r>
          </a:p>
        </p:txBody>
      </p:sp>
      <p:grpSp>
        <p:nvGrpSpPr>
          <p:cNvPr id="11" name="Group 10">
            <a:extLst>
              <a:ext uri="{FF2B5EF4-FFF2-40B4-BE49-F238E27FC236}">
                <a16:creationId xmlns:a16="http://schemas.microsoft.com/office/drawing/2014/main" xmlns="" id="{E0A6F1FA-0C26-DC41-8655-91FA123EECE6}"/>
              </a:ext>
            </a:extLst>
          </p:cNvPr>
          <p:cNvGrpSpPr/>
          <p:nvPr userDrawn="1"/>
        </p:nvGrpSpPr>
        <p:grpSpPr>
          <a:xfrm>
            <a:off x="5518067" y="6320337"/>
            <a:ext cx="2312384" cy="332623"/>
            <a:chOff x="10743787" y="6308250"/>
            <a:chExt cx="1112954" cy="572290"/>
          </a:xfrm>
        </p:grpSpPr>
        <p:sp>
          <p:nvSpPr>
            <p:cNvPr id="12" name="テキスト プレースホルダー 36">
              <a:extLst>
                <a:ext uri="{FF2B5EF4-FFF2-40B4-BE49-F238E27FC236}">
                  <a16:creationId xmlns:a16="http://schemas.microsoft.com/office/drawing/2014/main" xmlns="" id="{57D96B86-6B0A-6C48-9117-F9878D3E8229}"/>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3" name="テキスト プレースホルダー 36">
              <a:extLst>
                <a:ext uri="{FF2B5EF4-FFF2-40B4-BE49-F238E27FC236}">
                  <a16:creationId xmlns:a16="http://schemas.microsoft.com/office/drawing/2014/main" xmlns="" id="{C342E5B8-E967-FE44-A3B4-8715184E25C1}"/>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4" name="Picture 13">
            <a:extLst>
              <a:ext uri="{FF2B5EF4-FFF2-40B4-BE49-F238E27FC236}">
                <a16:creationId xmlns:a16="http://schemas.microsoft.com/office/drawing/2014/main" xmlns="" id="{63E8915E-46EB-7448-8184-ECBF4290DFB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ptop slide 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8387" t="10823" r="49050" b="5574"/>
          <a:stretch/>
        </p:blipFill>
        <p:spPr>
          <a:xfrm>
            <a:off x="7429500" y="740153"/>
            <a:ext cx="4762500" cy="5612853"/>
          </a:xfrm>
          <a:prstGeom prst="rect">
            <a:avLst/>
          </a:prstGeom>
        </p:spPr>
      </p:pic>
      <p:cxnSp>
        <p:nvCxnSpPr>
          <p:cNvPr id="27" name="Straight Connector 26"/>
          <p:cNvCxnSpPr/>
          <p:nvPr userDrawn="1"/>
        </p:nvCxnSpPr>
        <p:spPr>
          <a:xfrm flipH="1">
            <a:off x="378379" y="1908558"/>
            <a:ext cx="6789867"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8" name="Picture Placeholder 7"/>
          <p:cNvSpPr>
            <a:spLocks noGrp="1"/>
          </p:cNvSpPr>
          <p:nvPr>
            <p:ph type="pic" sz="quarter" idx="15" hasCustomPrompt="1"/>
          </p:nvPr>
        </p:nvSpPr>
        <p:spPr>
          <a:xfrm>
            <a:off x="8802435" y="1223694"/>
            <a:ext cx="3389565" cy="4033653"/>
          </a:xfrm>
          <a:prstGeom prst="rect">
            <a:avLst/>
          </a:prstGeom>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charset="0"/>
              <a:buNone/>
              <a:tabLst/>
              <a:defRPr sz="2400" baseline="0">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GB" dirty="0"/>
              <a:t>Click here to add photo</a:t>
            </a:r>
          </a:p>
        </p:txBody>
      </p:sp>
      <p:sp>
        <p:nvSpPr>
          <p:cNvPr id="9" name="Text Placeholder 23"/>
          <p:cNvSpPr>
            <a:spLocks noGrp="1"/>
          </p:cNvSpPr>
          <p:nvPr>
            <p:ph type="body" sz="quarter" idx="16" hasCustomPrompt="1"/>
          </p:nvPr>
        </p:nvSpPr>
        <p:spPr>
          <a:xfrm>
            <a:off x="643223" y="1079254"/>
            <a:ext cx="6361734"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0" name="Text Placeholder 25"/>
          <p:cNvSpPr>
            <a:spLocks noGrp="1"/>
          </p:cNvSpPr>
          <p:nvPr>
            <p:ph type="body" sz="quarter" idx="17" hasCustomPrompt="1"/>
          </p:nvPr>
        </p:nvSpPr>
        <p:spPr>
          <a:xfrm>
            <a:off x="643223" y="2087287"/>
            <a:ext cx="6361734" cy="3642009"/>
          </a:xfrm>
        </p:spPr>
        <p:txBody>
          <a:bodyPr>
            <a:noAutofit/>
          </a:bodyPr>
          <a:lstStyle>
            <a:lvl1pPr marL="0" indent="0" algn="l">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grpSp>
        <p:nvGrpSpPr>
          <p:cNvPr id="15" name="Group 14">
            <a:extLst>
              <a:ext uri="{FF2B5EF4-FFF2-40B4-BE49-F238E27FC236}">
                <a16:creationId xmlns:a16="http://schemas.microsoft.com/office/drawing/2014/main" xmlns="" id="{DD0BC517-456F-7141-A924-632CB3E2CFCF}"/>
              </a:ext>
            </a:extLst>
          </p:cNvPr>
          <p:cNvGrpSpPr/>
          <p:nvPr userDrawn="1"/>
        </p:nvGrpSpPr>
        <p:grpSpPr>
          <a:xfrm>
            <a:off x="1333695" y="6201410"/>
            <a:ext cx="2312384" cy="332623"/>
            <a:chOff x="10743787" y="6308250"/>
            <a:chExt cx="1112954" cy="572290"/>
          </a:xfrm>
        </p:grpSpPr>
        <p:sp>
          <p:nvSpPr>
            <p:cNvPr id="16" name="テキスト プレースホルダー 36">
              <a:extLst>
                <a:ext uri="{FF2B5EF4-FFF2-40B4-BE49-F238E27FC236}">
                  <a16:creationId xmlns:a16="http://schemas.microsoft.com/office/drawing/2014/main" xmlns="" id="{0320CDBB-83D1-8448-943D-2ABED1F37747}"/>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a:extLst>
                <a:ext uri="{FF2B5EF4-FFF2-40B4-BE49-F238E27FC236}">
                  <a16:creationId xmlns:a16="http://schemas.microsoft.com/office/drawing/2014/main" xmlns="" id="{17899FB0-757D-A14A-93A5-73888B0D1B0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8" name="Picture 17">
            <a:extLst>
              <a:ext uri="{FF2B5EF4-FFF2-40B4-BE49-F238E27FC236}">
                <a16:creationId xmlns:a16="http://schemas.microsoft.com/office/drawing/2014/main" xmlns="" id="{F57E134D-C955-264C-925F-9CA3130C061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ne Slide 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3425" t="-1173" r="6562" b="12394"/>
          <a:stretch/>
        </p:blipFill>
        <p:spPr>
          <a:xfrm>
            <a:off x="2449287" y="1355271"/>
            <a:ext cx="9742714" cy="5502729"/>
          </a:xfrm>
          <a:prstGeom prst="rect">
            <a:avLst/>
          </a:prstGeom>
        </p:spPr>
      </p:pic>
      <p:sp>
        <p:nvSpPr>
          <p:cNvPr id="6" name="Picture Placeholder 5"/>
          <p:cNvSpPr>
            <a:spLocks noGrp="1"/>
          </p:cNvSpPr>
          <p:nvPr>
            <p:ph type="pic" sz="quarter" idx="18" hasCustomPrompt="1"/>
          </p:nvPr>
        </p:nvSpPr>
        <p:spPr>
          <a:xfrm>
            <a:off x="3731480" y="2335213"/>
            <a:ext cx="4098925" cy="2628900"/>
          </a:xfrm>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charset="0"/>
              <a:buNone/>
              <a:tabLst/>
              <a:defRPr sz="2400" baseline="0">
                <a:solidFill>
                  <a:schemeClr val="bg1">
                    <a:lumMod val="50000"/>
                  </a:schemeClr>
                </a:solidFill>
              </a:defRPr>
            </a:lvl1pPr>
          </a:lstStyle>
          <a:p>
            <a:r>
              <a:rPr lang="en-GB" dirty="0"/>
              <a:t>Click here to add photo</a:t>
            </a:r>
          </a:p>
        </p:txBody>
      </p:sp>
      <p:sp>
        <p:nvSpPr>
          <p:cNvPr id="14" name="Text Placeholder 23"/>
          <p:cNvSpPr>
            <a:spLocks noGrp="1"/>
          </p:cNvSpPr>
          <p:nvPr>
            <p:ph type="body" sz="quarter" idx="13" hasCustomPrompt="1"/>
          </p:nvPr>
        </p:nvSpPr>
        <p:spPr>
          <a:xfrm>
            <a:off x="0" y="213464"/>
            <a:ext cx="12192000" cy="612789"/>
          </a:xfrm>
        </p:spPr>
        <p:txBody>
          <a:bodyPr>
            <a:normAutofit/>
          </a:bodyPr>
          <a:lstStyle>
            <a:lvl1pPr marL="0" indent="0" algn="ctr">
              <a:buNone/>
              <a:defRPr sz="3600">
                <a:solidFill>
                  <a:srgbClr val="245473"/>
                </a:solidFill>
                <a:latin typeface="+mn-lt"/>
              </a:defRPr>
            </a:lvl1pPr>
          </a:lstStyle>
          <a:p>
            <a:pPr lvl="0"/>
            <a:r>
              <a:rPr lang="en-GB" dirty="0"/>
              <a:t>TITLE</a:t>
            </a:r>
          </a:p>
        </p:txBody>
      </p:sp>
      <p:cxnSp>
        <p:nvCxnSpPr>
          <p:cNvPr id="15" name="Straight Connector 14"/>
          <p:cNvCxnSpPr/>
          <p:nvPr userDrawn="1"/>
        </p:nvCxnSpPr>
        <p:spPr>
          <a:xfrm flipH="1">
            <a:off x="280404" y="945173"/>
            <a:ext cx="116231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xmlns="" id="{D50C09CE-150B-1545-834E-9F744082CCBD}"/>
              </a:ext>
            </a:extLst>
          </p:cNvPr>
          <p:cNvGrpSpPr/>
          <p:nvPr userDrawn="1"/>
        </p:nvGrpSpPr>
        <p:grpSpPr>
          <a:xfrm>
            <a:off x="1333695" y="6201410"/>
            <a:ext cx="2312384" cy="332623"/>
            <a:chOff x="10743787" y="6308250"/>
            <a:chExt cx="1112954" cy="572290"/>
          </a:xfrm>
        </p:grpSpPr>
        <p:sp>
          <p:nvSpPr>
            <p:cNvPr id="20" name="テキスト プレースホルダー 36">
              <a:extLst>
                <a:ext uri="{FF2B5EF4-FFF2-40B4-BE49-F238E27FC236}">
                  <a16:creationId xmlns:a16="http://schemas.microsoft.com/office/drawing/2014/main" xmlns="" id="{54145B1F-2E18-004B-95E2-AA351E7F2683}"/>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1" name="テキスト プレースホルダー 36">
              <a:extLst>
                <a:ext uri="{FF2B5EF4-FFF2-40B4-BE49-F238E27FC236}">
                  <a16:creationId xmlns:a16="http://schemas.microsoft.com/office/drawing/2014/main" xmlns="" id="{E7BCCF47-B227-444D-8FAF-446A6A1B2A31}"/>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2" name="Picture 21">
            <a:extLst>
              <a:ext uri="{FF2B5EF4-FFF2-40B4-BE49-F238E27FC236}">
                <a16:creationId xmlns:a16="http://schemas.microsoft.com/office/drawing/2014/main" xmlns="" id="{9ADB7EDC-1B77-1944-9C10-35326A685AB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ne Slid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3454" b="8248"/>
          <a:stretch/>
        </p:blipFill>
        <p:spPr>
          <a:xfrm>
            <a:off x="6890657" y="550299"/>
            <a:ext cx="5479143" cy="6292294"/>
          </a:xfrm>
          <a:prstGeom prst="rect">
            <a:avLst/>
          </a:prstGeom>
        </p:spPr>
      </p:pic>
      <p:sp>
        <p:nvSpPr>
          <p:cNvPr id="7" name="Picture Placeholder 6"/>
          <p:cNvSpPr>
            <a:spLocks noGrp="1"/>
          </p:cNvSpPr>
          <p:nvPr>
            <p:ph type="pic" sz="quarter" idx="14" hasCustomPrompt="1"/>
          </p:nvPr>
        </p:nvSpPr>
        <p:spPr>
          <a:xfrm>
            <a:off x="7754938" y="1192681"/>
            <a:ext cx="2187575" cy="3886200"/>
          </a:xfrm>
        </p:spPr>
        <p:txBody>
          <a:bodyPr/>
          <a:lstStyle>
            <a:lvl1pPr marL="228600" marR="0" indent="-228600" algn="l" defTabSz="914400" rtl="0" eaLnBrk="1" fontAlgn="auto" latinLnBrk="0" hangingPunct="1">
              <a:lnSpc>
                <a:spcPct val="90000"/>
              </a:lnSpc>
              <a:spcBef>
                <a:spcPts val="1000"/>
              </a:spcBef>
              <a:spcAft>
                <a:spcPts val="0"/>
              </a:spcAft>
              <a:buClrTx/>
              <a:buSzTx/>
              <a:buFont typeface="Arial"/>
              <a:buNone/>
              <a:tabLst/>
              <a:defRPr>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a:t>
            </a:r>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Click here to add photo</a:t>
            </a:r>
          </a:p>
        </p:txBody>
      </p:sp>
      <p:cxnSp>
        <p:nvCxnSpPr>
          <p:cNvPr id="11" name="Straight Connector 10"/>
          <p:cNvCxnSpPr/>
          <p:nvPr userDrawn="1"/>
        </p:nvCxnSpPr>
        <p:spPr>
          <a:xfrm flipH="1">
            <a:off x="378380" y="1908558"/>
            <a:ext cx="6348991"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12" name="Text Placeholder 23"/>
          <p:cNvSpPr>
            <a:spLocks noGrp="1"/>
          </p:cNvSpPr>
          <p:nvPr>
            <p:ph type="body" sz="quarter" idx="16" hasCustomPrompt="1"/>
          </p:nvPr>
        </p:nvSpPr>
        <p:spPr>
          <a:xfrm>
            <a:off x="643223" y="1079254"/>
            <a:ext cx="5839220"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3" name="Text Placeholder 25"/>
          <p:cNvSpPr>
            <a:spLocks noGrp="1"/>
          </p:cNvSpPr>
          <p:nvPr>
            <p:ph type="body" sz="quarter" idx="17" hasCustomPrompt="1"/>
          </p:nvPr>
        </p:nvSpPr>
        <p:spPr>
          <a:xfrm>
            <a:off x="643223" y="2087287"/>
            <a:ext cx="5839220" cy="3642009"/>
          </a:xfrm>
        </p:spPr>
        <p:txBody>
          <a:bodyPr>
            <a:noAutofit/>
          </a:bodyPr>
          <a:lstStyle>
            <a:lvl1pPr marL="0" indent="0" algn="l">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grpSp>
        <p:nvGrpSpPr>
          <p:cNvPr id="22" name="Group 21">
            <a:extLst>
              <a:ext uri="{FF2B5EF4-FFF2-40B4-BE49-F238E27FC236}">
                <a16:creationId xmlns:a16="http://schemas.microsoft.com/office/drawing/2014/main" xmlns="" id="{D7E0608D-7566-AA4E-B01B-F061E8FF1E95}"/>
              </a:ext>
            </a:extLst>
          </p:cNvPr>
          <p:cNvGrpSpPr/>
          <p:nvPr userDrawn="1"/>
        </p:nvGrpSpPr>
        <p:grpSpPr>
          <a:xfrm>
            <a:off x="1333695" y="6201410"/>
            <a:ext cx="2312384" cy="332623"/>
            <a:chOff x="10743787" y="6308250"/>
            <a:chExt cx="1112954" cy="572290"/>
          </a:xfrm>
        </p:grpSpPr>
        <p:sp>
          <p:nvSpPr>
            <p:cNvPr id="23" name="テキスト プレースホルダー 36">
              <a:extLst>
                <a:ext uri="{FF2B5EF4-FFF2-40B4-BE49-F238E27FC236}">
                  <a16:creationId xmlns:a16="http://schemas.microsoft.com/office/drawing/2014/main" xmlns="" id="{574E3CAE-CAD4-194A-A3A8-6091ABEC82DD}"/>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4" name="テキスト プレースホルダー 36">
              <a:extLst>
                <a:ext uri="{FF2B5EF4-FFF2-40B4-BE49-F238E27FC236}">
                  <a16:creationId xmlns:a16="http://schemas.microsoft.com/office/drawing/2014/main" xmlns="" id="{284FE727-10B8-7A43-869F-02CC45E0FBB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5" name="Picture 24">
            <a:extLst>
              <a:ext uri="{FF2B5EF4-FFF2-40B4-BE49-F238E27FC236}">
                <a16:creationId xmlns:a16="http://schemas.microsoft.com/office/drawing/2014/main" xmlns="" id="{C3936FA9-2599-7640-9592-1C00528DD49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BA5763-D411-1145-83E7-118049EC73A5}"/>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BC15A9DB-984B-944F-9C8E-0BF708D040D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ADE6CBE0-5135-9F44-B9A4-9CA7133CE8F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C74CC2FB-80EB-0E4D-84DC-81673FFD6828}"/>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CD584732-EEC8-9045-AD29-507893496DC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1F44045B-7DFA-C04A-87DF-48873AEFC44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8354884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6429513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hank you slide">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2CE88D-FD8E-6A43-95C5-FEEDDAD4CFC0}"/>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EC270107-D714-984A-B78D-6D5D8E92608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1BA035E1-930E-4242-8453-44C7EF1C771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819B6A00-DCF0-F548-AED6-00858E3715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BA6B56B6-C64B-C841-8A86-0EA87AB6B4C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D4B7F4EA-A8AA-9641-A0AC-C8108331480B}"/>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8" name="Footer Placeholder 7">
            <a:extLst>
              <a:ext uri="{FF2B5EF4-FFF2-40B4-BE49-F238E27FC236}">
                <a16:creationId xmlns:a16="http://schemas.microsoft.com/office/drawing/2014/main" xmlns="" id="{489B1396-BEB8-5F44-B4B7-95B03C91CA25}"/>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95E22D31-4E0D-4544-BFB1-B9457C13E1D1}"/>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701576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3FE544-4C80-7B44-96E9-4ADB9BE10C3B}"/>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9B7D2C4E-7D50-B34A-9033-7A898ABB4763}"/>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4" name="Footer Placeholder 3">
            <a:extLst>
              <a:ext uri="{FF2B5EF4-FFF2-40B4-BE49-F238E27FC236}">
                <a16:creationId xmlns:a16="http://schemas.microsoft.com/office/drawing/2014/main" xmlns="" id="{BC377F53-16B2-CE48-A39D-79B117A7BB72}"/>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6165EC0B-266D-C84C-9EFA-E1E36EE0A06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41295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EDF764B-30BD-084A-89C4-3B43AFA7F530}"/>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3" name="Footer Placeholder 2">
            <a:extLst>
              <a:ext uri="{FF2B5EF4-FFF2-40B4-BE49-F238E27FC236}">
                <a16:creationId xmlns:a16="http://schemas.microsoft.com/office/drawing/2014/main" xmlns="" id="{D5DA6DF6-0191-7842-A418-E47CF59A33B9}"/>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3B0CF6D1-242D-D24F-88DD-B2CB24605E0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988269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47D433-00C0-794C-829D-4BF1BCEB4E7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8A553621-5B3A-334E-9717-BAED571A3C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D1C969BB-7551-0E4D-8A9B-70A9D8D8D0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6A6CD111-CA57-7F4C-AB0B-2297A99C542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BAC3393A-EAA3-E44E-9344-0E66A475ED0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B389B510-D5C0-C843-9BD0-3580990891B0}"/>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506752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BBD99B-AFF8-A147-AD02-7F9DC677F04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0E7204DC-031B-C745-B04F-3A21C014F6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A037012B-CA4D-1445-8A99-71C4D5D4E6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41AF228C-2122-DA47-9A74-6C165B879241}"/>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8CE4A2CC-5263-6344-9807-0D85DC2A57B3}"/>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0FF4292E-7269-CD47-A7A3-FC88A776F949}"/>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81051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image" Target="../media/image6.emf"/><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vmlDrawing" Target="../drawings/vmlDrawing1.v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oleObject" Target="../embeddings/oleObject1.bin"/><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tags" Target="../tags/tag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86BFC35E-78B8-9C46-80E3-F47CA7B2B7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Haga clic para editar el estilo del título principal </a:t>
            </a:r>
            <a:endParaRPr lang="x-none"/>
          </a:p>
        </p:txBody>
      </p:sp>
      <p:sp>
        <p:nvSpPr>
          <p:cNvPr id="3" name="Text Placeholder 2">
            <a:extLst>
              <a:ext uri="{FF2B5EF4-FFF2-40B4-BE49-F238E27FC236}">
                <a16:creationId xmlns:a16="http://schemas.microsoft.com/office/drawing/2014/main" xmlns="" id="{8684BE66-7EA5-9048-997D-AC374C945A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 </a:t>
            </a:r>
            <a:endParaRPr lang="x-none"/>
          </a:p>
        </p:txBody>
      </p:sp>
      <p:sp>
        <p:nvSpPr>
          <p:cNvPr id="4" name="Date Placeholder 3">
            <a:extLst>
              <a:ext uri="{FF2B5EF4-FFF2-40B4-BE49-F238E27FC236}">
                <a16:creationId xmlns:a16="http://schemas.microsoft.com/office/drawing/2014/main" xmlns="" id="{A9E5B078-C760-144B-90CC-21CAE57DD1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535C08C-A10F-2E43-BC19-CD16158AD1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1D527526-E52E-774F-AB2C-ED0128825D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05E084-90C3-BD4F-804B-4590A0A4DA41}" type="slidenum">
              <a:rPr lang="x-none" smtClean="0"/>
              <a:t>‹#›</a:t>
            </a:fld>
            <a:endParaRPr lang="x-none"/>
          </a:p>
        </p:txBody>
      </p:sp>
    </p:spTree>
    <p:extLst>
      <p:ext uri="{BB962C8B-B14F-4D97-AF65-F5344CB8AC3E}">
        <p14:creationId xmlns:p14="http://schemas.microsoft.com/office/powerpoint/2010/main" val="25278147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D1C3AD27-03AF-4F32-9FA6-4F6362CEADD8}"/>
              </a:ext>
            </a:extLst>
          </p:cNvPr>
          <p:cNvGraphicFramePr>
            <a:graphicFrameLocks noChangeAspect="1"/>
          </p:cNvGraphicFramePr>
          <p:nvPr userDrawn="1">
            <p:custDataLst>
              <p:tags r:id="rId30"/>
            </p:custDataLst>
            <p:extLst>
              <p:ext uri="{D42A27DB-BD31-4B8C-83A1-F6EECF244321}">
                <p14:modId xmlns:p14="http://schemas.microsoft.com/office/powerpoint/2010/main" val="2922986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32" imgW="592" imgH="595" progId="TCLayout.ActiveDocument.1">
                  <p:embed/>
                </p:oleObj>
              </mc:Choice>
              <mc:Fallback>
                <p:oleObj name="think-cell Folie" r:id="rId32" imgW="592" imgH="595" progId="TCLayout.ActiveDocument.1">
                  <p:embed/>
                  <p:pic>
                    <p:nvPicPr>
                      <p:cNvPr id="8" name="Objekt 7" hidden="1">
                        <a:extLst>
                          <a:ext uri="{FF2B5EF4-FFF2-40B4-BE49-F238E27FC236}">
                            <a16:creationId xmlns:a16="http://schemas.microsoft.com/office/drawing/2014/main" xmlns="" id="{D1C3AD27-03AF-4F32-9FA6-4F6362CEADD8}"/>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xmlns="" id="{7F3C3D9B-4C94-4F53-AFA7-4E8D66EBA981}"/>
              </a:ext>
            </a:extLst>
          </p:cNvPr>
          <p:cNvSpPr/>
          <p:nvPr userDrawn="1">
            <p:custDataLst>
              <p:tags r:id="rId3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Haga clic para editar el estilo del título principa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Haga clic para editar los estilos de texto maestro</a:t>
            </a:r>
          </a:p>
          <a:p>
            <a:pPr lvl="1"/>
            <a:r>
              <a:rPr lang="en-US" dirty="0"/>
              <a:t>Segundo nivel</a:t>
            </a:r>
          </a:p>
          <a:p>
            <a:pPr lvl="2"/>
            <a:r>
              <a:rPr lang="en-US" dirty="0"/>
              <a:t>Tercer nivel</a:t>
            </a:r>
          </a:p>
          <a:p>
            <a:pPr lvl="3"/>
            <a:r>
              <a:rPr lang="en-US" dirty="0"/>
              <a:t>Cuarto nivel</a:t>
            </a:r>
          </a:p>
          <a:p>
            <a:pPr lvl="4"/>
            <a:r>
              <a:rPr lang="en-US" dirty="0"/>
              <a:t>Quinto ni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587680-F485-A944-B74B-98B26E054E49}" type="datetimeFigureOut">
              <a:rPr lang="en-US" smtClean="0"/>
              <a:t>4/21/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004C27-DD68-9D4F-8D80-21602C2A289B}" type="slidenum">
              <a:rPr lang="en-US" smtClean="0"/>
              <a:t>‹#›</a:t>
            </a:fld>
            <a:endParaRPr lang="en-US" dirty="0"/>
          </a:p>
        </p:txBody>
      </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sldLayoutIdLst>
    <p:sldLayoutId id="2147483722" r:id="rId1"/>
    <p:sldLayoutId id="2147483760" r:id="rId2"/>
    <p:sldLayoutId id="2147483714" r:id="rId3"/>
    <p:sldLayoutId id="2147483762" r:id="rId4"/>
    <p:sldLayoutId id="2147483767" r:id="rId5"/>
    <p:sldLayoutId id="2147483742" r:id="rId6"/>
    <p:sldLayoutId id="2147483769" r:id="rId7"/>
    <p:sldLayoutId id="2147483770" r:id="rId8"/>
    <p:sldLayoutId id="2147483743" r:id="rId9"/>
    <p:sldLayoutId id="2147483710" r:id="rId10"/>
    <p:sldLayoutId id="2147483745" r:id="rId11"/>
    <p:sldLayoutId id="2147483707" r:id="rId12"/>
    <p:sldLayoutId id="2147483744" r:id="rId13"/>
    <p:sldLayoutId id="2147483763" r:id="rId14"/>
    <p:sldLayoutId id="2147483768" r:id="rId15"/>
    <p:sldLayoutId id="2147483765" r:id="rId16"/>
    <p:sldLayoutId id="2147483766" r:id="rId17"/>
    <p:sldLayoutId id="2147483746" r:id="rId18"/>
    <p:sldLayoutId id="2147483734" r:id="rId19"/>
    <p:sldLayoutId id="2147483747" r:id="rId20"/>
    <p:sldLayoutId id="2147483748" r:id="rId21"/>
    <p:sldLayoutId id="2147483749" r:id="rId22"/>
    <p:sldLayoutId id="2147483750" r:id="rId23"/>
    <p:sldLayoutId id="2147483751" r:id="rId24"/>
    <p:sldLayoutId id="2147483752" r:id="rId25"/>
    <p:sldLayoutId id="2147483687" r:id="rId26"/>
    <p:sldLayoutId id="2147483764" r:id="rId27"/>
  </p:sldLayoutIdLst>
  <p:txStyles>
    <p:titleStyle>
      <a:lvl1pPr algn="l" defTabSz="914400" rtl="0" eaLnBrk="1" latinLnBrk="0" hangingPunct="1">
        <a:lnSpc>
          <a:spcPct val="90000"/>
        </a:lnSpc>
        <a:spcBef>
          <a:spcPct val="0"/>
        </a:spcBef>
        <a:buNone/>
        <a:defRPr sz="48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7.xml"/><Relationship Id="rId7" Type="http://schemas.openxmlformats.org/officeDocument/2006/relationships/oleObject" Target="../embeddings/oleObject8.bin"/><Relationship Id="rId2" Type="http://schemas.openxmlformats.org/officeDocument/2006/relationships/tags" Target="../tags/tag26.xml"/><Relationship Id="rId1" Type="http://schemas.openxmlformats.org/officeDocument/2006/relationships/vmlDrawing" Target="../drawings/vmlDrawing8.vml"/><Relationship Id="rId6" Type="http://schemas.openxmlformats.org/officeDocument/2006/relationships/notesSlide" Target="../notesSlides/notesSlide10.xml"/><Relationship Id="rId5" Type="http://schemas.openxmlformats.org/officeDocument/2006/relationships/slideLayout" Target="../slideLayouts/slideLayout20.xml"/><Relationship Id="rId4" Type="http://schemas.openxmlformats.org/officeDocument/2006/relationships/tags" Target="../tags/tag28.xml"/><Relationship Id="rId9" Type="http://schemas.openxmlformats.org/officeDocument/2006/relationships/chart" Target="../charts/chart3.xml"/></Relationships>
</file>

<file path=ppt/slides/_rels/slide11.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6.emf"/><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1.xml"/><Relationship Id="rId4"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6.emf"/><Relationship Id="rId2" Type="http://schemas.openxmlformats.org/officeDocument/2006/relationships/tags" Target="../tags/tag3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2.xml"/><Relationship Id="rId4"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6.emf"/><Relationship Id="rId2" Type="http://schemas.openxmlformats.org/officeDocument/2006/relationships/tags" Target="../tags/tag3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3.xml"/><Relationship Id="rId4"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6.emf"/><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4.xml"/><Relationship Id="rId4"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hyperlink" Target="https://www.harvardbusiness.org/tough-times-good-habits-learning-from-a-crisis/" TargetMode="External"/><Relationship Id="rId2" Type="http://schemas.openxmlformats.org/officeDocument/2006/relationships/hyperlink" Target="https://brandfolder.com/blog/crisis-management" TargetMode="External"/><Relationship Id="rId1" Type="http://schemas.openxmlformats.org/officeDocument/2006/relationships/slideLayout" Target="../slideLayouts/slideLayout20.xml"/><Relationship Id="rId6" Type="http://schemas.openxmlformats.org/officeDocument/2006/relationships/hyperlink" Target="https://www.harvardbusiness.org/innovation-in-a-time-of-crisis/" TargetMode="External"/><Relationship Id="rId5" Type="http://schemas.openxmlformats.org/officeDocument/2006/relationships/hyperlink" Target="https://www.fastcompany.com/3064048/what-every-business-can-learn-from-a-crisis" TargetMode="External"/><Relationship Id="rId4" Type="http://schemas.openxmlformats.org/officeDocument/2006/relationships/hyperlink" Target="https://hbr.org/2020/04/real-leaders-are-forged-in-crisis"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8" Type="http://schemas.openxmlformats.org/officeDocument/2006/relationships/hyperlink" Target="https://www.youtube.com/watch?v=k3jo7oWzUUc" TargetMode="External"/><Relationship Id="rId3" Type="http://schemas.openxmlformats.org/officeDocument/2006/relationships/video" Target="https://www.youtube.com/embed/k3jo7oWzUUc?feature=oembed" TargetMode="External"/><Relationship Id="rId7" Type="http://schemas.openxmlformats.org/officeDocument/2006/relationships/image" Target="../media/image6.emf"/><Relationship Id="rId2" Type="http://schemas.openxmlformats.org/officeDocument/2006/relationships/tags" Target="../tags/tag37.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6.xml"/><Relationship Id="rId10" Type="http://schemas.openxmlformats.org/officeDocument/2006/relationships/image" Target="../media/image12.jpeg"/><Relationship Id="rId4" Type="http://schemas.openxmlformats.org/officeDocument/2006/relationships/slideLayout" Target="../slideLayouts/slideLayout20.xml"/><Relationship Id="rId9" Type="http://schemas.openxmlformats.org/officeDocument/2006/relationships/image" Target="../media/image11.png"/></Relationships>
</file>

<file path=ppt/slides/_rels/slide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6.emf"/><Relationship Id="rId2" Type="http://schemas.openxmlformats.org/officeDocument/2006/relationships/tags" Target="../tags/tag3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7.xml"/><Relationship Id="rId4"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6.emf"/><Relationship Id="rId2" Type="http://schemas.openxmlformats.org/officeDocument/2006/relationships/tags" Target="../tags/tag4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8.xml"/><Relationship Id="rId4"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6.emf"/><Relationship Id="rId2" Type="http://schemas.openxmlformats.org/officeDocument/2006/relationships/tags" Target="../tags/tag4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9.xml"/><Relationship Id="rId4"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6.emf"/><Relationship Id="rId2" Type="http://schemas.openxmlformats.org/officeDocument/2006/relationships/tags" Target="../tags/tag44.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0.xml"/><Relationship Id="rId4"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6.emf"/><Relationship Id="rId2" Type="http://schemas.openxmlformats.org/officeDocument/2006/relationships/tags" Target="../tags/tag46.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22.xml"/><Relationship Id="rId4"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6.emf"/><Relationship Id="rId2" Type="http://schemas.openxmlformats.org/officeDocument/2006/relationships/tags" Target="../tags/tag48.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3.xml"/><Relationship Id="rId4"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6.emf"/><Relationship Id="rId2" Type="http://schemas.openxmlformats.org/officeDocument/2006/relationships/tags" Target="../tags/tag50.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4.xml"/><Relationship Id="rId4"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6.emf"/><Relationship Id="rId2" Type="http://schemas.openxmlformats.org/officeDocument/2006/relationships/tags" Target="../tags/tag5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5.xml"/><Relationship Id="rId4"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6.emf"/><Relationship Id="rId2" Type="http://schemas.openxmlformats.org/officeDocument/2006/relationships/tags" Target="../tags/tag5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6.xml"/><Relationship Id="rId4"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6.emf"/><Relationship Id="rId2" Type="http://schemas.openxmlformats.org/officeDocument/2006/relationships/tags" Target="../tags/tag5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7.xml"/><Relationship Id="rId4"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6.emf"/><Relationship Id="rId2" Type="http://schemas.openxmlformats.org/officeDocument/2006/relationships/tags" Target="../tags/tag58.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8.xml"/><Relationship Id="rId4"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6.emf"/><Relationship Id="rId2" Type="http://schemas.openxmlformats.org/officeDocument/2006/relationships/tags" Target="../tags/tag60.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9.xml"/><Relationship Id="rId4"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6.emf"/><Relationship Id="rId2" Type="http://schemas.openxmlformats.org/officeDocument/2006/relationships/tags" Target="../tags/tag6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30.xml"/><Relationship Id="rId4"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6.emf"/><Relationship Id="rId2" Type="http://schemas.openxmlformats.org/officeDocument/2006/relationships/tags" Target="../tags/tag64.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32.xml"/><Relationship Id="rId4"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6.emf"/><Relationship Id="rId2" Type="http://schemas.openxmlformats.org/officeDocument/2006/relationships/tags" Target="../tags/tag66.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33.xml"/><Relationship Id="rId4"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6.emf"/><Relationship Id="rId2" Type="http://schemas.openxmlformats.org/officeDocument/2006/relationships/tags" Target="../tags/tag68.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34.xml"/><Relationship Id="rId4"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6.emf"/><Relationship Id="rId2" Type="http://schemas.openxmlformats.org/officeDocument/2006/relationships/tags" Target="../tags/tag7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35.xml"/><Relationship Id="rId4"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6.emf"/><Relationship Id="rId2" Type="http://schemas.openxmlformats.org/officeDocument/2006/relationships/tags" Target="../tags/tag72.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36.xml"/><Relationship Id="rId4"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6.emf"/><Relationship Id="rId2" Type="http://schemas.openxmlformats.org/officeDocument/2006/relationships/tags" Target="../tags/tag74.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37.xml"/><Relationship Id="rId4"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6.emf"/><Relationship Id="rId2" Type="http://schemas.openxmlformats.org/officeDocument/2006/relationships/tags" Target="../tags/tag76.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38.xml"/><Relationship Id="rId4"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6.emf"/><Relationship Id="rId2" Type="http://schemas.openxmlformats.org/officeDocument/2006/relationships/tags" Target="../tags/tag78.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39.xml"/><Relationship Id="rId4"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6.emf"/><Relationship Id="rId2" Type="http://schemas.openxmlformats.org/officeDocument/2006/relationships/tags" Target="../tags/tag80.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40.xml"/><Relationship Id="rId4"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6.emf"/><Relationship Id="rId2" Type="http://schemas.openxmlformats.org/officeDocument/2006/relationships/tags" Target="../tags/tag82.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41.xml"/><Relationship Id="rId4"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6.emf"/><Relationship Id="rId2" Type="http://schemas.openxmlformats.org/officeDocument/2006/relationships/tags" Target="../tags/tag84.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42.xml"/><Relationship Id="rId4"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6.emf"/><Relationship Id="rId2" Type="http://schemas.openxmlformats.org/officeDocument/2006/relationships/tags" Target="../tags/tag86.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43.xml"/><Relationship Id="rId4"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6.emf"/><Relationship Id="rId2" Type="http://schemas.openxmlformats.org/officeDocument/2006/relationships/tags" Target="../tags/tag88.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44.xml"/><Relationship Id="rId4"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6.emf"/><Relationship Id="rId2" Type="http://schemas.openxmlformats.org/officeDocument/2006/relationships/tags" Target="../tags/tag90.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45.xml"/><Relationship Id="rId4"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6.emf"/><Relationship Id="rId2" Type="http://schemas.openxmlformats.org/officeDocument/2006/relationships/tags" Target="../tags/tag92.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46.xml"/><Relationship Id="rId4"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6.emf"/><Relationship Id="rId2" Type="http://schemas.openxmlformats.org/officeDocument/2006/relationships/tags" Target="../tags/tag94.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47.xml"/><Relationship Id="rId4"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6.emf"/><Relationship Id="rId2" Type="http://schemas.openxmlformats.org/officeDocument/2006/relationships/tags" Target="../tags/tag96.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48.xml"/><Relationship Id="rId4"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6.emf"/><Relationship Id="rId2" Type="http://schemas.openxmlformats.org/officeDocument/2006/relationships/tags" Target="../tags/tag98.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49.xml"/><Relationship Id="rId4"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6.emf"/><Relationship Id="rId2" Type="http://schemas.openxmlformats.org/officeDocument/2006/relationships/tags" Target="../tags/tag100.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50.xml"/><Relationship Id="rId4"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notesSlide" Target="../notesSlides/notesSlide7.xml"/><Relationship Id="rId3" Type="http://schemas.openxmlformats.org/officeDocument/2006/relationships/tags" Target="../tags/tag7.xml"/><Relationship Id="rId21" Type="http://schemas.openxmlformats.org/officeDocument/2006/relationships/chart" Target="../charts/chart1.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slideLayout" Target="../slideLayouts/slideLayout20.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image" Target="../media/image6.emf"/><Relationship Id="rId1" Type="http://schemas.openxmlformats.org/officeDocument/2006/relationships/vmlDrawing" Target="../drawings/vmlDrawing5.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oleObject" Target="../embeddings/oleObject5.bin"/><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s>
</file>

<file path=ppt/slides/_rels/slide8.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6.emf"/><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4.xml"/><Relationship Id="rId7" Type="http://schemas.openxmlformats.org/officeDocument/2006/relationships/oleObject" Target="../embeddings/oleObject7.bin"/><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notesSlide" Target="../notesSlides/notesSlide9.xml"/><Relationship Id="rId5" Type="http://schemas.openxmlformats.org/officeDocument/2006/relationships/slideLayout" Target="../slideLayouts/slideLayout20.xml"/><Relationship Id="rId4" Type="http://schemas.openxmlformats.org/officeDocument/2006/relationships/tags" Target="../tags/tag25.xml"/><Relationship Id="rId9"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A5763AB-2313-1B44-A17A-FDC337682D63}"/>
              </a:ext>
            </a:extLst>
          </p:cNvPr>
          <p:cNvSpPr>
            <a:spLocks noGrp="1"/>
          </p:cNvSpPr>
          <p:nvPr>
            <p:ph type="body" sz="quarter" idx="15"/>
          </p:nvPr>
        </p:nvSpPr>
        <p:spPr>
          <a:xfrm>
            <a:off x="767011" y="4930199"/>
            <a:ext cx="6504645" cy="697353"/>
          </a:xfrm>
        </p:spPr>
        <p:txBody>
          <a:bodyPr/>
          <a:lstStyle/>
          <a:p>
            <a:r>
              <a:rPr lang="en-GB" dirty="0"/>
              <a:t>Aprender de la crisis</a:t>
            </a:r>
          </a:p>
        </p:txBody>
      </p:sp>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826409" y="4280907"/>
            <a:ext cx="7795077" cy="697353"/>
          </a:xfrm>
        </p:spPr>
        <p:txBody>
          <a:bodyPr>
            <a:normAutofit/>
          </a:bodyPr>
          <a:lstStyle/>
          <a:p>
            <a:r>
              <a:rPr lang="en-GB" dirty="0"/>
              <a:t>Módulo 7 </a:t>
            </a:r>
          </a:p>
        </p:txBody>
      </p:sp>
      <p:sp>
        <p:nvSpPr>
          <p:cNvPr id="5" name="TextBox 4">
            <a:extLst>
              <a:ext uri="{FF2B5EF4-FFF2-40B4-BE49-F238E27FC236}">
                <a16:creationId xmlns:a16="http://schemas.microsoft.com/office/drawing/2014/main" xmlns="" id="{77CB68E0-06E2-434C-9FAE-89DA1172EE2A}"/>
              </a:ext>
            </a:extLst>
          </p:cNvPr>
          <p:cNvSpPr txBox="1"/>
          <p:nvPr/>
        </p:nvSpPr>
        <p:spPr>
          <a:xfrm>
            <a:off x="582385" y="5934670"/>
            <a:ext cx="10651672" cy="1077218"/>
          </a:xfrm>
          <a:prstGeom prst="rect">
            <a:avLst/>
          </a:prstGeom>
          <a:noFill/>
        </p:spPr>
        <p:txBody>
          <a:bodyPr wrap="square">
            <a:spAutoFit/>
          </a:bodyPr>
          <a:lstStyle/>
          <a:p>
            <a:r>
              <a:rPr lang="en-GB" sz="1600" dirty="0"/>
              <a:t>El </a:t>
            </a:r>
            <a:r>
              <a:rPr lang="en-GB" sz="1600" dirty="0" err="1"/>
              <a:t>apoyo</a:t>
            </a:r>
            <a:r>
              <a:rPr lang="en-GB" sz="1600" dirty="0"/>
              <a:t> de la </a:t>
            </a:r>
            <a:r>
              <a:rPr lang="en-GB" sz="1600" dirty="0" err="1"/>
              <a:t>Comisión</a:t>
            </a:r>
            <a:r>
              <a:rPr lang="en-GB" sz="1600" dirty="0"/>
              <a:t> </a:t>
            </a:r>
            <a:r>
              <a:rPr lang="en-GB" sz="1600" dirty="0" err="1"/>
              <a:t>Europea</a:t>
            </a:r>
            <a:r>
              <a:rPr lang="en-GB" sz="1600" dirty="0"/>
              <a:t> a la </a:t>
            </a:r>
            <a:r>
              <a:rPr lang="en-GB" sz="1600" dirty="0" err="1"/>
              <a:t>producción</a:t>
            </a:r>
            <a:r>
              <a:rPr lang="en-GB" sz="1600" dirty="0"/>
              <a:t> de </a:t>
            </a:r>
            <a:r>
              <a:rPr lang="en-GB" sz="1600" dirty="0" err="1"/>
              <a:t>esta</a:t>
            </a:r>
            <a:r>
              <a:rPr lang="en-GB" sz="1600" dirty="0"/>
              <a:t> </a:t>
            </a:r>
            <a:r>
              <a:rPr lang="en-GB" sz="1600" dirty="0" err="1"/>
              <a:t>publicación</a:t>
            </a:r>
            <a:r>
              <a:rPr lang="en-GB" sz="1600" dirty="0"/>
              <a:t> no </a:t>
            </a:r>
            <a:r>
              <a:rPr lang="en-GB" sz="1600" dirty="0" err="1"/>
              <a:t>constituye</a:t>
            </a:r>
            <a:r>
              <a:rPr lang="en-GB" sz="1600" dirty="0"/>
              <a:t> </a:t>
            </a:r>
            <a:r>
              <a:rPr lang="en-GB" sz="1600" dirty="0" err="1"/>
              <a:t>su</a:t>
            </a:r>
            <a:r>
              <a:rPr lang="en-GB" sz="1600" dirty="0"/>
              <a:t> </a:t>
            </a:r>
            <a:r>
              <a:rPr lang="en-GB" sz="1600" dirty="0" err="1"/>
              <a:t>conformidad</a:t>
            </a:r>
            <a:r>
              <a:rPr lang="en-GB" sz="1600" dirty="0"/>
              <a:t> con el </a:t>
            </a:r>
            <a:r>
              <a:rPr lang="en-GB" sz="1600" dirty="0" err="1"/>
              <a:t>contenido</a:t>
            </a:r>
            <a:r>
              <a:rPr lang="en-GB" sz="1600" dirty="0"/>
              <a:t> que </a:t>
            </a:r>
            <a:r>
              <a:rPr lang="en-GB" sz="1600" dirty="0" err="1"/>
              <a:t>refleja</a:t>
            </a:r>
            <a:r>
              <a:rPr lang="en-GB" sz="1600" dirty="0"/>
              <a:t> </a:t>
            </a:r>
            <a:r>
              <a:rPr lang="en-GB" sz="1600" dirty="0" err="1"/>
              <a:t>únicamente</a:t>
            </a:r>
            <a:r>
              <a:rPr lang="en-GB" sz="1600" dirty="0"/>
              <a:t> las </a:t>
            </a:r>
            <a:r>
              <a:rPr lang="en-GB" sz="1600" dirty="0" err="1"/>
              <a:t>opiniones</a:t>
            </a:r>
            <a:r>
              <a:rPr lang="en-GB" sz="1600" dirty="0"/>
              <a:t> de </a:t>
            </a:r>
            <a:r>
              <a:rPr lang="en-GB" sz="1600" dirty="0" err="1"/>
              <a:t>los</a:t>
            </a:r>
            <a:r>
              <a:rPr lang="en-GB" sz="1600" dirty="0"/>
              <a:t> </a:t>
            </a:r>
            <a:r>
              <a:rPr lang="en-GB" sz="1600" dirty="0" err="1"/>
              <a:t>autores</a:t>
            </a:r>
            <a:r>
              <a:rPr lang="en-GB" sz="1600" dirty="0"/>
              <a:t>, y la </a:t>
            </a:r>
            <a:r>
              <a:rPr lang="en-GB" sz="1600" dirty="0" err="1"/>
              <a:t>Comisión</a:t>
            </a:r>
            <a:r>
              <a:rPr lang="en-GB" sz="1600" dirty="0"/>
              <a:t> no se </a:t>
            </a:r>
            <a:r>
              <a:rPr lang="en-GB" sz="1600" dirty="0" err="1"/>
              <a:t>hace</a:t>
            </a:r>
            <a:r>
              <a:rPr lang="en-GB" sz="1600" dirty="0"/>
              <a:t> </a:t>
            </a:r>
            <a:r>
              <a:rPr lang="en-GB" sz="1600" dirty="0" err="1"/>
              <a:t>responsable</a:t>
            </a:r>
            <a:r>
              <a:rPr lang="en-GB" sz="1600" dirty="0"/>
              <a:t> del </a:t>
            </a:r>
            <a:r>
              <a:rPr lang="en-GB" sz="1600" dirty="0" err="1"/>
              <a:t>uso</a:t>
            </a:r>
            <a:r>
              <a:rPr lang="en-GB" sz="1600" dirty="0"/>
              <a:t> que </a:t>
            </a:r>
            <a:r>
              <a:rPr lang="en-GB" sz="1600" dirty="0" err="1"/>
              <a:t>pueda</a:t>
            </a:r>
            <a:r>
              <a:rPr lang="en-GB" sz="1600" dirty="0"/>
              <a:t> </a:t>
            </a:r>
            <a:r>
              <a:rPr lang="en-GB" sz="1600" dirty="0" err="1"/>
              <a:t>hacerse</a:t>
            </a:r>
            <a:r>
              <a:rPr lang="en-GB" sz="1600" dirty="0"/>
              <a:t> de la </a:t>
            </a:r>
            <a:r>
              <a:rPr lang="en-GB" sz="1600" dirty="0" err="1"/>
              <a:t>información</a:t>
            </a:r>
            <a:r>
              <a:rPr lang="en-GB" sz="1600" dirty="0"/>
              <a:t> </a:t>
            </a:r>
            <a:r>
              <a:rPr lang="en-GB" sz="1600" dirty="0" err="1"/>
              <a:t>contenida</a:t>
            </a:r>
            <a:r>
              <a:rPr lang="en-GB" sz="1600" dirty="0"/>
              <a:t> </a:t>
            </a:r>
            <a:r>
              <a:rPr lang="en-GB" sz="1600" dirty="0" err="1"/>
              <a:t>en</a:t>
            </a:r>
            <a:r>
              <a:rPr lang="en-GB" sz="1600" dirty="0"/>
              <a:t> </a:t>
            </a:r>
            <a:r>
              <a:rPr lang="en-GB" sz="1600" dirty="0" err="1"/>
              <a:t>ella</a:t>
            </a:r>
            <a:r>
              <a:rPr lang="en-GB" sz="1600" dirty="0"/>
              <a:t>.</a:t>
            </a:r>
          </a:p>
          <a:p>
            <a:endParaRPr lang="en-IE" sz="1600" dirty="0">
              <a:solidFill>
                <a:schemeClr val="bg1"/>
              </a:solidFill>
            </a:endParaRPr>
          </a:p>
        </p:txBody>
      </p:sp>
    </p:spTree>
    <p:extLst>
      <p:ext uri="{BB962C8B-B14F-4D97-AF65-F5344CB8AC3E}">
        <p14:creationId xmlns:p14="http://schemas.microsoft.com/office/powerpoint/2010/main" val="578721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1534066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7" imgW="592" imgH="595" progId="TCLayout.ActiveDocument.1">
                  <p:embed/>
                </p:oleObj>
              </mc:Choice>
              <mc:Fallback>
                <p:oleObj name="think-cell Folie" r:id="rId7"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7143" y="406478"/>
            <a:ext cx="8852375" cy="697353"/>
          </a:xfrm>
        </p:spPr>
        <p:txBody>
          <a:bodyPr>
            <a:noAutofit/>
          </a:bodyPr>
          <a:lstStyle/>
          <a:p>
            <a:r>
              <a:rPr lang="en-GB" dirty="0"/>
              <a:t>Aprender de la crisis: Aplicando las lecciones del Modo Crisis (co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38114" y="1762982"/>
            <a:ext cx="3817937" cy="494524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solidFill>
                  <a:srgbClr val="245473"/>
                </a:solidFill>
                <a:latin typeface="+mj-lt"/>
              </a:rPr>
              <a:t>Si bien el 75% de los encuestados declaró que experimentar el Modo Crisis les hizo más fuertes en la implementación de la estrategia, hay habilidades específicas y cambios en las formas de trabajar que evolucionan desde el Modo Crisis que pueden ser particularmente útiles para las organizaciones que aspiran a mejorar sus capacidades de implementación de la estrategia. </a:t>
            </a:r>
            <a:endParaRPr lang="en-US" sz="2800" dirty="0">
              <a:solidFill>
                <a:srgbClr val="245473"/>
              </a:solidFill>
            </a:endParaRPr>
          </a:p>
          <a:p>
            <a:pPr algn="l">
              <a:lnSpc>
                <a:spcPct val="100000"/>
              </a:lnSpc>
              <a:spcBef>
                <a:spcPts val="600"/>
              </a:spcBef>
            </a:pPr>
            <a:r>
              <a:rPr lang="en-GB" altLang="de-DE" sz="1800" dirty="0">
                <a:solidFill>
                  <a:srgbClr val="245473"/>
                </a:solidFill>
                <a:latin typeface="+mj-lt"/>
              </a:rPr>
              <a:t>En concreto, hay 4 medidas que podrían aplicarse a la ejecución de la estrategia:</a:t>
            </a:r>
          </a:p>
          <a:p>
            <a:pPr marL="342900" indent="-342900" algn="l">
              <a:lnSpc>
                <a:spcPct val="100000"/>
              </a:lnSpc>
              <a:spcBef>
                <a:spcPts val="600"/>
              </a:spcBef>
              <a:buFont typeface="+mj-lt"/>
              <a:buAutoNum type="arabicPeriod"/>
            </a:pPr>
            <a:r>
              <a:rPr lang="en-GB" altLang="de-DE" sz="1500" dirty="0">
                <a:solidFill>
                  <a:srgbClr val="245473"/>
                </a:solidFill>
                <a:latin typeface="+mj-lt"/>
              </a:rPr>
              <a:t>Priorización de las iniciativas estratégicas</a:t>
            </a:r>
          </a:p>
          <a:p>
            <a:pPr marL="342900" indent="-342900" algn="l">
              <a:lnSpc>
                <a:spcPct val="100000"/>
              </a:lnSpc>
              <a:spcBef>
                <a:spcPts val="600"/>
              </a:spcBef>
              <a:buFont typeface="+mj-lt"/>
              <a:buAutoNum type="arabicPeriod"/>
            </a:pPr>
            <a:r>
              <a:rPr lang="en-GB" altLang="de-DE" sz="1500" dirty="0">
                <a:solidFill>
                  <a:srgbClr val="245473"/>
                </a:solidFill>
                <a:latin typeface="+mj-lt"/>
              </a:rPr>
              <a:t>rapidez en la toma de decisiones y en la ejecución del proceso</a:t>
            </a:r>
          </a:p>
          <a:p>
            <a:pPr marL="342900" indent="-342900" algn="l">
              <a:lnSpc>
                <a:spcPct val="100000"/>
              </a:lnSpc>
              <a:spcBef>
                <a:spcPts val="600"/>
              </a:spcBef>
              <a:buFont typeface="+mj-lt"/>
              <a:buAutoNum type="arabicPeriod"/>
            </a:pPr>
            <a:r>
              <a:rPr lang="en-GB" altLang="de-DE" sz="1500" dirty="0">
                <a:solidFill>
                  <a:srgbClr val="245473"/>
                </a:solidFill>
                <a:latin typeface="+mj-lt"/>
              </a:rPr>
              <a:t>la potenciación de los equipos y</a:t>
            </a:r>
          </a:p>
          <a:p>
            <a:pPr marL="342900" indent="-342900" algn="l">
              <a:lnSpc>
                <a:spcPct val="100000"/>
              </a:lnSpc>
              <a:spcBef>
                <a:spcPts val="600"/>
              </a:spcBef>
              <a:buFont typeface="+mj-lt"/>
              <a:buAutoNum type="arabicPeriod"/>
            </a:pPr>
            <a:r>
              <a:rPr lang="en-GB" altLang="de-DE" sz="1500" dirty="0">
                <a:solidFill>
                  <a:srgbClr val="245473"/>
                </a:solidFill>
                <a:latin typeface="+mj-lt"/>
              </a:rPr>
              <a:t>comunicaciones internas.</a:t>
            </a:r>
            <a:endParaRPr lang="en-GB" sz="1500" dirty="0">
              <a:solidFill>
                <a:srgbClr val="245473"/>
              </a:solidFill>
              <a:latin typeface="+mj-lt"/>
            </a:endParaRP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3417191" y="6540441"/>
            <a:ext cx="554572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Fuente: Adaptado de Brightline Initiative en colaboración con Quartz Insights 2018</a:t>
            </a:r>
          </a:p>
        </p:txBody>
      </p:sp>
      <p:sp>
        <p:nvSpPr>
          <p:cNvPr id="51" name="Subtitle 2">
            <a:extLst>
              <a:ext uri="{FF2B5EF4-FFF2-40B4-BE49-F238E27FC236}">
                <a16:creationId xmlns:a16="http://schemas.microsoft.com/office/drawing/2014/main" xmlns="" id="{1E04ACF3-59B5-48F9-B9F8-6B8F95B01226}"/>
              </a:ext>
            </a:extLst>
          </p:cNvPr>
          <p:cNvSpPr txBox="1">
            <a:spLocks/>
          </p:cNvSpPr>
          <p:nvPr/>
        </p:nvSpPr>
        <p:spPr>
          <a:xfrm>
            <a:off x="4049486" y="1746148"/>
            <a:ext cx="7925027"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dirty="0">
                <a:latin typeface="+mj-lt"/>
                <a:ea typeface="Lato Light" panose="020F0502020204030203" pitchFamily="34" charset="0"/>
                <a:cs typeface="Mukta ExtraLight" panose="020B0000000000000000" pitchFamily="34" charset="77"/>
              </a:rPr>
              <a:t>"Del 75% de los encuestados que están de acuerdo en que las capacidades de implementación de la estrategia de su organización se fortalecieron como resultado de la crisis, estos son los cambios más comunes:"</a:t>
            </a:r>
          </a:p>
        </p:txBody>
      </p:sp>
      <p:graphicFrame>
        <p:nvGraphicFramePr>
          <p:cNvPr id="105" name="Chart 3">
            <a:extLst>
              <a:ext uri="{FF2B5EF4-FFF2-40B4-BE49-F238E27FC236}">
                <a16:creationId xmlns:a16="http://schemas.microsoft.com/office/drawing/2014/main" xmlns="" id="{03504851-84D5-41C8-B163-B45F891A8FE9}"/>
              </a:ext>
            </a:extLst>
          </p:cNvPr>
          <p:cNvGraphicFramePr/>
          <p:nvPr>
            <p:custDataLst>
              <p:tags r:id="rId4"/>
            </p:custDataLst>
            <p:extLst>
              <p:ext uri="{D42A27DB-BD31-4B8C-83A1-F6EECF244321}">
                <p14:modId xmlns:p14="http://schemas.microsoft.com/office/powerpoint/2010/main" val="1927818193"/>
              </p:ext>
            </p:extLst>
          </p:nvPr>
        </p:nvGraphicFramePr>
        <p:xfrm>
          <a:off x="8484524" y="2296329"/>
          <a:ext cx="3489989" cy="4065547"/>
        </p:xfrm>
        <a:graphic>
          <a:graphicData uri="http://schemas.openxmlformats.org/drawingml/2006/chart">
            <c:chart xmlns:c="http://schemas.openxmlformats.org/drawingml/2006/chart" xmlns:r="http://schemas.openxmlformats.org/officeDocument/2006/relationships" r:id="rId9"/>
          </a:graphicData>
        </a:graphic>
      </p:graphicFrame>
      <p:sp>
        <p:nvSpPr>
          <p:cNvPr id="85" name="Subtitle 2">
            <a:extLst>
              <a:ext uri="{FF2B5EF4-FFF2-40B4-BE49-F238E27FC236}">
                <a16:creationId xmlns:a16="http://schemas.microsoft.com/office/drawing/2014/main" xmlns="" id="{6F24E37D-D0C8-4417-A12A-AF6C3A5B414D}"/>
              </a:ext>
            </a:extLst>
          </p:cNvPr>
          <p:cNvSpPr txBox="1">
            <a:spLocks/>
          </p:cNvSpPr>
          <p:nvPr/>
        </p:nvSpPr>
        <p:spPr>
          <a:xfrm>
            <a:off x="3330900" y="2321470"/>
            <a:ext cx="5174685"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dirty="0">
                <a:solidFill>
                  <a:schemeClr val="accent1"/>
                </a:solidFill>
                <a:latin typeface="+mj-lt"/>
                <a:ea typeface="Lato Light" panose="020F0502020204030203" pitchFamily="34" charset="0"/>
                <a:cs typeface="Mukta ExtraLight" panose="020B0000000000000000" pitchFamily="34" charset="77"/>
              </a:rPr>
              <a:t>Las asignaciones presupuestarias a las prioridades de la empresa peligran</a:t>
            </a:r>
            <a:r>
              <a:rPr lang="en-GB" sz="1600" dirty="0">
                <a:latin typeface="+mj-lt"/>
                <a:ea typeface="Lato Light" panose="020F0502020204030203" pitchFamily="34" charset="0"/>
                <a:cs typeface="Mukta ExtraLight" panose="020B0000000000000000" pitchFamily="34" charset="77"/>
              </a:rPr>
              <a:t/>
            </a:r>
            <a:br>
              <a:rPr lang="en-GB" sz="1600" dirty="0">
                <a:latin typeface="+mj-lt"/>
                <a:ea typeface="Lato Light" panose="020F0502020204030203" pitchFamily="34" charset="0"/>
                <a:cs typeface="Mukta ExtraLight" panose="020B0000000000000000" pitchFamily="34" charset="77"/>
              </a:rPr>
            </a:br>
            <a:r>
              <a:rPr lang="en-GB" sz="1600" dirty="0">
                <a:solidFill>
                  <a:schemeClr val="accent1"/>
                </a:solidFill>
                <a:latin typeface="+mj-lt"/>
                <a:ea typeface="Lato Light" panose="020F0502020204030203" pitchFamily="34" charset="0"/>
                <a:cs typeface="Mukta ExtraLight" panose="020B0000000000000000" pitchFamily="34" charset="77"/>
              </a:rPr>
              <a:t>en la crisis</a:t>
            </a:r>
          </a:p>
        </p:txBody>
      </p:sp>
      <p:sp>
        <p:nvSpPr>
          <p:cNvPr id="86" name="Subtitle 2">
            <a:extLst>
              <a:ext uri="{FF2B5EF4-FFF2-40B4-BE49-F238E27FC236}">
                <a16:creationId xmlns:a16="http://schemas.microsoft.com/office/drawing/2014/main" xmlns="" id="{04AEFB48-66AD-4F4A-B355-E2444F8FD146}"/>
              </a:ext>
            </a:extLst>
          </p:cNvPr>
          <p:cNvSpPr txBox="1">
            <a:spLocks/>
          </p:cNvSpPr>
          <p:nvPr/>
        </p:nvSpPr>
        <p:spPr>
          <a:xfrm>
            <a:off x="3390544" y="2727830"/>
            <a:ext cx="5153626"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dirty="0">
                <a:solidFill>
                  <a:schemeClr val="accent1"/>
                </a:solidFill>
                <a:latin typeface="+mj-lt"/>
                <a:ea typeface="Lato Light" panose="020F0502020204030203" pitchFamily="34" charset="0"/>
                <a:cs typeface="Mukta ExtraLight" panose="020B0000000000000000" pitchFamily="34" charset="77"/>
              </a:rPr>
              <a:t>El personal pasa de las tareas operativas a las </a:t>
            </a:r>
            <a:br>
              <a:rPr lang="en-GB" sz="1600" dirty="0">
                <a:solidFill>
                  <a:schemeClr val="accent1"/>
                </a:solidFill>
                <a:latin typeface="+mj-lt"/>
                <a:ea typeface="Lato Light" panose="020F0502020204030203" pitchFamily="34" charset="0"/>
                <a:cs typeface="Mukta ExtraLight" panose="020B0000000000000000" pitchFamily="34" charset="77"/>
              </a:rPr>
            </a:br>
            <a:r>
              <a:rPr lang="en-GB" sz="1600" dirty="0">
                <a:solidFill>
                  <a:schemeClr val="accent1"/>
                </a:solidFill>
                <a:latin typeface="+mj-lt"/>
                <a:ea typeface="Lato Light" panose="020F0502020204030203" pitchFamily="34" charset="0"/>
                <a:cs typeface="Mukta ExtraLight" panose="020B0000000000000000" pitchFamily="34" charset="77"/>
              </a:rPr>
              <a:t>prioridades relacionadas con la crisis</a:t>
            </a:r>
            <a:endParaRPr lang="en-US" dirty="0">
              <a:solidFill>
                <a:schemeClr val="accent1"/>
              </a:solidFill>
            </a:endParaRPr>
          </a:p>
        </p:txBody>
      </p:sp>
      <p:sp>
        <p:nvSpPr>
          <p:cNvPr id="87" name="Subtitle 2">
            <a:extLst>
              <a:ext uri="{FF2B5EF4-FFF2-40B4-BE49-F238E27FC236}">
                <a16:creationId xmlns:a16="http://schemas.microsoft.com/office/drawing/2014/main" xmlns="" id="{CC4D6085-D1AD-47D2-A7B4-747917756260}"/>
              </a:ext>
            </a:extLst>
          </p:cNvPr>
          <p:cNvSpPr txBox="1">
            <a:spLocks/>
          </p:cNvSpPr>
          <p:nvPr/>
        </p:nvSpPr>
        <p:spPr>
          <a:xfrm>
            <a:off x="4687649" y="3251570"/>
            <a:ext cx="381793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Requisitos de aprobación para la toma de decisiones</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88" name="Subtitle 2">
            <a:extLst>
              <a:ext uri="{FF2B5EF4-FFF2-40B4-BE49-F238E27FC236}">
                <a16:creationId xmlns:a16="http://schemas.microsoft.com/office/drawing/2014/main" xmlns="" id="{AEC310DD-2A90-4D25-AC30-C6034B798CCD}"/>
              </a:ext>
            </a:extLst>
          </p:cNvPr>
          <p:cNvSpPr txBox="1">
            <a:spLocks/>
          </p:cNvSpPr>
          <p:nvPr/>
        </p:nvSpPr>
        <p:spPr>
          <a:xfrm>
            <a:off x="4663535" y="3637045"/>
            <a:ext cx="381793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Frecuencia o cadencia de los informes a los líderes</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90" name="Subtitle 2">
            <a:extLst>
              <a:ext uri="{FF2B5EF4-FFF2-40B4-BE49-F238E27FC236}">
                <a16:creationId xmlns:a16="http://schemas.microsoft.com/office/drawing/2014/main" xmlns="" id="{8392FCB5-6B9B-44B7-B67B-01224C654983}"/>
              </a:ext>
            </a:extLst>
          </p:cNvPr>
          <p:cNvSpPr txBox="1">
            <a:spLocks/>
          </p:cNvSpPr>
          <p:nvPr/>
        </p:nvSpPr>
        <p:spPr>
          <a:xfrm>
            <a:off x="4200104" y="4022519"/>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Política interna de la organización</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91" name="Subtitle 2">
            <a:extLst>
              <a:ext uri="{FF2B5EF4-FFF2-40B4-BE49-F238E27FC236}">
                <a16:creationId xmlns:a16="http://schemas.microsoft.com/office/drawing/2014/main" xmlns="" id="{AFFFA1E9-4D7C-40EB-9AEC-AEB7976FD31C}"/>
              </a:ext>
            </a:extLst>
          </p:cNvPr>
          <p:cNvSpPr txBox="1">
            <a:spLocks/>
          </p:cNvSpPr>
          <p:nvPr/>
        </p:nvSpPr>
        <p:spPr>
          <a:xfrm>
            <a:off x="4200104" y="4369411"/>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Procesos de garantía de calidad</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92" name="Subtitle 2">
            <a:extLst>
              <a:ext uri="{FF2B5EF4-FFF2-40B4-BE49-F238E27FC236}">
                <a16:creationId xmlns:a16="http://schemas.microsoft.com/office/drawing/2014/main" xmlns="" id="{843E86D9-9494-4F16-917A-256218EB9B4B}"/>
              </a:ext>
            </a:extLst>
          </p:cNvPr>
          <p:cNvSpPr txBox="1">
            <a:spLocks/>
          </p:cNvSpPr>
          <p:nvPr/>
        </p:nvSpPr>
        <p:spPr>
          <a:xfrm>
            <a:off x="4224218" y="4750063"/>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Procesos de gobernanza y métricas</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93" name="Subtitle 2">
            <a:extLst>
              <a:ext uri="{FF2B5EF4-FFF2-40B4-BE49-F238E27FC236}">
                <a16:creationId xmlns:a16="http://schemas.microsoft.com/office/drawing/2014/main" xmlns="" id="{6963C93B-661D-49FC-82A7-D9FC702C7EB4}"/>
              </a:ext>
            </a:extLst>
          </p:cNvPr>
          <p:cNvSpPr txBox="1">
            <a:spLocks/>
          </p:cNvSpPr>
          <p:nvPr/>
        </p:nvSpPr>
        <p:spPr>
          <a:xfrm>
            <a:off x="4262801" y="5130715"/>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Relaciones con los clientes y comunicación</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94" name="Subtitle 2">
            <a:extLst>
              <a:ext uri="{FF2B5EF4-FFF2-40B4-BE49-F238E27FC236}">
                <a16:creationId xmlns:a16="http://schemas.microsoft.com/office/drawing/2014/main" xmlns="" id="{0D70CDCC-05EC-458E-A4EA-BD13F65FC67D}"/>
              </a:ext>
            </a:extLst>
          </p:cNvPr>
          <p:cNvSpPr txBox="1">
            <a:spLocks/>
          </p:cNvSpPr>
          <p:nvPr/>
        </p:nvSpPr>
        <p:spPr>
          <a:xfrm>
            <a:off x="4262801" y="5530657"/>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Líneas jerárquicas de información</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95" name="Subtitle 2">
            <a:extLst>
              <a:ext uri="{FF2B5EF4-FFF2-40B4-BE49-F238E27FC236}">
                <a16:creationId xmlns:a16="http://schemas.microsoft.com/office/drawing/2014/main" xmlns="" id="{247EAD57-A99B-4633-B71B-081C03EC65F2}"/>
              </a:ext>
            </a:extLst>
          </p:cNvPr>
          <p:cNvSpPr txBox="1">
            <a:spLocks/>
          </p:cNvSpPr>
          <p:nvPr/>
        </p:nvSpPr>
        <p:spPr>
          <a:xfrm>
            <a:off x="4224218" y="5930600"/>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Personal en funciones de liderazgo</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5385108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2410087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3308" y="547195"/>
            <a:ext cx="8852375" cy="697353"/>
          </a:xfrm>
        </p:spPr>
        <p:txBody>
          <a:bodyPr>
            <a:noAutofit/>
          </a:bodyPr>
          <a:lstStyle/>
          <a:p>
            <a:r>
              <a:rPr lang="en-GB" dirty="0"/>
              <a:t>Aprender de la crisis: Aplicando las lecciones del Modo Crisis (co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429707" y="2595832"/>
            <a:ext cx="2107203" cy="279081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Para las organizaciones que mejoraron la implementación estratégica después de la crisis, esto es lo que más cambió en </a:t>
            </a:r>
            <a:br>
              <a:rPr lang="en-GB" altLang="de-DE" sz="2200" dirty="0">
                <a:solidFill>
                  <a:srgbClr val="245473"/>
                </a:solidFill>
                <a:latin typeface="+mj-lt"/>
              </a:rPr>
            </a:br>
            <a:r>
              <a:rPr lang="en-GB" altLang="de-DE" sz="2200" dirty="0">
                <a:solidFill>
                  <a:srgbClr val="245473"/>
                </a:solidFill>
                <a:latin typeface="+mj-lt"/>
              </a:rPr>
              <a:t>modo de crisis:</a:t>
            </a:r>
            <a:endParaRPr lang="en-GB" sz="2200" dirty="0">
              <a:solidFill>
                <a:srgbClr val="245473"/>
              </a:solidFill>
              <a:latin typeface="+mj-lt"/>
            </a:endParaRP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550278" y="6528494"/>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Fuente: Adaptado de Brightline Initiative en colaboración con Quartz Insights 2018</a:t>
            </a:r>
            <a:endParaRPr lang="en-GB" sz="1000" dirty="0">
              <a:latin typeface="+mj-lt"/>
              <a:ea typeface="League Spartan" charset="0"/>
              <a:cs typeface="Poppins" pitchFamily="2" charset="77"/>
            </a:endParaRPr>
          </a:p>
        </p:txBody>
      </p:sp>
      <p:sp>
        <p:nvSpPr>
          <p:cNvPr id="51" name="Subtitle 2">
            <a:extLst>
              <a:ext uri="{FF2B5EF4-FFF2-40B4-BE49-F238E27FC236}">
                <a16:creationId xmlns:a16="http://schemas.microsoft.com/office/drawing/2014/main" xmlns="" id="{1E04ACF3-59B5-48F9-B9F8-6B8F95B01226}"/>
              </a:ext>
            </a:extLst>
          </p:cNvPr>
          <p:cNvSpPr txBox="1">
            <a:spLocks/>
          </p:cNvSpPr>
          <p:nvPr/>
        </p:nvSpPr>
        <p:spPr>
          <a:xfrm>
            <a:off x="3526344" y="1945646"/>
            <a:ext cx="8235949" cy="65018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dirty="0">
                <a:latin typeface="+mj-lt"/>
                <a:ea typeface="Lato Light" panose="020F0502020204030203" pitchFamily="34" charset="0"/>
                <a:cs typeface="Mukta ExtraLight" panose="020B0000000000000000" pitchFamily="34" charset="77"/>
              </a:rPr>
              <a:t>"¿Se </a:t>
            </a:r>
            <a:r>
              <a:rPr lang="en-GB" sz="2000" dirty="0">
                <a:latin typeface="+mj-lt"/>
                <a:ea typeface="Lato Light" panose="020F0502020204030203" pitchFamily="34" charset="0"/>
                <a:cs typeface="Mukta ExtraLight" panose="020B0000000000000000" pitchFamily="34" charset="77"/>
              </a:rPr>
              <a:t>fortalecieron las capacidades de implementación de estrategias como resultado de la crisis?"</a:t>
            </a:r>
            <a:endParaRPr lang="en-GB" sz="1600" dirty="0">
              <a:latin typeface="+mj-lt"/>
              <a:ea typeface="Lato Light" panose="020F0502020204030203" pitchFamily="34" charset="0"/>
              <a:cs typeface="Mukta ExtraLight" panose="020B0000000000000000" pitchFamily="34" charset="77"/>
            </a:endParaRPr>
          </a:p>
        </p:txBody>
      </p:sp>
      <p:graphicFrame>
        <p:nvGraphicFramePr>
          <p:cNvPr id="5" name="Tabelle 5">
            <a:extLst>
              <a:ext uri="{FF2B5EF4-FFF2-40B4-BE49-F238E27FC236}">
                <a16:creationId xmlns:a16="http://schemas.microsoft.com/office/drawing/2014/main" xmlns="" id="{F4ECBF54-7B9B-4D24-9D2A-FAEF7409EEB9}"/>
              </a:ext>
            </a:extLst>
          </p:cNvPr>
          <p:cNvGraphicFramePr>
            <a:graphicFrameLocks noGrp="1"/>
          </p:cNvGraphicFramePr>
          <p:nvPr>
            <p:extLst>
              <p:ext uri="{D42A27DB-BD31-4B8C-83A1-F6EECF244321}">
                <p14:modId xmlns:p14="http://schemas.microsoft.com/office/powerpoint/2010/main" val="308067244"/>
              </p:ext>
            </p:extLst>
          </p:nvPr>
        </p:nvGraphicFramePr>
        <p:xfrm>
          <a:off x="3694447" y="2729405"/>
          <a:ext cx="8128000" cy="3581400"/>
        </p:xfrm>
        <a:graphic>
          <a:graphicData uri="http://schemas.openxmlformats.org/drawingml/2006/table">
            <a:tbl>
              <a:tblPr firstRow="1" bandRow="1">
                <a:tableStyleId>{5C22544A-7EE6-4342-B048-85BDC9FD1C3A}</a:tableStyleId>
              </a:tblPr>
              <a:tblGrid>
                <a:gridCol w="3123796">
                  <a:extLst>
                    <a:ext uri="{9D8B030D-6E8A-4147-A177-3AD203B41FA5}">
                      <a16:colId xmlns:a16="http://schemas.microsoft.com/office/drawing/2014/main" xmlns="" val="2036421067"/>
                    </a:ext>
                  </a:extLst>
                </a:gridCol>
                <a:gridCol w="1668068">
                  <a:extLst>
                    <a:ext uri="{9D8B030D-6E8A-4147-A177-3AD203B41FA5}">
                      <a16:colId xmlns:a16="http://schemas.microsoft.com/office/drawing/2014/main" xmlns="" val="3704444439"/>
                    </a:ext>
                  </a:extLst>
                </a:gridCol>
                <a:gridCol w="1668068">
                  <a:extLst>
                    <a:ext uri="{9D8B030D-6E8A-4147-A177-3AD203B41FA5}">
                      <a16:colId xmlns:a16="http://schemas.microsoft.com/office/drawing/2014/main" xmlns="" val="2614238484"/>
                    </a:ext>
                  </a:extLst>
                </a:gridCol>
                <a:gridCol w="1668068">
                  <a:extLst>
                    <a:ext uri="{9D8B030D-6E8A-4147-A177-3AD203B41FA5}">
                      <a16:colId xmlns:a16="http://schemas.microsoft.com/office/drawing/2014/main" xmlns="" val="944104191"/>
                    </a:ext>
                  </a:extLst>
                </a:gridCol>
              </a:tblGrid>
              <a:tr h="370840">
                <a:tc>
                  <a:txBody>
                    <a:bodyPr/>
                    <a:lstStyle/>
                    <a:p>
                      <a:r>
                        <a:rPr lang="en-GB" sz="1600" dirty="0">
                          <a:latin typeface="+mj-lt"/>
                        </a:rPr>
                        <a:t>Categorías de gestión que cambiaron en el modo de crisis</a:t>
                      </a:r>
                    </a:p>
                  </a:txBody>
                  <a:tcPr/>
                </a:tc>
                <a:tc>
                  <a:txBody>
                    <a:bodyPr/>
                    <a:lstStyle/>
                    <a:p>
                      <a:r>
                        <a:rPr lang="en-GB" sz="1600" b="0" dirty="0">
                          <a:latin typeface="+mj-lt"/>
                        </a:rPr>
                        <a:t>De acuerdo / Ha cambiado completamente O ha cambiado mucho (%)</a:t>
                      </a:r>
                    </a:p>
                  </a:txBody>
                  <a:tcPr/>
                </a:tc>
                <a:tc>
                  <a:txBody>
                    <a:bodyPr/>
                    <a:lstStyle/>
                    <a:p>
                      <a:r>
                        <a:rPr lang="en-GB" sz="1600" b="0" dirty="0">
                          <a:latin typeface="+mj-lt"/>
                        </a:rPr>
                        <a:t>De acuerdo / No ha cambiado (%)</a:t>
                      </a:r>
                    </a:p>
                  </a:txBody>
                  <a:tcPr/>
                </a:tc>
                <a:tc>
                  <a:txBody>
                    <a:bodyPr/>
                    <a:lstStyle/>
                    <a:p>
                      <a:r>
                        <a:rPr lang="en-GB" sz="1600" b="0" dirty="0">
                          <a:latin typeface="+mj-lt"/>
                        </a:rPr>
                        <a:t>Diferencia (%)</a:t>
                      </a:r>
                    </a:p>
                  </a:txBody>
                  <a:tcPr/>
                </a:tc>
                <a:extLst>
                  <a:ext uri="{0D108BD9-81ED-4DB2-BD59-A6C34878D82A}">
                    <a16:rowId xmlns:a16="http://schemas.microsoft.com/office/drawing/2014/main" xmlns="" val="262741817"/>
                  </a:ext>
                </a:extLst>
              </a:tr>
              <a:tr h="370840">
                <a:tc>
                  <a:txBody>
                    <a:bodyPr/>
                    <a:lstStyle/>
                    <a:p>
                      <a:r>
                        <a:rPr lang="en-GB" sz="1600" dirty="0">
                          <a:solidFill>
                            <a:srgbClr val="245473"/>
                          </a:solidFill>
                          <a:latin typeface="+mj-lt"/>
                        </a:rPr>
                        <a:t>1. Velocidad global de toma de decisiones</a:t>
                      </a:r>
                    </a:p>
                  </a:txBody>
                  <a:tcPr/>
                </a:tc>
                <a:tc>
                  <a:txBody>
                    <a:bodyPr/>
                    <a:lstStyle/>
                    <a:p>
                      <a:pPr algn="ctr"/>
                      <a:r>
                        <a:rPr lang="en-GB" sz="1600" dirty="0">
                          <a:solidFill>
                            <a:srgbClr val="245473"/>
                          </a:solidFill>
                          <a:latin typeface="+mj-lt"/>
                        </a:rPr>
                        <a:t>70% (n=657)</a:t>
                      </a:r>
                    </a:p>
                  </a:txBody>
                  <a:tcPr/>
                </a:tc>
                <a:tc>
                  <a:txBody>
                    <a:bodyPr/>
                    <a:lstStyle/>
                    <a:p>
                      <a:pPr algn="ctr"/>
                      <a:r>
                        <a:rPr lang="en-GB" sz="1600" dirty="0">
                          <a:solidFill>
                            <a:srgbClr val="245473"/>
                          </a:solidFill>
                          <a:latin typeface="+mj-lt"/>
                        </a:rPr>
                        <a:t>3% (n=32)</a:t>
                      </a:r>
                    </a:p>
                  </a:txBody>
                  <a:tcPr/>
                </a:tc>
                <a:tc>
                  <a:txBody>
                    <a:bodyPr/>
                    <a:lstStyle/>
                    <a:p>
                      <a:pPr algn="ctr"/>
                      <a:r>
                        <a:rPr lang="en-GB" sz="1600" dirty="0">
                          <a:solidFill>
                            <a:srgbClr val="245473"/>
                          </a:solidFill>
                          <a:latin typeface="+mj-lt"/>
                        </a:rPr>
                        <a:t>67%</a:t>
                      </a:r>
                    </a:p>
                  </a:txBody>
                  <a:tcPr/>
                </a:tc>
                <a:extLst>
                  <a:ext uri="{0D108BD9-81ED-4DB2-BD59-A6C34878D82A}">
                    <a16:rowId xmlns:a16="http://schemas.microsoft.com/office/drawing/2014/main" xmlns="" val="2130837154"/>
                  </a:ext>
                </a:extLst>
              </a:tr>
              <a:tr h="370840">
                <a:tc>
                  <a:txBody>
                    <a:bodyPr/>
                    <a:lstStyle/>
                    <a:p>
                      <a:r>
                        <a:rPr lang="en-GB" sz="1600" dirty="0">
                          <a:solidFill>
                            <a:srgbClr val="245473"/>
                          </a:solidFill>
                          <a:latin typeface="+mj-lt"/>
                        </a:rPr>
                        <a:t>2. Rapidez en la ejecución de los procesos organizativos existentes</a:t>
                      </a:r>
                    </a:p>
                  </a:txBody>
                  <a:tcPr/>
                </a:tc>
                <a:tc>
                  <a:txBody>
                    <a:bodyPr/>
                    <a:lstStyle/>
                    <a:p>
                      <a:pPr algn="ctr"/>
                      <a:r>
                        <a:rPr lang="en-GB" sz="1600" dirty="0">
                          <a:solidFill>
                            <a:srgbClr val="245473"/>
                          </a:solidFill>
                          <a:latin typeface="+mj-lt"/>
                        </a:rPr>
                        <a:t>69% (n=649)</a:t>
                      </a:r>
                    </a:p>
                  </a:txBody>
                  <a:tcPr/>
                </a:tc>
                <a:tc>
                  <a:txBody>
                    <a:bodyPr/>
                    <a:lstStyle/>
                    <a:p>
                      <a:pPr algn="ctr"/>
                      <a:r>
                        <a:rPr lang="en-GB" sz="1600" dirty="0">
                          <a:solidFill>
                            <a:srgbClr val="245473"/>
                          </a:solidFill>
                          <a:latin typeface="+mj-lt"/>
                        </a:rPr>
                        <a:t>2% (n=22)</a:t>
                      </a:r>
                    </a:p>
                  </a:txBody>
                  <a:tcPr/>
                </a:tc>
                <a:tc>
                  <a:txBody>
                    <a:bodyPr/>
                    <a:lstStyle/>
                    <a:p>
                      <a:pPr algn="ctr"/>
                      <a:r>
                        <a:rPr lang="en-GB" sz="1600" dirty="0">
                          <a:solidFill>
                            <a:srgbClr val="245473"/>
                          </a:solidFill>
                          <a:latin typeface="+mj-lt"/>
                        </a:rPr>
                        <a:t>67%</a:t>
                      </a:r>
                    </a:p>
                  </a:txBody>
                  <a:tcPr/>
                </a:tc>
                <a:extLst>
                  <a:ext uri="{0D108BD9-81ED-4DB2-BD59-A6C34878D82A}">
                    <a16:rowId xmlns:a16="http://schemas.microsoft.com/office/drawing/2014/main" xmlns="" val="719506884"/>
                  </a:ext>
                </a:extLst>
              </a:tr>
              <a:tr h="370840">
                <a:tc>
                  <a:txBody>
                    <a:bodyPr/>
                    <a:lstStyle/>
                    <a:p>
                      <a:r>
                        <a:rPr lang="en-GB" sz="1600" dirty="0">
                          <a:solidFill>
                            <a:srgbClr val="245473"/>
                          </a:solidFill>
                          <a:latin typeface="+mj-lt"/>
                        </a:rPr>
                        <a:t>3. Potenciación de los equipos de crisis</a:t>
                      </a:r>
                    </a:p>
                  </a:txBody>
                  <a:tcPr/>
                </a:tc>
                <a:tc>
                  <a:txBody>
                    <a:bodyPr/>
                    <a:lstStyle/>
                    <a:p>
                      <a:pPr algn="ctr"/>
                      <a:r>
                        <a:rPr lang="en-GB" sz="1600" dirty="0">
                          <a:solidFill>
                            <a:srgbClr val="245473"/>
                          </a:solidFill>
                          <a:latin typeface="+mj-lt"/>
                        </a:rPr>
                        <a:t>69% (n=651)</a:t>
                      </a:r>
                    </a:p>
                  </a:txBody>
                  <a:tcPr/>
                </a:tc>
                <a:tc>
                  <a:txBody>
                    <a:bodyPr/>
                    <a:lstStyle/>
                    <a:p>
                      <a:pPr algn="ctr"/>
                      <a:r>
                        <a:rPr lang="en-GB" sz="1600" dirty="0">
                          <a:solidFill>
                            <a:srgbClr val="245473"/>
                          </a:solidFill>
                          <a:latin typeface="+mj-lt"/>
                        </a:rPr>
                        <a:t>2% (n=23)</a:t>
                      </a:r>
                    </a:p>
                  </a:txBody>
                  <a:tcPr/>
                </a:tc>
                <a:tc>
                  <a:txBody>
                    <a:bodyPr/>
                    <a:lstStyle/>
                    <a:p>
                      <a:pPr algn="ctr"/>
                      <a:r>
                        <a:rPr lang="en-GB" sz="1600" dirty="0">
                          <a:solidFill>
                            <a:srgbClr val="245473"/>
                          </a:solidFill>
                          <a:latin typeface="+mj-lt"/>
                        </a:rPr>
                        <a:t>67%</a:t>
                      </a:r>
                    </a:p>
                  </a:txBody>
                  <a:tcPr/>
                </a:tc>
                <a:extLst>
                  <a:ext uri="{0D108BD9-81ED-4DB2-BD59-A6C34878D82A}">
                    <a16:rowId xmlns:a16="http://schemas.microsoft.com/office/drawing/2014/main" xmlns="" val="525234127"/>
                  </a:ext>
                </a:extLst>
              </a:tr>
              <a:tr h="370840">
                <a:tc>
                  <a:txBody>
                    <a:bodyPr/>
                    <a:lstStyle/>
                    <a:p>
                      <a:r>
                        <a:rPr lang="en-GB" sz="1600" dirty="0">
                          <a:solidFill>
                            <a:srgbClr val="245473"/>
                          </a:solidFill>
                          <a:latin typeface="+mj-lt"/>
                        </a:rPr>
                        <a:t>4. Priorización de las iniciativas estratégicas</a:t>
                      </a:r>
                    </a:p>
                  </a:txBody>
                  <a:tcPr/>
                </a:tc>
                <a:tc>
                  <a:txBody>
                    <a:bodyPr/>
                    <a:lstStyle/>
                    <a:p>
                      <a:pPr algn="ctr"/>
                      <a:r>
                        <a:rPr lang="en-GB" sz="1600" dirty="0">
                          <a:solidFill>
                            <a:srgbClr val="245473"/>
                          </a:solidFill>
                          <a:latin typeface="+mj-lt"/>
                        </a:rPr>
                        <a:t>69% (n=646)</a:t>
                      </a:r>
                    </a:p>
                  </a:txBody>
                  <a:tcPr/>
                </a:tc>
                <a:tc>
                  <a:txBody>
                    <a:bodyPr/>
                    <a:lstStyle/>
                    <a:p>
                      <a:pPr algn="ctr"/>
                      <a:r>
                        <a:rPr lang="en-GB" sz="1600" dirty="0">
                          <a:solidFill>
                            <a:srgbClr val="245473"/>
                          </a:solidFill>
                          <a:latin typeface="+mj-lt"/>
                        </a:rPr>
                        <a:t>3% (n=30)</a:t>
                      </a:r>
                    </a:p>
                  </a:txBody>
                  <a:tcPr/>
                </a:tc>
                <a:tc>
                  <a:txBody>
                    <a:bodyPr/>
                    <a:lstStyle/>
                    <a:p>
                      <a:pPr algn="ctr"/>
                      <a:r>
                        <a:rPr lang="en-GB" sz="1600" dirty="0">
                          <a:solidFill>
                            <a:srgbClr val="245473"/>
                          </a:solidFill>
                          <a:latin typeface="+mj-lt"/>
                        </a:rPr>
                        <a:t>66%</a:t>
                      </a:r>
                    </a:p>
                  </a:txBody>
                  <a:tcPr/>
                </a:tc>
                <a:extLst>
                  <a:ext uri="{0D108BD9-81ED-4DB2-BD59-A6C34878D82A}">
                    <a16:rowId xmlns:a16="http://schemas.microsoft.com/office/drawing/2014/main" xmlns="" val="2061441656"/>
                  </a:ext>
                </a:extLst>
              </a:tr>
              <a:tr h="370840">
                <a:tc>
                  <a:txBody>
                    <a:bodyPr/>
                    <a:lstStyle/>
                    <a:p>
                      <a:r>
                        <a:rPr lang="en-GB" sz="1600" dirty="0">
                          <a:solidFill>
                            <a:srgbClr val="245473"/>
                          </a:solidFill>
                          <a:latin typeface="+mj-lt"/>
                        </a:rPr>
                        <a:t>5. Comunicaciones internas</a:t>
                      </a:r>
                    </a:p>
                  </a:txBody>
                  <a:tcPr/>
                </a:tc>
                <a:tc>
                  <a:txBody>
                    <a:bodyPr/>
                    <a:lstStyle/>
                    <a:p>
                      <a:pPr algn="ctr"/>
                      <a:r>
                        <a:rPr lang="en-GB" sz="1600" dirty="0">
                          <a:solidFill>
                            <a:srgbClr val="245473"/>
                          </a:solidFill>
                          <a:latin typeface="+mj-lt"/>
                        </a:rPr>
                        <a:t>67% (n=627)</a:t>
                      </a:r>
                    </a:p>
                  </a:txBody>
                  <a:tcPr/>
                </a:tc>
                <a:tc>
                  <a:txBody>
                    <a:bodyPr/>
                    <a:lstStyle/>
                    <a:p>
                      <a:pPr algn="ctr"/>
                      <a:r>
                        <a:rPr lang="en-GB" sz="1600" dirty="0">
                          <a:solidFill>
                            <a:srgbClr val="245473"/>
                          </a:solidFill>
                          <a:latin typeface="+mj-lt"/>
                        </a:rPr>
                        <a:t>4% (n=37)</a:t>
                      </a:r>
                    </a:p>
                  </a:txBody>
                  <a:tcPr/>
                </a:tc>
                <a:tc>
                  <a:txBody>
                    <a:bodyPr/>
                    <a:lstStyle/>
                    <a:p>
                      <a:pPr algn="ctr"/>
                      <a:r>
                        <a:rPr lang="en-GB" sz="1600" dirty="0">
                          <a:solidFill>
                            <a:srgbClr val="245473"/>
                          </a:solidFill>
                          <a:latin typeface="+mj-lt"/>
                        </a:rPr>
                        <a:t>63%</a:t>
                      </a:r>
                    </a:p>
                  </a:txBody>
                  <a:tcPr/>
                </a:tc>
                <a:extLst>
                  <a:ext uri="{0D108BD9-81ED-4DB2-BD59-A6C34878D82A}">
                    <a16:rowId xmlns:a16="http://schemas.microsoft.com/office/drawing/2014/main" xmlns="" val="409102851"/>
                  </a:ext>
                </a:extLst>
              </a:tr>
            </a:tbl>
          </a:graphicData>
        </a:graphic>
      </p:graphicFrame>
    </p:spTree>
    <p:extLst>
      <p:ext uri="{BB962C8B-B14F-4D97-AF65-F5344CB8AC3E}">
        <p14:creationId xmlns:p14="http://schemas.microsoft.com/office/powerpoint/2010/main" val="13595661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45806" y="459400"/>
            <a:ext cx="8852375" cy="697353"/>
          </a:xfrm>
        </p:spPr>
        <p:txBody>
          <a:bodyPr>
            <a:noAutofit/>
          </a:bodyPr>
          <a:lstStyle/>
          <a:p>
            <a:r>
              <a:rPr lang="en-GB" dirty="0"/>
              <a:t>Aprender de la crisis: Aplicando las lecciones del Modo Crisis (cont.)</a:t>
            </a: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3653284" y="6651604"/>
            <a:ext cx="554572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Fuente: Adaptado de Brightline Initiative en colaboración con Quartz Insights 2018</a:t>
            </a:r>
          </a:p>
        </p:txBody>
      </p:sp>
      <p:sp>
        <p:nvSpPr>
          <p:cNvPr id="22" name="Freeform 148">
            <a:extLst>
              <a:ext uri="{FF2B5EF4-FFF2-40B4-BE49-F238E27FC236}">
                <a16:creationId xmlns:a16="http://schemas.microsoft.com/office/drawing/2014/main" xmlns="" id="{E36CE1A6-34CA-443B-A89B-ECF78569B1F1}"/>
              </a:ext>
            </a:extLst>
          </p:cNvPr>
          <p:cNvSpPr>
            <a:spLocks noChangeArrowheads="1"/>
          </p:cNvSpPr>
          <p:nvPr/>
        </p:nvSpPr>
        <p:spPr bwMode="auto">
          <a:xfrm>
            <a:off x="315344" y="1952865"/>
            <a:ext cx="5545722" cy="4566929"/>
          </a:xfrm>
          <a:custGeom>
            <a:avLst/>
            <a:gdLst>
              <a:gd name="T0" fmla="*/ 2831 w 2884"/>
              <a:gd name="T1" fmla="*/ 2604 h 2605"/>
              <a:gd name="T2" fmla="*/ 2831 w 2884"/>
              <a:gd name="T3" fmla="*/ 2604 h 2605"/>
              <a:gd name="T4" fmla="*/ 52 w 2884"/>
              <a:gd name="T5" fmla="*/ 2604 h 2605"/>
              <a:gd name="T6" fmla="*/ 0 w 2884"/>
              <a:gd name="T7" fmla="*/ 2552 h 2605"/>
              <a:gd name="T8" fmla="*/ 0 w 2884"/>
              <a:gd name="T9" fmla="*/ 48 h 2605"/>
              <a:gd name="T10" fmla="*/ 52 w 2884"/>
              <a:gd name="T11" fmla="*/ 0 h 2605"/>
              <a:gd name="T12" fmla="*/ 2831 w 2884"/>
              <a:gd name="T13" fmla="*/ 0 h 2605"/>
              <a:gd name="T14" fmla="*/ 2883 w 2884"/>
              <a:gd name="T15" fmla="*/ 48 h 2605"/>
              <a:gd name="T16" fmla="*/ 2883 w 2884"/>
              <a:gd name="T17" fmla="*/ 2552 h 2605"/>
              <a:gd name="T18" fmla="*/ 2831 w 2884"/>
              <a:gd name="T19" fmla="*/ 2604 h 2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4" h="2605">
                <a:moveTo>
                  <a:pt x="2831" y="2604"/>
                </a:moveTo>
                <a:lnTo>
                  <a:pt x="2831" y="2604"/>
                </a:lnTo>
                <a:cubicBezTo>
                  <a:pt x="52" y="2604"/>
                  <a:pt x="52" y="2604"/>
                  <a:pt x="52" y="2604"/>
                </a:cubicBezTo>
                <a:cubicBezTo>
                  <a:pt x="21" y="2604"/>
                  <a:pt x="0" y="2579"/>
                  <a:pt x="0" y="2552"/>
                </a:cubicBezTo>
                <a:cubicBezTo>
                  <a:pt x="0" y="48"/>
                  <a:pt x="0" y="48"/>
                  <a:pt x="0" y="48"/>
                </a:cubicBezTo>
                <a:cubicBezTo>
                  <a:pt x="0" y="21"/>
                  <a:pt x="21" y="0"/>
                  <a:pt x="52" y="0"/>
                </a:cubicBezTo>
                <a:cubicBezTo>
                  <a:pt x="2831" y="0"/>
                  <a:pt x="2831" y="0"/>
                  <a:pt x="2831" y="0"/>
                </a:cubicBezTo>
                <a:cubicBezTo>
                  <a:pt x="2859" y="0"/>
                  <a:pt x="2883" y="21"/>
                  <a:pt x="2883" y="48"/>
                </a:cubicBezTo>
                <a:cubicBezTo>
                  <a:pt x="2883" y="2552"/>
                  <a:pt x="2883" y="2552"/>
                  <a:pt x="2883" y="2552"/>
                </a:cubicBezTo>
                <a:cubicBezTo>
                  <a:pt x="2883" y="2579"/>
                  <a:pt x="2859" y="2604"/>
                  <a:pt x="2831" y="2604"/>
                </a:cubicBezTo>
              </a:path>
            </a:pathLst>
          </a:custGeom>
          <a:solidFill>
            <a:schemeClr val="bg1">
              <a:lumMod val="95000"/>
            </a:schemeClr>
          </a:solidFill>
          <a:ln>
            <a:noFill/>
          </a:ln>
          <a:effectLst/>
        </p:spPr>
        <p:txBody>
          <a:bodyPr wrap="none" anchor="ctr"/>
          <a:lstStyle/>
          <a:p>
            <a:endParaRPr lang="en-GB" sz="1400" dirty="0">
              <a:latin typeface="Roboto" charset="0"/>
              <a:ea typeface="Roboto" charset="0"/>
              <a:cs typeface="Roboto" charset="0"/>
            </a:endParaRPr>
          </a:p>
        </p:txBody>
      </p:sp>
      <p:sp>
        <p:nvSpPr>
          <p:cNvPr id="23" name="Freeform 149">
            <a:extLst>
              <a:ext uri="{FF2B5EF4-FFF2-40B4-BE49-F238E27FC236}">
                <a16:creationId xmlns:a16="http://schemas.microsoft.com/office/drawing/2014/main" xmlns="" id="{00445977-4B7E-4F07-96BA-CE5FE0CD1165}"/>
              </a:ext>
            </a:extLst>
          </p:cNvPr>
          <p:cNvSpPr>
            <a:spLocks noChangeArrowheads="1"/>
          </p:cNvSpPr>
          <p:nvPr/>
        </p:nvSpPr>
        <p:spPr bwMode="auto">
          <a:xfrm>
            <a:off x="311814" y="1953150"/>
            <a:ext cx="871729" cy="871729"/>
          </a:xfrm>
          <a:custGeom>
            <a:avLst/>
            <a:gdLst>
              <a:gd name="T0" fmla="*/ 162 w 1595"/>
              <a:gd name="T1" fmla="*/ 0 h 1596"/>
              <a:gd name="T2" fmla="*/ 162 w 1595"/>
              <a:gd name="T3" fmla="*/ 0 h 1596"/>
              <a:gd name="T4" fmla="*/ 0 w 1595"/>
              <a:gd name="T5" fmla="*/ 163 h 1596"/>
              <a:gd name="T6" fmla="*/ 0 w 1595"/>
              <a:gd name="T7" fmla="*/ 1595 h 1596"/>
              <a:gd name="T8" fmla="*/ 1594 w 1595"/>
              <a:gd name="T9" fmla="*/ 0 h 1596"/>
              <a:gd name="T10" fmla="*/ 162 w 1595"/>
              <a:gd name="T11" fmla="*/ 0 h 1596"/>
            </a:gdLst>
            <a:ahLst/>
            <a:cxnLst>
              <a:cxn ang="0">
                <a:pos x="T0" y="T1"/>
              </a:cxn>
              <a:cxn ang="0">
                <a:pos x="T2" y="T3"/>
              </a:cxn>
              <a:cxn ang="0">
                <a:pos x="T4" y="T5"/>
              </a:cxn>
              <a:cxn ang="0">
                <a:pos x="T6" y="T7"/>
              </a:cxn>
              <a:cxn ang="0">
                <a:pos x="T8" y="T9"/>
              </a:cxn>
              <a:cxn ang="0">
                <a:pos x="T10" y="T11"/>
              </a:cxn>
            </a:cxnLst>
            <a:rect l="0" t="0" r="r" b="b"/>
            <a:pathLst>
              <a:path w="1595" h="1596">
                <a:moveTo>
                  <a:pt x="162" y="0"/>
                </a:moveTo>
                <a:lnTo>
                  <a:pt x="162" y="0"/>
                </a:lnTo>
                <a:cubicBezTo>
                  <a:pt x="72" y="0"/>
                  <a:pt x="0" y="73"/>
                  <a:pt x="0" y="163"/>
                </a:cubicBezTo>
                <a:cubicBezTo>
                  <a:pt x="0" y="1595"/>
                  <a:pt x="0" y="1595"/>
                  <a:pt x="0" y="1595"/>
                </a:cubicBezTo>
                <a:cubicBezTo>
                  <a:pt x="881" y="1595"/>
                  <a:pt x="1594" y="882"/>
                  <a:pt x="1594" y="0"/>
                </a:cubicBezTo>
                <a:lnTo>
                  <a:pt x="162" y="0"/>
                </a:lnTo>
              </a:path>
            </a:pathLst>
          </a:custGeom>
          <a:solidFill>
            <a:schemeClr val="accent1"/>
          </a:solidFill>
          <a:ln>
            <a:noFill/>
          </a:ln>
          <a:effectLst/>
        </p:spPr>
        <p:txBody>
          <a:bodyPr wrap="none" anchor="ctr"/>
          <a:lstStyle/>
          <a:p>
            <a:endParaRPr lang="en-GB" sz="1400" dirty="0">
              <a:latin typeface="Roboto" charset="0"/>
              <a:ea typeface="Roboto" charset="0"/>
              <a:cs typeface="Roboto" charset="0"/>
            </a:endParaRPr>
          </a:p>
        </p:txBody>
      </p:sp>
      <p:sp>
        <p:nvSpPr>
          <p:cNvPr id="24" name="TextBox 17">
            <a:extLst>
              <a:ext uri="{FF2B5EF4-FFF2-40B4-BE49-F238E27FC236}">
                <a16:creationId xmlns:a16="http://schemas.microsoft.com/office/drawing/2014/main" xmlns="" id="{E65A818C-FDEE-44D3-A5C8-867F4341888F}"/>
              </a:ext>
            </a:extLst>
          </p:cNvPr>
          <p:cNvSpPr txBox="1"/>
          <p:nvPr/>
        </p:nvSpPr>
        <p:spPr>
          <a:xfrm rot="16200000">
            <a:off x="-1914198" y="3845563"/>
            <a:ext cx="4146779" cy="307777"/>
          </a:xfrm>
          <a:prstGeom prst="rect">
            <a:avLst/>
          </a:prstGeom>
          <a:noFill/>
        </p:spPr>
        <p:txBody>
          <a:bodyPr wrap="square" rtlCol="0" anchor="ctr" anchorCtr="0">
            <a:spAutoFit/>
          </a:bodyPr>
          <a:lstStyle/>
          <a:p>
            <a:pPr algn="ctr"/>
            <a:r>
              <a:rPr lang="en-GB" sz="1400" b="1" dirty="0">
                <a:solidFill>
                  <a:srgbClr val="0070C0"/>
                </a:solidFill>
                <a:latin typeface="Roboto" charset="0"/>
                <a:ea typeface="Roboto" charset="0"/>
                <a:cs typeface="Roboto" charset="0"/>
              </a:rPr>
              <a:t>Centrarse en lo importante</a:t>
            </a:r>
          </a:p>
        </p:txBody>
      </p:sp>
      <p:sp>
        <p:nvSpPr>
          <p:cNvPr id="27" name="Subtitle 2">
            <a:extLst>
              <a:ext uri="{FF2B5EF4-FFF2-40B4-BE49-F238E27FC236}">
                <a16:creationId xmlns:a16="http://schemas.microsoft.com/office/drawing/2014/main" xmlns="" id="{27C38862-9CC6-4EA5-8397-9CAB078218B2}"/>
              </a:ext>
            </a:extLst>
          </p:cNvPr>
          <p:cNvSpPr txBox="1">
            <a:spLocks/>
          </p:cNvSpPr>
          <p:nvPr/>
        </p:nvSpPr>
        <p:spPr>
          <a:xfrm>
            <a:off x="1629289" y="1982627"/>
            <a:ext cx="3840282" cy="39015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b="1" dirty="0">
                <a:solidFill>
                  <a:srgbClr val="0070C0"/>
                </a:solidFill>
                <a:latin typeface="+mj-lt"/>
                <a:ea typeface="Lato" charset="0"/>
                <a:cs typeface="Lato" charset="0"/>
              </a:rPr>
              <a:t>Priorizar las iniciativas estratégicas</a:t>
            </a:r>
          </a:p>
        </p:txBody>
      </p:sp>
      <p:sp>
        <p:nvSpPr>
          <p:cNvPr id="28" name="Subtitle 2">
            <a:extLst>
              <a:ext uri="{FF2B5EF4-FFF2-40B4-BE49-F238E27FC236}">
                <a16:creationId xmlns:a16="http://schemas.microsoft.com/office/drawing/2014/main" xmlns="" id="{5EC59DCF-9D02-46DC-B679-0F7F8AD2AEFC}"/>
              </a:ext>
            </a:extLst>
          </p:cNvPr>
          <p:cNvSpPr txBox="1">
            <a:spLocks/>
          </p:cNvSpPr>
          <p:nvPr/>
        </p:nvSpPr>
        <p:spPr>
          <a:xfrm>
            <a:off x="712515" y="2653212"/>
            <a:ext cx="5156490" cy="377569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rPr>
              <a:t>Del 75% de los encuestados que declararon que la experiencia del Modo Crisis les hizo más fuertes en la implementación de la estrategia, el 91% declaró haber hecho cambios en su priorización de las iniciativas estratégicas, y el 88% cambió las prioridades de su equipo y su dedicación a las iniciativas. Asegurarse de que se aprovecha el Modo Crisis para la implementación de la estrategia después de una crisis requiere la voluntad de evaluar lo que funciona y lo que no en el momento, y responder rápidamente para centrarse en lo que más importa sin miedo a abandonar una dirección previamente establecida.</a:t>
            </a:r>
            <a:endParaRPr lang="en-GB" sz="2000" dirty="0">
              <a:solidFill>
                <a:srgbClr val="245473"/>
              </a:solidFill>
              <a:latin typeface="+mj-lt"/>
              <a:ea typeface="Lato" charset="0"/>
              <a:cs typeface="Lato" charset="0"/>
            </a:endParaRPr>
          </a:p>
        </p:txBody>
      </p:sp>
      <p:sp>
        <p:nvSpPr>
          <p:cNvPr id="31" name="TextBox 24">
            <a:extLst>
              <a:ext uri="{FF2B5EF4-FFF2-40B4-BE49-F238E27FC236}">
                <a16:creationId xmlns:a16="http://schemas.microsoft.com/office/drawing/2014/main" xmlns="" id="{BB61B264-D519-44B2-812D-62E264C6DDD7}"/>
              </a:ext>
            </a:extLst>
          </p:cNvPr>
          <p:cNvSpPr txBox="1"/>
          <p:nvPr/>
        </p:nvSpPr>
        <p:spPr>
          <a:xfrm>
            <a:off x="333339" y="1991100"/>
            <a:ext cx="530388" cy="461665"/>
          </a:xfrm>
          <a:prstGeom prst="rect">
            <a:avLst/>
          </a:prstGeom>
          <a:noFill/>
        </p:spPr>
        <p:txBody>
          <a:bodyPr wrap="square" rtlCol="0" anchor="ctr" anchorCtr="0">
            <a:spAutoFit/>
          </a:bodyPr>
          <a:lstStyle/>
          <a:p>
            <a:pPr algn="ctr"/>
            <a:r>
              <a:rPr lang="en-GB" sz="2400" b="1" dirty="0">
                <a:solidFill>
                  <a:schemeClr val="bg1"/>
                </a:solidFill>
                <a:latin typeface="Roboto" charset="0"/>
                <a:ea typeface="Roboto" charset="0"/>
                <a:cs typeface="Roboto" charset="0"/>
              </a:rPr>
              <a:t>01</a:t>
            </a:r>
          </a:p>
        </p:txBody>
      </p:sp>
      <p:sp>
        <p:nvSpPr>
          <p:cNvPr id="38" name="Freeform 148">
            <a:extLst>
              <a:ext uri="{FF2B5EF4-FFF2-40B4-BE49-F238E27FC236}">
                <a16:creationId xmlns:a16="http://schemas.microsoft.com/office/drawing/2014/main" xmlns="" id="{556974A5-13ED-4986-B886-9A88872920B2}"/>
              </a:ext>
            </a:extLst>
          </p:cNvPr>
          <p:cNvSpPr>
            <a:spLocks noChangeArrowheads="1"/>
          </p:cNvSpPr>
          <p:nvPr/>
        </p:nvSpPr>
        <p:spPr bwMode="auto">
          <a:xfrm>
            <a:off x="6181841" y="1901624"/>
            <a:ext cx="5900254" cy="4496976"/>
          </a:xfrm>
          <a:custGeom>
            <a:avLst/>
            <a:gdLst>
              <a:gd name="T0" fmla="*/ 2831 w 2884"/>
              <a:gd name="T1" fmla="*/ 2604 h 2605"/>
              <a:gd name="T2" fmla="*/ 2831 w 2884"/>
              <a:gd name="T3" fmla="*/ 2604 h 2605"/>
              <a:gd name="T4" fmla="*/ 52 w 2884"/>
              <a:gd name="T5" fmla="*/ 2604 h 2605"/>
              <a:gd name="T6" fmla="*/ 0 w 2884"/>
              <a:gd name="T7" fmla="*/ 2552 h 2605"/>
              <a:gd name="T8" fmla="*/ 0 w 2884"/>
              <a:gd name="T9" fmla="*/ 48 h 2605"/>
              <a:gd name="T10" fmla="*/ 52 w 2884"/>
              <a:gd name="T11" fmla="*/ 0 h 2605"/>
              <a:gd name="T12" fmla="*/ 2831 w 2884"/>
              <a:gd name="T13" fmla="*/ 0 h 2605"/>
              <a:gd name="T14" fmla="*/ 2883 w 2884"/>
              <a:gd name="T15" fmla="*/ 48 h 2605"/>
              <a:gd name="T16" fmla="*/ 2883 w 2884"/>
              <a:gd name="T17" fmla="*/ 2552 h 2605"/>
              <a:gd name="T18" fmla="*/ 2831 w 2884"/>
              <a:gd name="T19" fmla="*/ 2604 h 2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4" h="2605">
                <a:moveTo>
                  <a:pt x="2831" y="2604"/>
                </a:moveTo>
                <a:lnTo>
                  <a:pt x="2831" y="2604"/>
                </a:lnTo>
                <a:cubicBezTo>
                  <a:pt x="52" y="2604"/>
                  <a:pt x="52" y="2604"/>
                  <a:pt x="52" y="2604"/>
                </a:cubicBezTo>
                <a:cubicBezTo>
                  <a:pt x="21" y="2604"/>
                  <a:pt x="0" y="2579"/>
                  <a:pt x="0" y="2552"/>
                </a:cubicBezTo>
                <a:cubicBezTo>
                  <a:pt x="0" y="48"/>
                  <a:pt x="0" y="48"/>
                  <a:pt x="0" y="48"/>
                </a:cubicBezTo>
                <a:cubicBezTo>
                  <a:pt x="0" y="21"/>
                  <a:pt x="21" y="0"/>
                  <a:pt x="52" y="0"/>
                </a:cubicBezTo>
                <a:cubicBezTo>
                  <a:pt x="2831" y="0"/>
                  <a:pt x="2831" y="0"/>
                  <a:pt x="2831" y="0"/>
                </a:cubicBezTo>
                <a:cubicBezTo>
                  <a:pt x="2859" y="0"/>
                  <a:pt x="2883" y="21"/>
                  <a:pt x="2883" y="48"/>
                </a:cubicBezTo>
                <a:cubicBezTo>
                  <a:pt x="2883" y="2552"/>
                  <a:pt x="2883" y="2552"/>
                  <a:pt x="2883" y="2552"/>
                </a:cubicBezTo>
                <a:cubicBezTo>
                  <a:pt x="2883" y="2579"/>
                  <a:pt x="2859" y="2604"/>
                  <a:pt x="2831" y="2604"/>
                </a:cubicBezTo>
              </a:path>
            </a:pathLst>
          </a:custGeom>
          <a:solidFill>
            <a:schemeClr val="bg1">
              <a:lumMod val="95000"/>
            </a:schemeClr>
          </a:solidFill>
          <a:ln>
            <a:noFill/>
          </a:ln>
          <a:effectLst/>
        </p:spPr>
        <p:txBody>
          <a:bodyPr wrap="none" anchor="ctr"/>
          <a:lstStyle/>
          <a:p>
            <a:endParaRPr lang="en-GB" sz="1400" dirty="0">
              <a:latin typeface="Roboto" charset="0"/>
              <a:ea typeface="Roboto" charset="0"/>
              <a:cs typeface="Roboto" charset="0"/>
            </a:endParaRPr>
          </a:p>
        </p:txBody>
      </p:sp>
      <p:sp>
        <p:nvSpPr>
          <p:cNvPr id="39" name="Freeform 149">
            <a:extLst>
              <a:ext uri="{FF2B5EF4-FFF2-40B4-BE49-F238E27FC236}">
                <a16:creationId xmlns:a16="http://schemas.microsoft.com/office/drawing/2014/main" xmlns="" id="{0D41BA39-8900-41BB-81DF-B91CA5D54585}"/>
              </a:ext>
            </a:extLst>
          </p:cNvPr>
          <p:cNvSpPr>
            <a:spLocks noChangeArrowheads="1"/>
          </p:cNvSpPr>
          <p:nvPr/>
        </p:nvSpPr>
        <p:spPr bwMode="auto">
          <a:xfrm>
            <a:off x="6100024" y="1901624"/>
            <a:ext cx="2026957" cy="871729"/>
          </a:xfrm>
          <a:custGeom>
            <a:avLst/>
            <a:gdLst>
              <a:gd name="T0" fmla="*/ 162 w 1595"/>
              <a:gd name="T1" fmla="*/ 0 h 1596"/>
              <a:gd name="T2" fmla="*/ 162 w 1595"/>
              <a:gd name="T3" fmla="*/ 0 h 1596"/>
              <a:gd name="T4" fmla="*/ 0 w 1595"/>
              <a:gd name="T5" fmla="*/ 163 h 1596"/>
              <a:gd name="T6" fmla="*/ 0 w 1595"/>
              <a:gd name="T7" fmla="*/ 1595 h 1596"/>
              <a:gd name="T8" fmla="*/ 1594 w 1595"/>
              <a:gd name="T9" fmla="*/ 0 h 1596"/>
              <a:gd name="T10" fmla="*/ 162 w 1595"/>
              <a:gd name="T11" fmla="*/ 0 h 1596"/>
            </a:gdLst>
            <a:ahLst/>
            <a:cxnLst>
              <a:cxn ang="0">
                <a:pos x="T0" y="T1"/>
              </a:cxn>
              <a:cxn ang="0">
                <a:pos x="T2" y="T3"/>
              </a:cxn>
              <a:cxn ang="0">
                <a:pos x="T4" y="T5"/>
              </a:cxn>
              <a:cxn ang="0">
                <a:pos x="T6" y="T7"/>
              </a:cxn>
              <a:cxn ang="0">
                <a:pos x="T8" y="T9"/>
              </a:cxn>
              <a:cxn ang="0">
                <a:pos x="T10" y="T11"/>
              </a:cxn>
            </a:cxnLst>
            <a:rect l="0" t="0" r="r" b="b"/>
            <a:pathLst>
              <a:path w="1595" h="1596">
                <a:moveTo>
                  <a:pt x="162" y="0"/>
                </a:moveTo>
                <a:lnTo>
                  <a:pt x="162" y="0"/>
                </a:lnTo>
                <a:cubicBezTo>
                  <a:pt x="72" y="0"/>
                  <a:pt x="0" y="73"/>
                  <a:pt x="0" y="163"/>
                </a:cubicBezTo>
                <a:cubicBezTo>
                  <a:pt x="0" y="1595"/>
                  <a:pt x="0" y="1595"/>
                  <a:pt x="0" y="1595"/>
                </a:cubicBezTo>
                <a:cubicBezTo>
                  <a:pt x="881" y="1595"/>
                  <a:pt x="1594" y="882"/>
                  <a:pt x="1594" y="0"/>
                </a:cubicBezTo>
                <a:lnTo>
                  <a:pt x="162" y="0"/>
                </a:lnTo>
              </a:path>
            </a:pathLst>
          </a:custGeom>
          <a:solidFill>
            <a:schemeClr val="accent2"/>
          </a:solidFill>
          <a:ln>
            <a:noFill/>
          </a:ln>
          <a:effectLst/>
        </p:spPr>
        <p:txBody>
          <a:bodyPr wrap="none" anchor="ctr"/>
          <a:lstStyle/>
          <a:p>
            <a:endParaRPr lang="en-GB" sz="1400" dirty="0">
              <a:latin typeface="Roboto" charset="0"/>
              <a:ea typeface="Roboto" charset="0"/>
              <a:cs typeface="Roboto" charset="0"/>
            </a:endParaRPr>
          </a:p>
        </p:txBody>
      </p:sp>
      <p:sp>
        <p:nvSpPr>
          <p:cNvPr id="40" name="TextBox 17">
            <a:extLst>
              <a:ext uri="{FF2B5EF4-FFF2-40B4-BE49-F238E27FC236}">
                <a16:creationId xmlns:a16="http://schemas.microsoft.com/office/drawing/2014/main" xmlns="" id="{9DB246A7-AC23-4949-BDAC-01D3FBA5EDA3}"/>
              </a:ext>
            </a:extLst>
          </p:cNvPr>
          <p:cNvSpPr txBox="1"/>
          <p:nvPr/>
        </p:nvSpPr>
        <p:spPr>
          <a:xfrm rot="16200000">
            <a:off x="3928384" y="3899982"/>
            <a:ext cx="4146779" cy="369332"/>
          </a:xfrm>
          <a:prstGeom prst="rect">
            <a:avLst/>
          </a:prstGeom>
          <a:noFill/>
        </p:spPr>
        <p:txBody>
          <a:bodyPr wrap="square" rtlCol="0" anchor="ctr" anchorCtr="0">
            <a:spAutoFit/>
          </a:bodyPr>
          <a:lstStyle/>
          <a:p>
            <a:pPr algn="ctr"/>
            <a:r>
              <a:rPr lang="en-GB" b="1" dirty="0">
                <a:solidFill>
                  <a:srgbClr val="F95C2C"/>
                </a:solidFill>
                <a:latin typeface="+mj-lt"/>
                <a:ea typeface="Roboto" charset="0"/>
                <a:cs typeface="Roboto" charset="0"/>
              </a:rPr>
              <a:t>Necesidad de velocidad</a:t>
            </a:r>
          </a:p>
        </p:txBody>
      </p:sp>
      <p:sp>
        <p:nvSpPr>
          <p:cNvPr id="41" name="Subtitle 2">
            <a:extLst>
              <a:ext uri="{FF2B5EF4-FFF2-40B4-BE49-F238E27FC236}">
                <a16:creationId xmlns:a16="http://schemas.microsoft.com/office/drawing/2014/main" xmlns="" id="{224A1AA7-6A11-473B-A10C-541AC818AAB5}"/>
              </a:ext>
            </a:extLst>
          </p:cNvPr>
          <p:cNvSpPr txBox="1">
            <a:spLocks/>
          </p:cNvSpPr>
          <p:nvPr/>
        </p:nvSpPr>
        <p:spPr>
          <a:xfrm>
            <a:off x="6181841" y="1952991"/>
            <a:ext cx="5025835" cy="26351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65"/>
              </a:lnSpc>
            </a:pPr>
            <a:endParaRPr lang="en-US" sz="1600" dirty="0">
              <a:solidFill>
                <a:schemeClr val="tx2">
                  <a:lumMod val="75000"/>
                </a:schemeClr>
              </a:solidFill>
            </a:endParaRPr>
          </a:p>
        </p:txBody>
      </p:sp>
      <p:sp>
        <p:nvSpPr>
          <p:cNvPr id="42" name="Subtitle 2">
            <a:extLst>
              <a:ext uri="{FF2B5EF4-FFF2-40B4-BE49-F238E27FC236}">
                <a16:creationId xmlns:a16="http://schemas.microsoft.com/office/drawing/2014/main" xmlns="" id="{340F04BB-594E-439D-BD3F-DB6DF8F7DA2B}"/>
              </a:ext>
            </a:extLst>
          </p:cNvPr>
          <p:cNvSpPr txBox="1">
            <a:spLocks/>
          </p:cNvSpPr>
          <p:nvPr/>
        </p:nvSpPr>
        <p:spPr>
          <a:xfrm>
            <a:off x="6533976" y="2807101"/>
            <a:ext cx="5330061" cy="34679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rPr>
              <a:t>En cuanto a la agilización de los procesos, dentro de las organizaciones de alto rendimiento -las que están de acuerdo en que salieron mejor paradas como resultado de la crisis-, un mayor número de encuestados (81%) cree que los procesos empresariales se benefician de la adaptación, ya que la crisis pone de manifiesto los puntos débiles y fuertes, que los que creen que los procesos empresariales se resienten porque se adoptan procesos no probados como respuesta a las limitaciones de tiempo (70%). Del mismo modo, los equipos eran un 11% más propensos a aumentar su eficacia en respuesta a la crisis debido al reto</a:t>
            </a:r>
            <a:endParaRPr lang="en-GB" sz="2000" dirty="0">
              <a:solidFill>
                <a:srgbClr val="245473"/>
              </a:solidFill>
              <a:latin typeface="+mj-lt"/>
              <a:ea typeface="Lato" charset="0"/>
              <a:cs typeface="Lato" charset="0"/>
            </a:endParaRPr>
          </a:p>
        </p:txBody>
      </p:sp>
      <p:sp>
        <p:nvSpPr>
          <p:cNvPr id="43" name="TextBox 24">
            <a:extLst>
              <a:ext uri="{FF2B5EF4-FFF2-40B4-BE49-F238E27FC236}">
                <a16:creationId xmlns:a16="http://schemas.microsoft.com/office/drawing/2014/main" xmlns="" id="{95EA1618-9A86-4D51-B106-49B1A59E088D}"/>
              </a:ext>
            </a:extLst>
          </p:cNvPr>
          <p:cNvSpPr txBox="1"/>
          <p:nvPr/>
        </p:nvSpPr>
        <p:spPr>
          <a:xfrm>
            <a:off x="5958510" y="2070154"/>
            <a:ext cx="757008" cy="461665"/>
          </a:xfrm>
          <a:prstGeom prst="rect">
            <a:avLst/>
          </a:prstGeom>
          <a:noFill/>
        </p:spPr>
        <p:txBody>
          <a:bodyPr wrap="square" rtlCol="0" anchor="ctr" anchorCtr="0">
            <a:spAutoFit/>
          </a:bodyPr>
          <a:lstStyle/>
          <a:p>
            <a:pPr algn="ctr"/>
            <a:r>
              <a:rPr lang="en-GB" sz="2400" b="1" dirty="0">
                <a:solidFill>
                  <a:schemeClr val="bg1"/>
                </a:solidFill>
                <a:latin typeface="Roboto" charset="0"/>
                <a:ea typeface="Roboto" charset="0"/>
                <a:cs typeface="Roboto" charset="0"/>
              </a:rPr>
              <a:t>02</a:t>
            </a:r>
          </a:p>
        </p:txBody>
      </p:sp>
      <p:sp>
        <p:nvSpPr>
          <p:cNvPr id="5" name="TextBox 4">
            <a:extLst>
              <a:ext uri="{FF2B5EF4-FFF2-40B4-BE49-F238E27FC236}">
                <a16:creationId xmlns:a16="http://schemas.microsoft.com/office/drawing/2014/main" xmlns="" id="{BA5716C4-5189-4A1E-A62B-C754120DB33A}"/>
              </a:ext>
            </a:extLst>
          </p:cNvPr>
          <p:cNvSpPr txBox="1"/>
          <p:nvPr/>
        </p:nvSpPr>
        <p:spPr>
          <a:xfrm>
            <a:off x="8045460" y="1984495"/>
            <a:ext cx="4305441" cy="984885"/>
          </a:xfrm>
          <a:prstGeom prst="rect">
            <a:avLst/>
          </a:prstGeom>
          <a:noFill/>
        </p:spPr>
        <p:txBody>
          <a:bodyPr wrap="square" rtlCol="0">
            <a:spAutoFit/>
          </a:bodyPr>
          <a:lstStyle/>
          <a:p>
            <a:r>
              <a:rPr lang="en-GB" sz="2000" b="1" dirty="0">
                <a:solidFill>
                  <a:srgbClr val="F95C2C"/>
                </a:solidFill>
                <a:latin typeface="+mj-lt"/>
                <a:ea typeface="Lato" charset="0"/>
                <a:cs typeface="Lato" charset="0"/>
              </a:rPr>
              <a:t>Mayor rapidez en la toma de decisiones y </a:t>
            </a:r>
            <a:br>
              <a:rPr lang="en-GB" sz="2000" b="1" dirty="0">
                <a:solidFill>
                  <a:srgbClr val="F95C2C"/>
                </a:solidFill>
                <a:latin typeface="+mj-lt"/>
                <a:ea typeface="Lato" charset="0"/>
                <a:cs typeface="Lato" charset="0"/>
              </a:rPr>
            </a:br>
            <a:r>
              <a:rPr lang="en-GB" sz="2000" b="1" dirty="0">
                <a:solidFill>
                  <a:srgbClr val="F95C2C"/>
                </a:solidFill>
                <a:latin typeface="+mj-lt"/>
                <a:ea typeface="Lato" charset="0"/>
                <a:cs typeface="Lato" charset="0"/>
              </a:rPr>
              <a:t>ejecución de los procesos existentes</a:t>
            </a:r>
            <a:endParaRPr lang="en-US" sz="2000" dirty="0">
              <a:solidFill>
                <a:srgbClr val="F95C2C"/>
              </a:solidFill>
            </a:endParaRPr>
          </a:p>
          <a:p>
            <a:endParaRPr lang="en-IE" dirty="0"/>
          </a:p>
        </p:txBody>
      </p:sp>
    </p:spTree>
    <p:extLst>
      <p:ext uri="{BB962C8B-B14F-4D97-AF65-F5344CB8AC3E}">
        <p14:creationId xmlns:p14="http://schemas.microsoft.com/office/powerpoint/2010/main" val="41673468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45806" y="459400"/>
            <a:ext cx="8852375" cy="697353"/>
          </a:xfrm>
        </p:spPr>
        <p:txBody>
          <a:bodyPr>
            <a:noAutofit/>
          </a:bodyPr>
          <a:lstStyle/>
          <a:p>
            <a:r>
              <a:rPr lang="en-GB" dirty="0"/>
              <a:t>Aprender de la crisis: Aplicando las lecciones del Modo Crisis (cont.)</a:t>
            </a: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3653284" y="6651604"/>
            <a:ext cx="554572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Fuente: Adaptado de Brightline Initiative en colaboración con Quartz Insights 2018</a:t>
            </a:r>
          </a:p>
        </p:txBody>
      </p:sp>
      <p:sp>
        <p:nvSpPr>
          <p:cNvPr id="22" name="Freeform 148">
            <a:extLst>
              <a:ext uri="{FF2B5EF4-FFF2-40B4-BE49-F238E27FC236}">
                <a16:creationId xmlns:a16="http://schemas.microsoft.com/office/drawing/2014/main" xmlns="" id="{E36CE1A6-34CA-443B-A89B-ECF78569B1F1}"/>
              </a:ext>
            </a:extLst>
          </p:cNvPr>
          <p:cNvSpPr>
            <a:spLocks noChangeArrowheads="1"/>
          </p:cNvSpPr>
          <p:nvPr/>
        </p:nvSpPr>
        <p:spPr bwMode="auto">
          <a:xfrm>
            <a:off x="315344" y="1926062"/>
            <a:ext cx="5545722" cy="4566929"/>
          </a:xfrm>
          <a:custGeom>
            <a:avLst/>
            <a:gdLst>
              <a:gd name="T0" fmla="*/ 2831 w 2884"/>
              <a:gd name="T1" fmla="*/ 2604 h 2605"/>
              <a:gd name="T2" fmla="*/ 2831 w 2884"/>
              <a:gd name="T3" fmla="*/ 2604 h 2605"/>
              <a:gd name="T4" fmla="*/ 52 w 2884"/>
              <a:gd name="T5" fmla="*/ 2604 h 2605"/>
              <a:gd name="T6" fmla="*/ 0 w 2884"/>
              <a:gd name="T7" fmla="*/ 2552 h 2605"/>
              <a:gd name="T8" fmla="*/ 0 w 2884"/>
              <a:gd name="T9" fmla="*/ 48 h 2605"/>
              <a:gd name="T10" fmla="*/ 52 w 2884"/>
              <a:gd name="T11" fmla="*/ 0 h 2605"/>
              <a:gd name="T12" fmla="*/ 2831 w 2884"/>
              <a:gd name="T13" fmla="*/ 0 h 2605"/>
              <a:gd name="T14" fmla="*/ 2883 w 2884"/>
              <a:gd name="T15" fmla="*/ 48 h 2605"/>
              <a:gd name="T16" fmla="*/ 2883 w 2884"/>
              <a:gd name="T17" fmla="*/ 2552 h 2605"/>
              <a:gd name="T18" fmla="*/ 2831 w 2884"/>
              <a:gd name="T19" fmla="*/ 2604 h 2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4" h="2605">
                <a:moveTo>
                  <a:pt x="2831" y="2604"/>
                </a:moveTo>
                <a:lnTo>
                  <a:pt x="2831" y="2604"/>
                </a:lnTo>
                <a:cubicBezTo>
                  <a:pt x="52" y="2604"/>
                  <a:pt x="52" y="2604"/>
                  <a:pt x="52" y="2604"/>
                </a:cubicBezTo>
                <a:cubicBezTo>
                  <a:pt x="21" y="2604"/>
                  <a:pt x="0" y="2579"/>
                  <a:pt x="0" y="2552"/>
                </a:cubicBezTo>
                <a:cubicBezTo>
                  <a:pt x="0" y="48"/>
                  <a:pt x="0" y="48"/>
                  <a:pt x="0" y="48"/>
                </a:cubicBezTo>
                <a:cubicBezTo>
                  <a:pt x="0" y="21"/>
                  <a:pt x="21" y="0"/>
                  <a:pt x="52" y="0"/>
                </a:cubicBezTo>
                <a:cubicBezTo>
                  <a:pt x="2831" y="0"/>
                  <a:pt x="2831" y="0"/>
                  <a:pt x="2831" y="0"/>
                </a:cubicBezTo>
                <a:cubicBezTo>
                  <a:pt x="2859" y="0"/>
                  <a:pt x="2883" y="21"/>
                  <a:pt x="2883" y="48"/>
                </a:cubicBezTo>
                <a:cubicBezTo>
                  <a:pt x="2883" y="2552"/>
                  <a:pt x="2883" y="2552"/>
                  <a:pt x="2883" y="2552"/>
                </a:cubicBezTo>
                <a:cubicBezTo>
                  <a:pt x="2883" y="2579"/>
                  <a:pt x="2859" y="2604"/>
                  <a:pt x="2831" y="2604"/>
                </a:cubicBezTo>
              </a:path>
            </a:pathLst>
          </a:custGeom>
          <a:solidFill>
            <a:schemeClr val="bg1">
              <a:lumMod val="95000"/>
            </a:schemeClr>
          </a:solidFill>
          <a:ln>
            <a:noFill/>
          </a:ln>
          <a:effectLst/>
        </p:spPr>
        <p:txBody>
          <a:bodyPr wrap="none" anchor="ctr"/>
          <a:lstStyle/>
          <a:p>
            <a:endParaRPr lang="en-GB" sz="1400" dirty="0">
              <a:latin typeface="Roboto" charset="0"/>
              <a:ea typeface="Roboto" charset="0"/>
              <a:cs typeface="Roboto" charset="0"/>
            </a:endParaRPr>
          </a:p>
        </p:txBody>
      </p:sp>
      <p:sp>
        <p:nvSpPr>
          <p:cNvPr id="23" name="Freeform 149">
            <a:extLst>
              <a:ext uri="{FF2B5EF4-FFF2-40B4-BE49-F238E27FC236}">
                <a16:creationId xmlns:a16="http://schemas.microsoft.com/office/drawing/2014/main" xmlns="" id="{00445977-4B7E-4F07-96BA-CE5FE0CD1165}"/>
              </a:ext>
            </a:extLst>
          </p:cNvPr>
          <p:cNvSpPr>
            <a:spLocks noChangeArrowheads="1"/>
          </p:cNvSpPr>
          <p:nvPr/>
        </p:nvSpPr>
        <p:spPr bwMode="auto">
          <a:xfrm>
            <a:off x="311814" y="1953151"/>
            <a:ext cx="1550179" cy="766340"/>
          </a:xfrm>
          <a:custGeom>
            <a:avLst/>
            <a:gdLst>
              <a:gd name="T0" fmla="*/ 162 w 1595"/>
              <a:gd name="T1" fmla="*/ 0 h 1596"/>
              <a:gd name="T2" fmla="*/ 162 w 1595"/>
              <a:gd name="T3" fmla="*/ 0 h 1596"/>
              <a:gd name="T4" fmla="*/ 0 w 1595"/>
              <a:gd name="T5" fmla="*/ 163 h 1596"/>
              <a:gd name="T6" fmla="*/ 0 w 1595"/>
              <a:gd name="T7" fmla="*/ 1595 h 1596"/>
              <a:gd name="T8" fmla="*/ 1594 w 1595"/>
              <a:gd name="T9" fmla="*/ 0 h 1596"/>
              <a:gd name="T10" fmla="*/ 162 w 1595"/>
              <a:gd name="T11" fmla="*/ 0 h 1596"/>
            </a:gdLst>
            <a:ahLst/>
            <a:cxnLst>
              <a:cxn ang="0">
                <a:pos x="T0" y="T1"/>
              </a:cxn>
              <a:cxn ang="0">
                <a:pos x="T2" y="T3"/>
              </a:cxn>
              <a:cxn ang="0">
                <a:pos x="T4" y="T5"/>
              </a:cxn>
              <a:cxn ang="0">
                <a:pos x="T6" y="T7"/>
              </a:cxn>
              <a:cxn ang="0">
                <a:pos x="T8" y="T9"/>
              </a:cxn>
              <a:cxn ang="0">
                <a:pos x="T10" y="T11"/>
              </a:cxn>
            </a:cxnLst>
            <a:rect l="0" t="0" r="r" b="b"/>
            <a:pathLst>
              <a:path w="1595" h="1596">
                <a:moveTo>
                  <a:pt x="162" y="0"/>
                </a:moveTo>
                <a:lnTo>
                  <a:pt x="162" y="0"/>
                </a:lnTo>
                <a:cubicBezTo>
                  <a:pt x="72" y="0"/>
                  <a:pt x="0" y="73"/>
                  <a:pt x="0" y="163"/>
                </a:cubicBezTo>
                <a:cubicBezTo>
                  <a:pt x="0" y="1595"/>
                  <a:pt x="0" y="1595"/>
                  <a:pt x="0" y="1595"/>
                </a:cubicBezTo>
                <a:cubicBezTo>
                  <a:pt x="881" y="1595"/>
                  <a:pt x="1594" y="882"/>
                  <a:pt x="1594" y="0"/>
                </a:cubicBezTo>
                <a:lnTo>
                  <a:pt x="162" y="0"/>
                </a:lnTo>
              </a:path>
            </a:pathLst>
          </a:custGeom>
          <a:solidFill>
            <a:srgbClr val="00B050"/>
          </a:solidFill>
          <a:ln>
            <a:noFill/>
          </a:ln>
          <a:effectLst/>
        </p:spPr>
        <p:txBody>
          <a:bodyPr wrap="none" anchor="ctr"/>
          <a:lstStyle/>
          <a:p>
            <a:endParaRPr lang="en-GB" sz="1400" dirty="0">
              <a:latin typeface="Roboto" charset="0"/>
              <a:ea typeface="Roboto" charset="0"/>
              <a:cs typeface="Roboto" charset="0"/>
            </a:endParaRPr>
          </a:p>
        </p:txBody>
      </p:sp>
      <p:sp>
        <p:nvSpPr>
          <p:cNvPr id="24" name="TextBox 17">
            <a:extLst>
              <a:ext uri="{FF2B5EF4-FFF2-40B4-BE49-F238E27FC236}">
                <a16:creationId xmlns:a16="http://schemas.microsoft.com/office/drawing/2014/main" xmlns="" id="{E65A818C-FDEE-44D3-A5C8-867F4341888F}"/>
              </a:ext>
            </a:extLst>
          </p:cNvPr>
          <p:cNvSpPr txBox="1"/>
          <p:nvPr/>
        </p:nvSpPr>
        <p:spPr>
          <a:xfrm rot="16200000">
            <a:off x="-1914198" y="3845563"/>
            <a:ext cx="4146779" cy="307777"/>
          </a:xfrm>
          <a:prstGeom prst="rect">
            <a:avLst/>
          </a:prstGeom>
          <a:noFill/>
        </p:spPr>
        <p:txBody>
          <a:bodyPr wrap="square" rtlCol="0" anchor="ctr" anchorCtr="0">
            <a:spAutoFit/>
          </a:bodyPr>
          <a:lstStyle/>
          <a:p>
            <a:pPr algn="ctr"/>
            <a:r>
              <a:rPr lang="en-GB" sz="1400" b="1" dirty="0">
                <a:solidFill>
                  <a:srgbClr val="00B050"/>
                </a:solidFill>
                <a:latin typeface="Roboto" charset="0"/>
                <a:ea typeface="Roboto" charset="0"/>
                <a:cs typeface="Roboto" charset="0"/>
              </a:rPr>
              <a:t>Poder para el pueblo</a:t>
            </a:r>
          </a:p>
        </p:txBody>
      </p:sp>
      <p:sp>
        <p:nvSpPr>
          <p:cNvPr id="27" name="Subtitle 2">
            <a:extLst>
              <a:ext uri="{FF2B5EF4-FFF2-40B4-BE49-F238E27FC236}">
                <a16:creationId xmlns:a16="http://schemas.microsoft.com/office/drawing/2014/main" xmlns="" id="{27C38862-9CC6-4EA5-8397-9CAB078218B2}"/>
              </a:ext>
            </a:extLst>
          </p:cNvPr>
          <p:cNvSpPr txBox="1">
            <a:spLocks/>
          </p:cNvSpPr>
          <p:nvPr/>
        </p:nvSpPr>
        <p:spPr>
          <a:xfrm>
            <a:off x="1005241" y="1982627"/>
            <a:ext cx="4464330" cy="4517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b="1" dirty="0">
                <a:solidFill>
                  <a:srgbClr val="00B050"/>
                </a:solidFill>
                <a:latin typeface="+mj-lt"/>
                <a:ea typeface="Lato" charset="0"/>
                <a:cs typeface="Lato" charset="0"/>
              </a:rPr>
              <a:t>Capacitar a los empleados clave</a:t>
            </a:r>
          </a:p>
        </p:txBody>
      </p:sp>
      <p:sp>
        <p:nvSpPr>
          <p:cNvPr id="28" name="Subtitle 2">
            <a:extLst>
              <a:ext uri="{FF2B5EF4-FFF2-40B4-BE49-F238E27FC236}">
                <a16:creationId xmlns:a16="http://schemas.microsoft.com/office/drawing/2014/main" xmlns="" id="{5EC59DCF-9D02-46DC-B679-0F7F8AD2AEFC}"/>
              </a:ext>
            </a:extLst>
          </p:cNvPr>
          <p:cNvSpPr txBox="1">
            <a:spLocks/>
          </p:cNvSpPr>
          <p:nvPr/>
        </p:nvSpPr>
        <p:spPr>
          <a:xfrm>
            <a:off x="864484" y="2435390"/>
            <a:ext cx="5156490" cy="408347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rPr>
              <a:t>En cuanto a la potenciación de los equipos de crisis, las limitaciones de las crisis hicieron que los empleados de las organizaciones que eran capaces de lograr mejores resultados durante una crisis desarrollaran habilidades más allá de sus funciones diarias (77%), aunque se esforzaron en realizar tareas fuera de su experiencia (73%). Las organizaciones de alto rendimiento creen que las crisis descubren a los líderes con talento de entre las filas de la organización, lo que les permite avanzar (75%). Además, aunque el espíritu del Modo Crisis es bueno en el momento, es necesario un claro sentido de dirección y urgencia para la sostenibilidad a largo plazo.</a:t>
            </a:r>
            <a:endParaRPr lang="en-GB" sz="2000" dirty="0">
              <a:solidFill>
                <a:srgbClr val="245473"/>
              </a:solidFill>
              <a:latin typeface="+mj-lt"/>
              <a:ea typeface="Lato" charset="0"/>
              <a:cs typeface="Lato" charset="0"/>
            </a:endParaRPr>
          </a:p>
        </p:txBody>
      </p:sp>
      <p:sp>
        <p:nvSpPr>
          <p:cNvPr id="31" name="TextBox 24">
            <a:extLst>
              <a:ext uri="{FF2B5EF4-FFF2-40B4-BE49-F238E27FC236}">
                <a16:creationId xmlns:a16="http://schemas.microsoft.com/office/drawing/2014/main" xmlns="" id="{BB61B264-D519-44B2-812D-62E264C6DDD7}"/>
              </a:ext>
            </a:extLst>
          </p:cNvPr>
          <p:cNvSpPr txBox="1"/>
          <p:nvPr/>
        </p:nvSpPr>
        <p:spPr>
          <a:xfrm>
            <a:off x="333339" y="1991100"/>
            <a:ext cx="530388" cy="461665"/>
          </a:xfrm>
          <a:prstGeom prst="rect">
            <a:avLst/>
          </a:prstGeom>
          <a:noFill/>
        </p:spPr>
        <p:txBody>
          <a:bodyPr wrap="square" rtlCol="0" anchor="ctr" anchorCtr="0">
            <a:spAutoFit/>
          </a:bodyPr>
          <a:lstStyle/>
          <a:p>
            <a:pPr algn="ctr"/>
            <a:r>
              <a:rPr lang="en-GB" sz="2400" b="1" dirty="0">
                <a:solidFill>
                  <a:schemeClr val="bg1"/>
                </a:solidFill>
                <a:latin typeface="Roboto" charset="0"/>
                <a:ea typeface="Roboto" charset="0"/>
                <a:cs typeface="Roboto" charset="0"/>
              </a:rPr>
              <a:t>03</a:t>
            </a:r>
          </a:p>
        </p:txBody>
      </p:sp>
      <p:sp>
        <p:nvSpPr>
          <p:cNvPr id="38" name="Freeform 148">
            <a:extLst>
              <a:ext uri="{FF2B5EF4-FFF2-40B4-BE49-F238E27FC236}">
                <a16:creationId xmlns:a16="http://schemas.microsoft.com/office/drawing/2014/main" xmlns="" id="{556974A5-13ED-4986-B886-9A88872920B2}"/>
              </a:ext>
            </a:extLst>
          </p:cNvPr>
          <p:cNvSpPr>
            <a:spLocks noChangeArrowheads="1"/>
          </p:cNvSpPr>
          <p:nvPr/>
        </p:nvSpPr>
        <p:spPr bwMode="auto">
          <a:xfrm>
            <a:off x="6181841" y="1901624"/>
            <a:ext cx="5900254" cy="4496976"/>
          </a:xfrm>
          <a:custGeom>
            <a:avLst/>
            <a:gdLst>
              <a:gd name="T0" fmla="*/ 2831 w 2884"/>
              <a:gd name="T1" fmla="*/ 2604 h 2605"/>
              <a:gd name="T2" fmla="*/ 2831 w 2884"/>
              <a:gd name="T3" fmla="*/ 2604 h 2605"/>
              <a:gd name="T4" fmla="*/ 52 w 2884"/>
              <a:gd name="T5" fmla="*/ 2604 h 2605"/>
              <a:gd name="T6" fmla="*/ 0 w 2884"/>
              <a:gd name="T7" fmla="*/ 2552 h 2605"/>
              <a:gd name="T8" fmla="*/ 0 w 2884"/>
              <a:gd name="T9" fmla="*/ 48 h 2605"/>
              <a:gd name="T10" fmla="*/ 52 w 2884"/>
              <a:gd name="T11" fmla="*/ 0 h 2605"/>
              <a:gd name="T12" fmla="*/ 2831 w 2884"/>
              <a:gd name="T13" fmla="*/ 0 h 2605"/>
              <a:gd name="T14" fmla="*/ 2883 w 2884"/>
              <a:gd name="T15" fmla="*/ 48 h 2605"/>
              <a:gd name="T16" fmla="*/ 2883 w 2884"/>
              <a:gd name="T17" fmla="*/ 2552 h 2605"/>
              <a:gd name="T18" fmla="*/ 2831 w 2884"/>
              <a:gd name="T19" fmla="*/ 2604 h 2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4" h="2605">
                <a:moveTo>
                  <a:pt x="2831" y="2604"/>
                </a:moveTo>
                <a:lnTo>
                  <a:pt x="2831" y="2604"/>
                </a:lnTo>
                <a:cubicBezTo>
                  <a:pt x="52" y="2604"/>
                  <a:pt x="52" y="2604"/>
                  <a:pt x="52" y="2604"/>
                </a:cubicBezTo>
                <a:cubicBezTo>
                  <a:pt x="21" y="2604"/>
                  <a:pt x="0" y="2579"/>
                  <a:pt x="0" y="2552"/>
                </a:cubicBezTo>
                <a:cubicBezTo>
                  <a:pt x="0" y="48"/>
                  <a:pt x="0" y="48"/>
                  <a:pt x="0" y="48"/>
                </a:cubicBezTo>
                <a:cubicBezTo>
                  <a:pt x="0" y="21"/>
                  <a:pt x="21" y="0"/>
                  <a:pt x="52" y="0"/>
                </a:cubicBezTo>
                <a:cubicBezTo>
                  <a:pt x="2831" y="0"/>
                  <a:pt x="2831" y="0"/>
                  <a:pt x="2831" y="0"/>
                </a:cubicBezTo>
                <a:cubicBezTo>
                  <a:pt x="2859" y="0"/>
                  <a:pt x="2883" y="21"/>
                  <a:pt x="2883" y="48"/>
                </a:cubicBezTo>
                <a:cubicBezTo>
                  <a:pt x="2883" y="2552"/>
                  <a:pt x="2883" y="2552"/>
                  <a:pt x="2883" y="2552"/>
                </a:cubicBezTo>
                <a:cubicBezTo>
                  <a:pt x="2883" y="2579"/>
                  <a:pt x="2859" y="2604"/>
                  <a:pt x="2831" y="2604"/>
                </a:cubicBezTo>
              </a:path>
            </a:pathLst>
          </a:custGeom>
          <a:solidFill>
            <a:schemeClr val="bg1">
              <a:lumMod val="95000"/>
            </a:schemeClr>
          </a:solidFill>
          <a:ln>
            <a:noFill/>
          </a:ln>
          <a:effectLst/>
        </p:spPr>
        <p:txBody>
          <a:bodyPr wrap="none" anchor="ctr"/>
          <a:lstStyle/>
          <a:p>
            <a:endParaRPr lang="en-GB" sz="1400" dirty="0">
              <a:latin typeface="Roboto" charset="0"/>
              <a:ea typeface="Roboto" charset="0"/>
              <a:cs typeface="Roboto" charset="0"/>
            </a:endParaRPr>
          </a:p>
        </p:txBody>
      </p:sp>
      <p:sp>
        <p:nvSpPr>
          <p:cNvPr id="39" name="Freeform 149">
            <a:extLst>
              <a:ext uri="{FF2B5EF4-FFF2-40B4-BE49-F238E27FC236}">
                <a16:creationId xmlns:a16="http://schemas.microsoft.com/office/drawing/2014/main" xmlns="" id="{0D41BA39-8900-41BB-81DF-B91CA5D54585}"/>
              </a:ext>
            </a:extLst>
          </p:cNvPr>
          <p:cNvSpPr>
            <a:spLocks noChangeArrowheads="1"/>
          </p:cNvSpPr>
          <p:nvPr/>
        </p:nvSpPr>
        <p:spPr bwMode="auto">
          <a:xfrm>
            <a:off x="6100024" y="1901624"/>
            <a:ext cx="2026957" cy="871729"/>
          </a:xfrm>
          <a:custGeom>
            <a:avLst/>
            <a:gdLst>
              <a:gd name="T0" fmla="*/ 162 w 1595"/>
              <a:gd name="T1" fmla="*/ 0 h 1596"/>
              <a:gd name="T2" fmla="*/ 162 w 1595"/>
              <a:gd name="T3" fmla="*/ 0 h 1596"/>
              <a:gd name="T4" fmla="*/ 0 w 1595"/>
              <a:gd name="T5" fmla="*/ 163 h 1596"/>
              <a:gd name="T6" fmla="*/ 0 w 1595"/>
              <a:gd name="T7" fmla="*/ 1595 h 1596"/>
              <a:gd name="T8" fmla="*/ 1594 w 1595"/>
              <a:gd name="T9" fmla="*/ 0 h 1596"/>
              <a:gd name="T10" fmla="*/ 162 w 1595"/>
              <a:gd name="T11" fmla="*/ 0 h 1596"/>
            </a:gdLst>
            <a:ahLst/>
            <a:cxnLst>
              <a:cxn ang="0">
                <a:pos x="T0" y="T1"/>
              </a:cxn>
              <a:cxn ang="0">
                <a:pos x="T2" y="T3"/>
              </a:cxn>
              <a:cxn ang="0">
                <a:pos x="T4" y="T5"/>
              </a:cxn>
              <a:cxn ang="0">
                <a:pos x="T6" y="T7"/>
              </a:cxn>
              <a:cxn ang="0">
                <a:pos x="T8" y="T9"/>
              </a:cxn>
              <a:cxn ang="0">
                <a:pos x="T10" y="T11"/>
              </a:cxn>
            </a:cxnLst>
            <a:rect l="0" t="0" r="r" b="b"/>
            <a:pathLst>
              <a:path w="1595" h="1596">
                <a:moveTo>
                  <a:pt x="162" y="0"/>
                </a:moveTo>
                <a:lnTo>
                  <a:pt x="162" y="0"/>
                </a:lnTo>
                <a:cubicBezTo>
                  <a:pt x="72" y="0"/>
                  <a:pt x="0" y="73"/>
                  <a:pt x="0" y="163"/>
                </a:cubicBezTo>
                <a:cubicBezTo>
                  <a:pt x="0" y="1595"/>
                  <a:pt x="0" y="1595"/>
                  <a:pt x="0" y="1595"/>
                </a:cubicBezTo>
                <a:cubicBezTo>
                  <a:pt x="881" y="1595"/>
                  <a:pt x="1594" y="882"/>
                  <a:pt x="1594" y="0"/>
                </a:cubicBezTo>
                <a:lnTo>
                  <a:pt x="162" y="0"/>
                </a:lnTo>
              </a:path>
            </a:pathLst>
          </a:custGeom>
          <a:solidFill>
            <a:srgbClr val="FFC000"/>
          </a:solidFill>
          <a:ln>
            <a:noFill/>
          </a:ln>
          <a:effectLst/>
        </p:spPr>
        <p:txBody>
          <a:bodyPr wrap="none" anchor="ctr"/>
          <a:lstStyle/>
          <a:p>
            <a:endParaRPr lang="en-GB" sz="1400" dirty="0">
              <a:latin typeface="Roboto" charset="0"/>
              <a:ea typeface="Roboto" charset="0"/>
              <a:cs typeface="Roboto" charset="0"/>
            </a:endParaRPr>
          </a:p>
        </p:txBody>
      </p:sp>
      <p:sp>
        <p:nvSpPr>
          <p:cNvPr id="40" name="TextBox 17">
            <a:extLst>
              <a:ext uri="{FF2B5EF4-FFF2-40B4-BE49-F238E27FC236}">
                <a16:creationId xmlns:a16="http://schemas.microsoft.com/office/drawing/2014/main" xmlns="" id="{9DB246A7-AC23-4949-BDAC-01D3FBA5EDA3}"/>
              </a:ext>
            </a:extLst>
          </p:cNvPr>
          <p:cNvSpPr txBox="1"/>
          <p:nvPr/>
        </p:nvSpPr>
        <p:spPr>
          <a:xfrm rot="16200000">
            <a:off x="3963950" y="4582208"/>
            <a:ext cx="4146779" cy="369332"/>
          </a:xfrm>
          <a:prstGeom prst="rect">
            <a:avLst/>
          </a:prstGeom>
          <a:noFill/>
        </p:spPr>
        <p:txBody>
          <a:bodyPr wrap="square" rtlCol="0" anchor="ctr" anchorCtr="0">
            <a:spAutoFit/>
          </a:bodyPr>
          <a:lstStyle/>
          <a:p>
            <a:pPr algn="ctr"/>
            <a:r>
              <a:rPr lang="en-GB" b="1" dirty="0">
                <a:solidFill>
                  <a:srgbClr val="FFC000"/>
                </a:solidFill>
                <a:latin typeface="+mj-lt"/>
                <a:ea typeface="Roboto" charset="0"/>
                <a:cs typeface="Roboto" charset="0"/>
              </a:rPr>
              <a:t>Comprometerse con la comunicación</a:t>
            </a:r>
          </a:p>
        </p:txBody>
      </p:sp>
      <p:sp>
        <p:nvSpPr>
          <p:cNvPr id="41" name="Subtitle 2">
            <a:extLst>
              <a:ext uri="{FF2B5EF4-FFF2-40B4-BE49-F238E27FC236}">
                <a16:creationId xmlns:a16="http://schemas.microsoft.com/office/drawing/2014/main" xmlns="" id="{224A1AA7-6A11-473B-A10C-541AC818AAB5}"/>
              </a:ext>
            </a:extLst>
          </p:cNvPr>
          <p:cNvSpPr txBox="1">
            <a:spLocks/>
          </p:cNvSpPr>
          <p:nvPr/>
        </p:nvSpPr>
        <p:spPr>
          <a:xfrm>
            <a:off x="6181841" y="1952991"/>
            <a:ext cx="5025835" cy="26351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65"/>
              </a:lnSpc>
            </a:pPr>
            <a:endParaRPr lang="en-US" sz="1600" dirty="0">
              <a:solidFill>
                <a:schemeClr val="tx2">
                  <a:lumMod val="75000"/>
                </a:schemeClr>
              </a:solidFill>
            </a:endParaRPr>
          </a:p>
        </p:txBody>
      </p:sp>
      <p:sp>
        <p:nvSpPr>
          <p:cNvPr id="43" name="TextBox 24">
            <a:extLst>
              <a:ext uri="{FF2B5EF4-FFF2-40B4-BE49-F238E27FC236}">
                <a16:creationId xmlns:a16="http://schemas.microsoft.com/office/drawing/2014/main" xmlns="" id="{95EA1618-9A86-4D51-B106-49B1A59E088D}"/>
              </a:ext>
            </a:extLst>
          </p:cNvPr>
          <p:cNvSpPr txBox="1"/>
          <p:nvPr/>
        </p:nvSpPr>
        <p:spPr>
          <a:xfrm>
            <a:off x="5958510" y="2070154"/>
            <a:ext cx="757008" cy="461665"/>
          </a:xfrm>
          <a:prstGeom prst="rect">
            <a:avLst/>
          </a:prstGeom>
          <a:noFill/>
        </p:spPr>
        <p:txBody>
          <a:bodyPr wrap="square" rtlCol="0" anchor="ctr" anchorCtr="0">
            <a:spAutoFit/>
          </a:bodyPr>
          <a:lstStyle/>
          <a:p>
            <a:pPr algn="ctr"/>
            <a:r>
              <a:rPr lang="en-GB" sz="2400" b="1" dirty="0">
                <a:solidFill>
                  <a:schemeClr val="bg1"/>
                </a:solidFill>
                <a:latin typeface="Roboto" charset="0"/>
                <a:ea typeface="Roboto" charset="0"/>
                <a:cs typeface="Roboto" charset="0"/>
              </a:rPr>
              <a:t>04</a:t>
            </a:r>
          </a:p>
        </p:txBody>
      </p:sp>
      <p:sp>
        <p:nvSpPr>
          <p:cNvPr id="5" name="TextBox 4">
            <a:extLst>
              <a:ext uri="{FF2B5EF4-FFF2-40B4-BE49-F238E27FC236}">
                <a16:creationId xmlns:a16="http://schemas.microsoft.com/office/drawing/2014/main" xmlns="" id="{BA5716C4-5189-4A1E-A62B-C754120DB33A}"/>
              </a:ext>
            </a:extLst>
          </p:cNvPr>
          <p:cNvSpPr txBox="1"/>
          <p:nvPr/>
        </p:nvSpPr>
        <p:spPr>
          <a:xfrm>
            <a:off x="8045460" y="1984495"/>
            <a:ext cx="4305441" cy="738664"/>
          </a:xfrm>
          <a:prstGeom prst="rect">
            <a:avLst/>
          </a:prstGeom>
          <a:noFill/>
        </p:spPr>
        <p:txBody>
          <a:bodyPr wrap="square" rtlCol="0">
            <a:spAutoFit/>
          </a:bodyPr>
          <a:lstStyle/>
          <a:p>
            <a:r>
              <a:rPr lang="en-IE" sz="2400" b="1" dirty="0">
                <a:solidFill>
                  <a:srgbClr val="FFC000"/>
                </a:solidFill>
                <a:latin typeface="+mj-lt"/>
                <a:ea typeface="Lato" charset="0"/>
                <a:cs typeface="Lato" charset="0"/>
              </a:rPr>
              <a:t>Mantener a los equipos informados</a:t>
            </a:r>
            <a:endParaRPr lang="en-US" sz="2400" dirty="0">
              <a:solidFill>
                <a:srgbClr val="FFC000"/>
              </a:solidFill>
            </a:endParaRPr>
          </a:p>
          <a:p>
            <a:endParaRPr lang="en-IE" dirty="0"/>
          </a:p>
        </p:txBody>
      </p:sp>
      <p:sp>
        <p:nvSpPr>
          <p:cNvPr id="6" name="TextBox 5">
            <a:extLst>
              <a:ext uri="{FF2B5EF4-FFF2-40B4-BE49-F238E27FC236}">
                <a16:creationId xmlns:a16="http://schemas.microsoft.com/office/drawing/2014/main" xmlns="" id="{09FDA279-8169-4464-8921-0CF017C3BEE2}"/>
              </a:ext>
            </a:extLst>
          </p:cNvPr>
          <p:cNvSpPr txBox="1"/>
          <p:nvPr/>
        </p:nvSpPr>
        <p:spPr>
          <a:xfrm>
            <a:off x="6322997" y="2719490"/>
            <a:ext cx="5759098" cy="4062651"/>
          </a:xfrm>
          <a:prstGeom prst="rect">
            <a:avLst/>
          </a:prstGeom>
          <a:noFill/>
        </p:spPr>
        <p:txBody>
          <a:bodyPr wrap="square" rtlCol="0">
            <a:spAutoFit/>
          </a:bodyPr>
          <a:lstStyle/>
          <a:p>
            <a:r>
              <a:rPr lang="en-GB" sz="2000" dirty="0">
                <a:solidFill>
                  <a:srgbClr val="245473"/>
                </a:solidFill>
                <a:latin typeface="+mj-lt"/>
                <a:ea typeface="Roboto" charset="0"/>
                <a:cs typeface="Roboto" charset="0"/>
              </a:rPr>
              <a:t>La mayoría de los encuestados coincidió en que las estrategias de resolución de crisis tenían más éxito cuando se comunicaban ampliamente, y que una comprensión más clara de las prioridades de la organización renovaba su visión y sentido de la dirección y que la comunicación de los altos cargos era fundamental para alinear a la organización tras una visión compartida. </a:t>
            </a:r>
          </a:p>
          <a:p>
            <a:r>
              <a:rPr lang="en-GB" sz="2000" dirty="0">
                <a:solidFill>
                  <a:srgbClr val="245473"/>
                </a:solidFill>
                <a:latin typeface="+mj-lt"/>
                <a:ea typeface="Roboto" charset="0"/>
                <a:cs typeface="Roboto" charset="0"/>
              </a:rPr>
              <a:t>La comunicación abierta con los empleados ofrece el contexto detrás de una estrategia y puede inspirar a todos los empleados a encontrar más valor en ella, </a:t>
            </a:r>
          </a:p>
          <a:p>
            <a:r>
              <a:rPr lang="en-GB" sz="2000" dirty="0">
                <a:solidFill>
                  <a:srgbClr val="245473"/>
                </a:solidFill>
                <a:latin typeface="+mj-lt"/>
                <a:ea typeface="Roboto" charset="0"/>
                <a:cs typeface="Roboto" charset="0"/>
              </a:rPr>
              <a:t>construir una cultura positiva y, por tanto, aumentar la productividad general.</a:t>
            </a:r>
          </a:p>
          <a:p>
            <a:endParaRPr lang="en-IE" dirty="0"/>
          </a:p>
        </p:txBody>
      </p:sp>
    </p:spTree>
    <p:extLst>
      <p:ext uri="{BB962C8B-B14F-4D97-AF65-F5344CB8AC3E}">
        <p14:creationId xmlns:p14="http://schemas.microsoft.com/office/powerpoint/2010/main" val="15668246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2571083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57189" y="584090"/>
            <a:ext cx="9440985" cy="974675"/>
          </a:xfrm>
        </p:spPr>
        <p:txBody>
          <a:bodyPr>
            <a:normAutofit/>
          </a:bodyPr>
          <a:lstStyle/>
          <a:p>
            <a:r>
              <a:rPr lang="en-GB" sz="3200" dirty="0">
                <a:solidFill>
                  <a:schemeClr val="tx2"/>
                </a:solidFill>
              </a:rPr>
              <a:t>¿Qué hace que una organización sea capaz de aprender de las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4426" y="1808555"/>
            <a:ext cx="3666226" cy="497602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latin typeface="+mj-lt"/>
              </a:rPr>
              <a:t>Aunque el concepto de aprendizaje organizativo existe desde hace muchos años, las pruebas empíricas sobre si realmente tiene un impacto positivo en el rendimiento de la organización son bastante débiles. </a:t>
            </a:r>
            <a:endParaRPr lang="en-US" sz="1800" dirty="0"/>
          </a:p>
          <a:p>
            <a:pPr algn="l">
              <a:lnSpc>
                <a:spcPct val="100000"/>
              </a:lnSpc>
              <a:spcBef>
                <a:spcPts val="600"/>
              </a:spcBef>
            </a:pPr>
            <a:r>
              <a:rPr lang="en-GB" sz="1800" dirty="0">
                <a:latin typeface="+mj-lt"/>
                <a:sym typeface="Wingdings" panose="05000000000000000000" pitchFamily="2" charset="2"/>
              </a:rPr>
              <a:t>A pesar de la actual falta de puntos de vista unificados, estas cinco áreas esenciales son de gran importancia para crear una cultura que sea capaz de aprender de las crisis:</a:t>
            </a:r>
            <a:endParaRPr lang="en-GB" sz="1800" dirty="0">
              <a:latin typeface="+mj-lt"/>
            </a:endParaRPr>
          </a:p>
          <a:p>
            <a:pPr marL="285750" indent="-285750" algn="l">
              <a:lnSpc>
                <a:spcPct val="100000"/>
              </a:lnSpc>
              <a:spcBef>
                <a:spcPts val="600"/>
              </a:spcBef>
              <a:buFont typeface="Wingdings" panose="05000000000000000000" pitchFamily="2" charset="2"/>
              <a:buChar char="à"/>
            </a:pPr>
            <a:r>
              <a:rPr lang="en-GB" sz="1800" dirty="0">
                <a:latin typeface="+mj-lt"/>
                <a:sym typeface="Wingdings" panose="05000000000000000000" pitchFamily="2" charset="2"/>
              </a:rPr>
              <a:t>Visión / Misión compartida</a:t>
            </a:r>
            <a:endParaRPr lang="en-GB" sz="1800" dirty="0">
              <a:latin typeface="+mj-lt"/>
            </a:endParaRPr>
          </a:p>
          <a:p>
            <a:pPr marL="285750" indent="-285750" algn="l">
              <a:lnSpc>
                <a:spcPct val="100000"/>
              </a:lnSpc>
              <a:spcBef>
                <a:spcPts val="600"/>
              </a:spcBef>
              <a:buFont typeface="Wingdings" panose="05000000000000000000" pitchFamily="2" charset="2"/>
              <a:buChar char="à"/>
            </a:pPr>
            <a:r>
              <a:rPr lang="en-GB" sz="1800" dirty="0">
                <a:latin typeface="+mj-lt"/>
                <a:sym typeface="Wingdings" panose="05000000000000000000" pitchFamily="2" charset="2"/>
              </a:rPr>
              <a:t>Compromiso de liderazgo</a:t>
            </a:r>
            <a:endParaRPr lang="en-GB" sz="1800" dirty="0">
              <a:latin typeface="+mj-lt"/>
            </a:endParaRPr>
          </a:p>
          <a:p>
            <a:pPr marL="285750" indent="-285750" algn="l">
              <a:lnSpc>
                <a:spcPct val="100000"/>
              </a:lnSpc>
              <a:spcBef>
                <a:spcPts val="600"/>
              </a:spcBef>
              <a:buFont typeface="Wingdings" panose="05000000000000000000" pitchFamily="2" charset="2"/>
              <a:buChar char="à"/>
            </a:pPr>
            <a:r>
              <a:rPr lang="en-GB" sz="1800" dirty="0">
                <a:latin typeface="+mj-lt"/>
                <a:sym typeface="Wingdings" panose="05000000000000000000" pitchFamily="2" charset="2"/>
              </a:rPr>
              <a:t>Espacio para la experimentación</a:t>
            </a:r>
            <a:endParaRPr lang="en-GB" sz="1800" dirty="0">
              <a:latin typeface="+mj-lt"/>
            </a:endParaRPr>
          </a:p>
          <a:p>
            <a:pPr marL="285750" indent="-285750" algn="l">
              <a:lnSpc>
                <a:spcPct val="100000"/>
              </a:lnSpc>
              <a:spcBef>
                <a:spcPts val="600"/>
              </a:spcBef>
              <a:buFont typeface="Wingdings" panose="05000000000000000000" pitchFamily="2" charset="2"/>
              <a:buChar char="à"/>
            </a:pPr>
            <a:r>
              <a:rPr lang="en-GB" sz="1800" dirty="0">
                <a:latin typeface="+mj-lt"/>
                <a:sym typeface="Wingdings" panose="05000000000000000000" pitchFamily="2" charset="2"/>
              </a:rPr>
              <a:t>Transferencia de conocimientos</a:t>
            </a:r>
            <a:endParaRPr lang="en-GB" sz="1800" dirty="0">
              <a:latin typeface="+mj-lt"/>
            </a:endParaRPr>
          </a:p>
          <a:p>
            <a:pPr marL="285750" indent="-285750" algn="l">
              <a:lnSpc>
                <a:spcPct val="100000"/>
              </a:lnSpc>
              <a:spcBef>
                <a:spcPts val="600"/>
              </a:spcBef>
              <a:buFont typeface="Wingdings" panose="05000000000000000000" pitchFamily="2" charset="2"/>
              <a:buChar char="à"/>
            </a:pPr>
            <a:r>
              <a:rPr lang="en-GB" sz="1800" dirty="0">
                <a:latin typeface="+mj-lt"/>
                <a:sym typeface="Wingdings" panose="05000000000000000000" pitchFamily="2" charset="2"/>
              </a:rPr>
              <a:t>Trabajo en equipo y resolución de problemas en grupo</a:t>
            </a:r>
            <a:endParaRPr lang="en-GB" sz="1800" dirty="0">
              <a:latin typeface="+mj-lt"/>
            </a:endParaRPr>
          </a:p>
        </p:txBody>
      </p:sp>
      <p:sp>
        <p:nvSpPr>
          <p:cNvPr id="10" name="Freeform 22">
            <a:extLst>
              <a:ext uri="{FF2B5EF4-FFF2-40B4-BE49-F238E27FC236}">
                <a16:creationId xmlns:a16="http://schemas.microsoft.com/office/drawing/2014/main" xmlns="" id="{D0BE874C-C047-476D-9936-866ABCC84854}"/>
              </a:ext>
            </a:extLst>
          </p:cNvPr>
          <p:cNvSpPr>
            <a:spLocks/>
          </p:cNvSpPr>
          <p:nvPr/>
        </p:nvSpPr>
        <p:spPr bwMode="auto">
          <a:xfrm>
            <a:off x="3491369" y="2441464"/>
            <a:ext cx="1879095" cy="1264515"/>
          </a:xfrm>
          <a:custGeom>
            <a:avLst/>
            <a:gdLst>
              <a:gd name="connsiteX0" fmla="*/ 0 w 4557305"/>
              <a:gd name="connsiteY0" fmla="*/ 0 h 3124870"/>
              <a:gd name="connsiteX1" fmla="*/ 8000 w 4557305"/>
              <a:gd name="connsiteY1" fmla="*/ 0 h 3124870"/>
              <a:gd name="connsiteX2" fmla="*/ 217329 w 4557305"/>
              <a:gd name="connsiteY2" fmla="*/ 0 h 3124870"/>
              <a:gd name="connsiteX3" fmla="*/ 2556682 w 4557305"/>
              <a:gd name="connsiteY3" fmla="*/ 0 h 3124870"/>
              <a:gd name="connsiteX4" fmla="*/ 3096533 w 4557305"/>
              <a:gd name="connsiteY4" fmla="*/ 310161 h 3124870"/>
              <a:gd name="connsiteX5" fmla="*/ 4017455 w 4557305"/>
              <a:gd name="connsiteY5" fmla="*/ 2814709 h 3124870"/>
              <a:gd name="connsiteX6" fmla="*/ 4557305 w 4557305"/>
              <a:gd name="connsiteY6" fmla="*/ 3124870 h 3124870"/>
              <a:gd name="connsiteX7" fmla="*/ 3699895 w 4557305"/>
              <a:gd name="connsiteY7" fmla="*/ 3124870 h 3124870"/>
              <a:gd name="connsiteX8" fmla="*/ 1360542 w 4557305"/>
              <a:gd name="connsiteY8" fmla="*/ 3124870 h 3124870"/>
              <a:gd name="connsiteX9" fmla="*/ 820692 w 4557305"/>
              <a:gd name="connsiteY9" fmla="*/ 2814709 h 3124870"/>
              <a:gd name="connsiteX10" fmla="*/ 14885 w 4557305"/>
              <a:gd name="connsiteY10" fmla="*/ 623230 h 3124870"/>
              <a:gd name="connsiteX11" fmla="*/ 0 w 4557305"/>
              <a:gd name="connsiteY11" fmla="*/ 582749 h 3124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7305" h="3124870">
                <a:moveTo>
                  <a:pt x="0" y="0"/>
                </a:moveTo>
                <a:lnTo>
                  <a:pt x="8000" y="0"/>
                </a:lnTo>
                <a:cubicBezTo>
                  <a:pt x="217329" y="0"/>
                  <a:pt x="217329" y="0"/>
                  <a:pt x="217329" y="0"/>
                </a:cubicBezTo>
                <a:cubicBezTo>
                  <a:pt x="2556682" y="0"/>
                  <a:pt x="2556682" y="0"/>
                  <a:pt x="2556682" y="0"/>
                </a:cubicBezTo>
                <a:cubicBezTo>
                  <a:pt x="2800144" y="0"/>
                  <a:pt x="3043606" y="139573"/>
                  <a:pt x="3096533" y="310161"/>
                </a:cubicBezTo>
                <a:cubicBezTo>
                  <a:pt x="4017455" y="2814709"/>
                  <a:pt x="4017455" y="2814709"/>
                  <a:pt x="4017455" y="2814709"/>
                </a:cubicBezTo>
                <a:cubicBezTo>
                  <a:pt x="4080966" y="2985298"/>
                  <a:pt x="4324428" y="3124870"/>
                  <a:pt x="4557305" y="3124870"/>
                </a:cubicBezTo>
                <a:lnTo>
                  <a:pt x="3699895" y="3124870"/>
                </a:lnTo>
                <a:cubicBezTo>
                  <a:pt x="1360542" y="3124870"/>
                  <a:pt x="1360542" y="3124870"/>
                  <a:pt x="1360542" y="3124870"/>
                </a:cubicBezTo>
                <a:cubicBezTo>
                  <a:pt x="1117080" y="3124870"/>
                  <a:pt x="873618" y="2985298"/>
                  <a:pt x="820692" y="2814709"/>
                </a:cubicBezTo>
                <a:cubicBezTo>
                  <a:pt x="360231" y="1562435"/>
                  <a:pt x="130000" y="936298"/>
                  <a:pt x="14885" y="623230"/>
                </a:cubicBezTo>
                <a:lnTo>
                  <a:pt x="0" y="582749"/>
                </a:lnTo>
                <a:close/>
              </a:path>
            </a:pathLst>
          </a:custGeom>
          <a:solidFill>
            <a:schemeClr val="accent5">
              <a:lumMod val="60000"/>
              <a:lumOff val="40000"/>
            </a:schemeClr>
          </a:solidFill>
          <a:ln w="9525">
            <a:noFill/>
            <a:round/>
            <a:headEnd/>
            <a:tailEnd/>
          </a:ln>
          <a:effectLst/>
        </p:spPr>
        <p:txBody>
          <a:bodyPr vert="horz" wrap="square" lIns="68580" tIns="34290" rIns="68580" bIns="34290" numCol="1" anchor="t" anchorCtr="0" compatLnSpc="1">
            <a:prstTxWarp prst="textNoShape">
              <a:avLst/>
            </a:prstTxWarp>
            <a:noAutofit/>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11" name="Freeform 7">
            <a:extLst>
              <a:ext uri="{FF2B5EF4-FFF2-40B4-BE49-F238E27FC236}">
                <a16:creationId xmlns:a16="http://schemas.microsoft.com/office/drawing/2014/main" xmlns="" id="{7FA3EE50-F10F-4746-8F13-2B8FEF0BC9BB}"/>
              </a:ext>
            </a:extLst>
          </p:cNvPr>
          <p:cNvSpPr>
            <a:spLocks/>
          </p:cNvSpPr>
          <p:nvPr/>
        </p:nvSpPr>
        <p:spPr bwMode="auto">
          <a:xfrm>
            <a:off x="9473830" y="2441464"/>
            <a:ext cx="1992746" cy="1264515"/>
          </a:xfrm>
          <a:custGeom>
            <a:avLst/>
            <a:gdLst/>
            <a:ahLst/>
            <a:cxnLst>
              <a:cxn ang="0">
                <a:pos x="410" y="403"/>
              </a:cxn>
              <a:cxn ang="0">
                <a:pos x="189" y="403"/>
              </a:cxn>
              <a:cxn ang="0">
                <a:pos x="137"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7"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7" y="18"/>
                  <a:pt x="353" y="40"/>
                </a:cubicBezTo>
                <a:cubicBezTo>
                  <a:pt x="440" y="363"/>
                  <a:pt x="440" y="363"/>
                  <a:pt x="440" y="363"/>
                </a:cubicBezTo>
                <a:cubicBezTo>
                  <a:pt x="446" y="385"/>
                  <a:pt x="469" y="403"/>
                  <a:pt x="491" y="403"/>
                </a:cubicBezTo>
                <a:lnTo>
                  <a:pt x="410" y="403"/>
                </a:lnTo>
                <a:close/>
              </a:path>
            </a:pathLst>
          </a:custGeom>
          <a:solidFill>
            <a:schemeClr val="accent4">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12" name="Freeform 8">
            <a:extLst>
              <a:ext uri="{FF2B5EF4-FFF2-40B4-BE49-F238E27FC236}">
                <a16:creationId xmlns:a16="http://schemas.microsoft.com/office/drawing/2014/main" xmlns="" id="{1B241B86-CE91-4DAB-9707-7BA53B2224E2}"/>
              </a:ext>
            </a:extLst>
          </p:cNvPr>
          <p:cNvSpPr>
            <a:spLocks/>
          </p:cNvSpPr>
          <p:nvPr/>
        </p:nvSpPr>
        <p:spPr bwMode="auto">
          <a:xfrm>
            <a:off x="7943974" y="2441464"/>
            <a:ext cx="1992746" cy="1264515"/>
          </a:xfrm>
          <a:custGeom>
            <a:avLst/>
            <a:gdLst/>
            <a:ahLst/>
            <a:cxnLst>
              <a:cxn ang="0">
                <a:pos x="410" y="403"/>
              </a:cxn>
              <a:cxn ang="0">
                <a:pos x="188" y="403"/>
              </a:cxn>
              <a:cxn ang="0">
                <a:pos x="137" y="363"/>
              </a:cxn>
              <a:cxn ang="0">
                <a:pos x="51" y="40"/>
              </a:cxn>
              <a:cxn ang="0">
                <a:pos x="51" y="40"/>
              </a:cxn>
              <a:cxn ang="0">
                <a:pos x="0" y="0"/>
              </a:cxn>
              <a:cxn ang="0">
                <a:pos x="80" y="0"/>
              </a:cxn>
              <a:cxn ang="0">
                <a:pos x="302" y="0"/>
              </a:cxn>
              <a:cxn ang="0">
                <a:pos x="353" y="40"/>
              </a:cxn>
              <a:cxn ang="0">
                <a:pos x="440" y="363"/>
              </a:cxn>
              <a:cxn ang="0">
                <a:pos x="491" y="403"/>
              </a:cxn>
              <a:cxn ang="0">
                <a:pos x="410" y="403"/>
              </a:cxn>
            </a:cxnLst>
            <a:rect l="0" t="0" r="r" b="b"/>
            <a:pathLst>
              <a:path w="491" h="403">
                <a:moveTo>
                  <a:pt x="410" y="403"/>
                </a:moveTo>
                <a:cubicBezTo>
                  <a:pt x="188" y="403"/>
                  <a:pt x="188" y="403"/>
                  <a:pt x="188" y="403"/>
                </a:cubicBezTo>
                <a:cubicBezTo>
                  <a:pt x="166" y="403"/>
                  <a:pt x="143" y="385"/>
                  <a:pt x="137" y="363"/>
                </a:cubicBezTo>
                <a:cubicBezTo>
                  <a:pt x="51" y="40"/>
                  <a:pt x="51" y="40"/>
                  <a:pt x="51" y="40"/>
                </a:cubicBezTo>
                <a:cubicBezTo>
                  <a:pt x="51" y="40"/>
                  <a:pt x="51" y="40"/>
                  <a:pt x="51" y="40"/>
                </a:cubicBezTo>
                <a:cubicBezTo>
                  <a:pt x="45" y="18"/>
                  <a:pt x="22" y="0"/>
                  <a:pt x="0" y="0"/>
                </a:cubicBezTo>
                <a:cubicBezTo>
                  <a:pt x="80" y="0"/>
                  <a:pt x="80" y="0"/>
                  <a:pt x="80" y="0"/>
                </a:cubicBezTo>
                <a:cubicBezTo>
                  <a:pt x="302" y="0"/>
                  <a:pt x="302" y="0"/>
                  <a:pt x="302" y="0"/>
                </a:cubicBezTo>
                <a:cubicBezTo>
                  <a:pt x="324" y="0"/>
                  <a:pt x="347" y="18"/>
                  <a:pt x="353" y="40"/>
                </a:cubicBezTo>
                <a:cubicBezTo>
                  <a:pt x="440" y="363"/>
                  <a:pt x="440" y="363"/>
                  <a:pt x="440" y="363"/>
                </a:cubicBezTo>
                <a:cubicBezTo>
                  <a:pt x="445" y="385"/>
                  <a:pt x="468" y="403"/>
                  <a:pt x="491" y="403"/>
                </a:cubicBezTo>
                <a:lnTo>
                  <a:pt x="410" y="403"/>
                </a:lnTo>
                <a:close/>
              </a:path>
            </a:pathLst>
          </a:custGeom>
          <a:solidFill>
            <a:schemeClr val="accent3">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13" name="Freeform 10">
            <a:extLst>
              <a:ext uri="{FF2B5EF4-FFF2-40B4-BE49-F238E27FC236}">
                <a16:creationId xmlns:a16="http://schemas.microsoft.com/office/drawing/2014/main" xmlns="" id="{61064278-8BF3-4F2D-96B6-D786B16E7CA9}"/>
              </a:ext>
            </a:extLst>
          </p:cNvPr>
          <p:cNvSpPr>
            <a:spLocks/>
          </p:cNvSpPr>
          <p:nvPr/>
        </p:nvSpPr>
        <p:spPr bwMode="auto">
          <a:xfrm>
            <a:off x="6411805" y="2441464"/>
            <a:ext cx="1990430" cy="1264515"/>
          </a:xfrm>
          <a:custGeom>
            <a:avLst/>
            <a:gdLst/>
            <a:ahLst/>
            <a:cxnLst>
              <a:cxn ang="0">
                <a:pos x="411" y="403"/>
              </a:cxn>
              <a:cxn ang="0">
                <a:pos x="189" y="403"/>
              </a:cxn>
              <a:cxn ang="0">
                <a:pos x="138" y="363"/>
              </a:cxn>
              <a:cxn ang="0">
                <a:pos x="51" y="40"/>
              </a:cxn>
              <a:cxn ang="0">
                <a:pos x="51" y="40"/>
              </a:cxn>
              <a:cxn ang="0">
                <a:pos x="0" y="0"/>
              </a:cxn>
              <a:cxn ang="0">
                <a:pos x="81" y="0"/>
              </a:cxn>
              <a:cxn ang="0">
                <a:pos x="303" y="0"/>
              </a:cxn>
              <a:cxn ang="0">
                <a:pos x="354" y="40"/>
              </a:cxn>
              <a:cxn ang="0">
                <a:pos x="440" y="363"/>
              </a:cxn>
              <a:cxn ang="0">
                <a:pos x="491" y="403"/>
              </a:cxn>
              <a:cxn ang="0">
                <a:pos x="411" y="403"/>
              </a:cxn>
            </a:cxnLst>
            <a:rect l="0" t="0" r="r" b="b"/>
            <a:pathLst>
              <a:path w="491" h="403">
                <a:moveTo>
                  <a:pt x="411" y="403"/>
                </a:moveTo>
                <a:cubicBezTo>
                  <a:pt x="189" y="403"/>
                  <a:pt x="189" y="403"/>
                  <a:pt x="189" y="403"/>
                </a:cubicBezTo>
                <a:cubicBezTo>
                  <a:pt x="167" y="403"/>
                  <a:pt x="144" y="385"/>
                  <a:pt x="138" y="363"/>
                </a:cubicBezTo>
                <a:cubicBezTo>
                  <a:pt x="51" y="40"/>
                  <a:pt x="51" y="40"/>
                  <a:pt x="51" y="40"/>
                </a:cubicBezTo>
                <a:cubicBezTo>
                  <a:pt x="51" y="40"/>
                  <a:pt x="51" y="40"/>
                  <a:pt x="51" y="40"/>
                </a:cubicBezTo>
                <a:cubicBezTo>
                  <a:pt x="45" y="18"/>
                  <a:pt x="23" y="0"/>
                  <a:pt x="0" y="0"/>
                </a:cubicBezTo>
                <a:cubicBezTo>
                  <a:pt x="81" y="0"/>
                  <a:pt x="81" y="0"/>
                  <a:pt x="81" y="0"/>
                </a:cubicBezTo>
                <a:cubicBezTo>
                  <a:pt x="303" y="0"/>
                  <a:pt x="303" y="0"/>
                  <a:pt x="303" y="0"/>
                </a:cubicBezTo>
                <a:cubicBezTo>
                  <a:pt x="325" y="0"/>
                  <a:pt x="348" y="18"/>
                  <a:pt x="354" y="40"/>
                </a:cubicBezTo>
                <a:cubicBezTo>
                  <a:pt x="440" y="363"/>
                  <a:pt x="440" y="363"/>
                  <a:pt x="440" y="363"/>
                </a:cubicBezTo>
                <a:cubicBezTo>
                  <a:pt x="446" y="385"/>
                  <a:pt x="469" y="403"/>
                  <a:pt x="491" y="403"/>
                </a:cubicBezTo>
                <a:lnTo>
                  <a:pt x="411" y="403"/>
                </a:lnTo>
                <a:close/>
              </a:path>
            </a:pathLst>
          </a:custGeom>
          <a:solidFill>
            <a:schemeClr val="accent2">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14" name="Freeform 11">
            <a:extLst>
              <a:ext uri="{FF2B5EF4-FFF2-40B4-BE49-F238E27FC236}">
                <a16:creationId xmlns:a16="http://schemas.microsoft.com/office/drawing/2014/main" xmlns="" id="{6B0511B9-5133-4BFB-AE0B-DF10A12D7294}"/>
              </a:ext>
            </a:extLst>
          </p:cNvPr>
          <p:cNvSpPr>
            <a:spLocks/>
          </p:cNvSpPr>
          <p:nvPr/>
        </p:nvSpPr>
        <p:spPr bwMode="auto">
          <a:xfrm>
            <a:off x="4881952" y="2441464"/>
            <a:ext cx="1992746" cy="1264515"/>
          </a:xfrm>
          <a:custGeom>
            <a:avLst/>
            <a:gdLst/>
            <a:ahLst/>
            <a:cxnLst>
              <a:cxn ang="0">
                <a:pos x="410" y="403"/>
              </a:cxn>
              <a:cxn ang="0">
                <a:pos x="189" y="403"/>
              </a:cxn>
              <a:cxn ang="0">
                <a:pos x="138"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8"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8" y="18"/>
                  <a:pt x="353" y="40"/>
                </a:cubicBezTo>
                <a:cubicBezTo>
                  <a:pt x="440" y="363"/>
                  <a:pt x="440" y="363"/>
                  <a:pt x="440" y="363"/>
                </a:cubicBezTo>
                <a:cubicBezTo>
                  <a:pt x="446" y="385"/>
                  <a:pt x="469" y="403"/>
                  <a:pt x="491" y="403"/>
                </a:cubicBezTo>
                <a:lnTo>
                  <a:pt x="410" y="403"/>
                </a:lnTo>
                <a:close/>
              </a:path>
            </a:pathLst>
          </a:custGeom>
          <a:solidFill>
            <a:schemeClr val="accent1">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17" name="Freeform 19">
            <a:extLst>
              <a:ext uri="{FF2B5EF4-FFF2-40B4-BE49-F238E27FC236}">
                <a16:creationId xmlns:a16="http://schemas.microsoft.com/office/drawing/2014/main" xmlns="" id="{390E0AE5-693A-478E-A429-6FD17C952CCC}"/>
              </a:ext>
            </a:extLst>
          </p:cNvPr>
          <p:cNvSpPr>
            <a:spLocks/>
          </p:cNvSpPr>
          <p:nvPr/>
        </p:nvSpPr>
        <p:spPr bwMode="auto">
          <a:xfrm>
            <a:off x="4011164" y="2441464"/>
            <a:ext cx="2133714"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chemeClr val="accent1"/>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18" name="Freeform 20">
            <a:extLst>
              <a:ext uri="{FF2B5EF4-FFF2-40B4-BE49-F238E27FC236}">
                <a16:creationId xmlns:a16="http://schemas.microsoft.com/office/drawing/2014/main" xmlns="" id="{1F700655-4E7E-4543-9935-920CB2440DDB}"/>
              </a:ext>
            </a:extLst>
          </p:cNvPr>
          <p:cNvSpPr>
            <a:spLocks/>
          </p:cNvSpPr>
          <p:nvPr/>
        </p:nvSpPr>
        <p:spPr bwMode="auto">
          <a:xfrm>
            <a:off x="5504582" y="2441464"/>
            <a:ext cx="2136197" cy="1264515"/>
          </a:xfrm>
          <a:custGeom>
            <a:avLst/>
            <a:gdLst/>
            <a:ahLst/>
            <a:cxnLst>
              <a:cxn ang="0">
                <a:pos x="80" y="403"/>
              </a:cxn>
              <a:cxn ang="0">
                <a:pos x="302" y="403"/>
              </a:cxn>
              <a:cxn ang="0">
                <a:pos x="353" y="363"/>
              </a:cxn>
              <a:cxn ang="0">
                <a:pos x="440" y="40"/>
              </a:cxn>
              <a:cxn ang="0">
                <a:pos x="440" y="40"/>
              </a:cxn>
              <a:cxn ang="0">
                <a:pos x="491" y="0"/>
              </a:cxn>
              <a:cxn ang="0">
                <a:pos x="410" y="0"/>
              </a:cxn>
              <a:cxn ang="0">
                <a:pos x="188" y="0"/>
              </a:cxn>
              <a:cxn ang="0">
                <a:pos x="137" y="40"/>
              </a:cxn>
              <a:cxn ang="0">
                <a:pos x="51" y="363"/>
              </a:cxn>
              <a:cxn ang="0">
                <a:pos x="0" y="403"/>
              </a:cxn>
              <a:cxn ang="0">
                <a:pos x="80" y="403"/>
              </a:cxn>
            </a:cxnLst>
            <a:rect l="0" t="0" r="r" b="b"/>
            <a:pathLst>
              <a:path w="491" h="403">
                <a:moveTo>
                  <a:pt x="80" y="403"/>
                </a:moveTo>
                <a:cubicBezTo>
                  <a:pt x="302" y="403"/>
                  <a:pt x="302" y="403"/>
                  <a:pt x="302" y="403"/>
                </a:cubicBezTo>
                <a:cubicBezTo>
                  <a:pt x="324" y="403"/>
                  <a:pt x="347" y="385"/>
                  <a:pt x="353" y="363"/>
                </a:cubicBezTo>
                <a:cubicBezTo>
                  <a:pt x="440" y="40"/>
                  <a:pt x="440" y="40"/>
                  <a:pt x="440" y="40"/>
                </a:cubicBezTo>
                <a:cubicBezTo>
                  <a:pt x="440" y="40"/>
                  <a:pt x="440" y="40"/>
                  <a:pt x="440" y="40"/>
                </a:cubicBezTo>
                <a:cubicBezTo>
                  <a:pt x="445" y="18"/>
                  <a:pt x="468" y="0"/>
                  <a:pt x="491" y="0"/>
                </a:cubicBezTo>
                <a:cubicBezTo>
                  <a:pt x="410" y="0"/>
                  <a:pt x="410" y="0"/>
                  <a:pt x="410" y="0"/>
                </a:cubicBezTo>
                <a:cubicBezTo>
                  <a:pt x="188" y="0"/>
                  <a:pt x="188" y="0"/>
                  <a:pt x="188" y="0"/>
                </a:cubicBezTo>
                <a:cubicBezTo>
                  <a:pt x="166" y="0"/>
                  <a:pt x="143" y="18"/>
                  <a:pt x="137" y="40"/>
                </a:cubicBezTo>
                <a:cubicBezTo>
                  <a:pt x="51" y="363"/>
                  <a:pt x="51" y="363"/>
                  <a:pt x="51" y="363"/>
                </a:cubicBezTo>
                <a:cubicBezTo>
                  <a:pt x="45" y="385"/>
                  <a:pt x="22" y="403"/>
                  <a:pt x="0" y="403"/>
                </a:cubicBezTo>
                <a:lnTo>
                  <a:pt x="80" y="403"/>
                </a:lnTo>
                <a:close/>
              </a:path>
            </a:pathLst>
          </a:custGeom>
          <a:solidFill>
            <a:schemeClr val="accent2"/>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19" name="Freeform 21">
            <a:extLst>
              <a:ext uri="{FF2B5EF4-FFF2-40B4-BE49-F238E27FC236}">
                <a16:creationId xmlns:a16="http://schemas.microsoft.com/office/drawing/2014/main" xmlns="" id="{4ABB670D-75FA-4D54-8963-E2DCA33DB3F9}"/>
              </a:ext>
            </a:extLst>
          </p:cNvPr>
          <p:cNvSpPr>
            <a:spLocks/>
          </p:cNvSpPr>
          <p:nvPr/>
        </p:nvSpPr>
        <p:spPr bwMode="auto">
          <a:xfrm>
            <a:off x="7034440" y="2441464"/>
            <a:ext cx="2136197" cy="1264515"/>
          </a:xfrm>
          <a:custGeom>
            <a:avLst/>
            <a:gdLst/>
            <a:ahLst/>
            <a:cxnLst>
              <a:cxn ang="0">
                <a:pos x="81" y="403"/>
              </a:cxn>
              <a:cxn ang="0">
                <a:pos x="302" y="403"/>
              </a:cxn>
              <a:cxn ang="0">
                <a:pos x="353" y="363"/>
              </a:cxn>
              <a:cxn ang="0">
                <a:pos x="440" y="40"/>
              </a:cxn>
              <a:cxn ang="0">
                <a:pos x="440" y="40"/>
              </a:cxn>
              <a:cxn ang="0">
                <a:pos x="491" y="0"/>
              </a:cxn>
              <a:cxn ang="0">
                <a:pos x="410" y="0"/>
              </a:cxn>
              <a:cxn ang="0">
                <a:pos x="189" y="0"/>
              </a:cxn>
              <a:cxn ang="0">
                <a:pos x="137" y="40"/>
              </a:cxn>
              <a:cxn ang="0">
                <a:pos x="51" y="363"/>
              </a:cxn>
              <a:cxn ang="0">
                <a:pos x="0" y="403"/>
              </a:cxn>
              <a:cxn ang="0">
                <a:pos x="81" y="403"/>
              </a:cxn>
            </a:cxnLst>
            <a:rect l="0" t="0" r="r" b="b"/>
            <a:pathLst>
              <a:path w="491" h="403">
                <a:moveTo>
                  <a:pt x="81" y="403"/>
                </a:moveTo>
                <a:cubicBezTo>
                  <a:pt x="302" y="403"/>
                  <a:pt x="302" y="403"/>
                  <a:pt x="302" y="403"/>
                </a:cubicBezTo>
                <a:cubicBezTo>
                  <a:pt x="325" y="403"/>
                  <a:pt x="347" y="385"/>
                  <a:pt x="353" y="363"/>
                </a:cubicBezTo>
                <a:cubicBezTo>
                  <a:pt x="440" y="40"/>
                  <a:pt x="440" y="40"/>
                  <a:pt x="440" y="40"/>
                </a:cubicBezTo>
                <a:cubicBezTo>
                  <a:pt x="440" y="40"/>
                  <a:pt x="440" y="40"/>
                  <a:pt x="440" y="40"/>
                </a:cubicBezTo>
                <a:cubicBezTo>
                  <a:pt x="446" y="18"/>
                  <a:pt x="469" y="0"/>
                  <a:pt x="491" y="0"/>
                </a:cubicBezTo>
                <a:cubicBezTo>
                  <a:pt x="410" y="0"/>
                  <a:pt x="410" y="0"/>
                  <a:pt x="410" y="0"/>
                </a:cubicBezTo>
                <a:cubicBezTo>
                  <a:pt x="189" y="0"/>
                  <a:pt x="189" y="0"/>
                  <a:pt x="189" y="0"/>
                </a:cubicBezTo>
                <a:cubicBezTo>
                  <a:pt x="166" y="0"/>
                  <a:pt x="143" y="18"/>
                  <a:pt x="137" y="40"/>
                </a:cubicBezTo>
                <a:cubicBezTo>
                  <a:pt x="51" y="363"/>
                  <a:pt x="51" y="363"/>
                  <a:pt x="51" y="363"/>
                </a:cubicBezTo>
                <a:cubicBezTo>
                  <a:pt x="45" y="385"/>
                  <a:pt x="22" y="403"/>
                  <a:pt x="0" y="403"/>
                </a:cubicBezTo>
                <a:lnTo>
                  <a:pt x="81" y="403"/>
                </a:lnTo>
                <a:close/>
              </a:path>
            </a:pathLst>
          </a:custGeom>
          <a:solidFill>
            <a:schemeClr val="accent3"/>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20" name="Freeform 22">
            <a:extLst>
              <a:ext uri="{FF2B5EF4-FFF2-40B4-BE49-F238E27FC236}">
                <a16:creationId xmlns:a16="http://schemas.microsoft.com/office/drawing/2014/main" xmlns="" id="{79C4ED12-41C9-4BB2-865A-AF561E823572}"/>
              </a:ext>
            </a:extLst>
          </p:cNvPr>
          <p:cNvSpPr>
            <a:spLocks/>
          </p:cNvSpPr>
          <p:nvPr/>
        </p:nvSpPr>
        <p:spPr bwMode="auto">
          <a:xfrm>
            <a:off x="8564460" y="2441464"/>
            <a:ext cx="2133714"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chemeClr val="accent4"/>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26" name="TextBox 30">
            <a:extLst>
              <a:ext uri="{FF2B5EF4-FFF2-40B4-BE49-F238E27FC236}">
                <a16:creationId xmlns:a16="http://schemas.microsoft.com/office/drawing/2014/main" xmlns="" id="{6C67E600-B56E-4F2E-9BB4-B4375D86D9F8}"/>
              </a:ext>
            </a:extLst>
          </p:cNvPr>
          <p:cNvSpPr txBox="1"/>
          <p:nvPr/>
        </p:nvSpPr>
        <p:spPr>
          <a:xfrm>
            <a:off x="4542817" y="2579026"/>
            <a:ext cx="1010854" cy="1015663"/>
          </a:xfrm>
          <a:prstGeom prst="rect">
            <a:avLst/>
          </a:prstGeom>
          <a:noFill/>
        </p:spPr>
        <p:txBody>
          <a:bodyPr wrap="none" rtlCol="0" anchor="ctr" anchorCtr="0">
            <a:spAutoFit/>
          </a:bodyPr>
          <a:lstStyle/>
          <a:p>
            <a:pPr algn="ctr"/>
            <a:r>
              <a:rPr lang="en-GB" sz="1500" b="1" spc="113" dirty="0">
                <a:solidFill>
                  <a:schemeClr val="bg1"/>
                </a:solidFill>
                <a:latin typeface="+mj-lt"/>
                <a:ea typeface="League Spartan" charset="0"/>
                <a:cs typeface="Poppins" pitchFamily="2" charset="77"/>
              </a:rPr>
              <a:t>Claridad de</a:t>
            </a:r>
            <a:br>
              <a:rPr lang="en-GB" sz="1500" b="1" spc="113" dirty="0">
                <a:solidFill>
                  <a:schemeClr val="bg1"/>
                </a:solidFill>
                <a:latin typeface="+mj-lt"/>
                <a:ea typeface="League Spartan" charset="0"/>
                <a:cs typeface="Poppins" pitchFamily="2" charset="77"/>
              </a:rPr>
            </a:br>
            <a:r>
              <a:rPr lang="en-GB" sz="1500" b="1" spc="113" dirty="0">
                <a:solidFill>
                  <a:schemeClr val="bg1"/>
                </a:solidFill>
                <a:latin typeface="+mj-lt"/>
                <a:ea typeface="League Spartan" charset="0"/>
                <a:cs typeface="Poppins" pitchFamily="2" charset="77"/>
              </a:rPr>
              <a:t>Propósito</a:t>
            </a:r>
          </a:p>
          <a:p>
            <a:pPr algn="ctr"/>
            <a:r>
              <a:rPr lang="en-GB" sz="1500" b="1" spc="113" dirty="0">
                <a:solidFill>
                  <a:schemeClr val="bg1"/>
                </a:solidFill>
                <a:latin typeface="+mj-lt"/>
                <a:ea typeface="League Spartan" charset="0"/>
                <a:cs typeface="Poppins" pitchFamily="2" charset="77"/>
              </a:rPr>
              <a:t>y</a:t>
            </a:r>
            <a:br>
              <a:rPr lang="en-GB" sz="1500" b="1" spc="113" dirty="0">
                <a:solidFill>
                  <a:schemeClr val="bg1"/>
                </a:solidFill>
                <a:latin typeface="+mj-lt"/>
                <a:ea typeface="League Spartan" charset="0"/>
                <a:cs typeface="Poppins" pitchFamily="2" charset="77"/>
              </a:rPr>
            </a:br>
            <a:r>
              <a:rPr lang="en-GB" sz="1500" b="1" spc="113" dirty="0">
                <a:solidFill>
                  <a:schemeClr val="bg1"/>
                </a:solidFill>
                <a:latin typeface="+mj-lt"/>
                <a:ea typeface="League Spartan" charset="0"/>
                <a:cs typeface="Poppins" pitchFamily="2" charset="77"/>
              </a:rPr>
              <a:t>Misión</a:t>
            </a:r>
          </a:p>
        </p:txBody>
      </p:sp>
      <p:sp>
        <p:nvSpPr>
          <p:cNvPr id="27" name="TextBox 31">
            <a:extLst>
              <a:ext uri="{FF2B5EF4-FFF2-40B4-BE49-F238E27FC236}">
                <a16:creationId xmlns:a16="http://schemas.microsoft.com/office/drawing/2014/main" xmlns="" id="{FBDD1655-7921-4FCD-891C-188851142662}"/>
              </a:ext>
            </a:extLst>
          </p:cNvPr>
          <p:cNvSpPr txBox="1"/>
          <p:nvPr/>
        </p:nvSpPr>
        <p:spPr>
          <a:xfrm>
            <a:off x="5849470" y="2579026"/>
            <a:ext cx="1469506" cy="1015663"/>
          </a:xfrm>
          <a:prstGeom prst="rect">
            <a:avLst/>
          </a:prstGeom>
          <a:noFill/>
        </p:spPr>
        <p:txBody>
          <a:bodyPr wrap="none" rtlCol="0" anchor="ctr" anchorCtr="0">
            <a:spAutoFit/>
          </a:bodyPr>
          <a:lstStyle/>
          <a:p>
            <a:pPr algn="ctr"/>
            <a:r>
              <a:rPr lang="en-GB" sz="1500" b="1" spc="113" dirty="0">
                <a:solidFill>
                  <a:schemeClr val="bg1"/>
                </a:solidFill>
                <a:latin typeface="+mj-lt"/>
                <a:ea typeface="League Spartan" charset="0"/>
                <a:cs typeface="Poppins" pitchFamily="2" charset="77"/>
              </a:rPr>
              <a:t>Liderazgo</a:t>
            </a:r>
            <a:br>
              <a:rPr lang="en-GB" sz="1500" b="1" spc="113" dirty="0">
                <a:solidFill>
                  <a:schemeClr val="bg1"/>
                </a:solidFill>
                <a:latin typeface="+mj-lt"/>
                <a:ea typeface="League Spartan" charset="0"/>
                <a:cs typeface="Poppins" pitchFamily="2" charset="77"/>
              </a:rPr>
            </a:br>
            <a:r>
              <a:rPr lang="en-GB" sz="1500" b="1" spc="113" dirty="0">
                <a:solidFill>
                  <a:schemeClr val="bg1"/>
                </a:solidFill>
                <a:latin typeface="+mj-lt"/>
                <a:ea typeface="League Spartan" charset="0"/>
                <a:cs typeface="Poppins" pitchFamily="2" charset="77"/>
              </a:rPr>
              <a:t>compromiso</a:t>
            </a:r>
            <a:br>
              <a:rPr lang="en-GB" sz="1500" b="1" spc="113" dirty="0">
                <a:solidFill>
                  <a:schemeClr val="bg1"/>
                </a:solidFill>
                <a:latin typeface="+mj-lt"/>
                <a:ea typeface="League Spartan" charset="0"/>
                <a:cs typeface="Poppins" pitchFamily="2" charset="77"/>
              </a:rPr>
            </a:br>
            <a:r>
              <a:rPr lang="en-GB" sz="1500" b="1" spc="113" dirty="0">
                <a:solidFill>
                  <a:schemeClr val="bg1"/>
                </a:solidFill>
                <a:latin typeface="+mj-lt"/>
                <a:ea typeface="League Spartan" charset="0"/>
                <a:cs typeface="Poppins" pitchFamily="2" charset="77"/>
              </a:rPr>
              <a:t>&amp;</a:t>
            </a:r>
            <a:br>
              <a:rPr lang="en-GB" sz="1500" b="1" spc="113" dirty="0">
                <a:solidFill>
                  <a:schemeClr val="bg1"/>
                </a:solidFill>
                <a:latin typeface="+mj-lt"/>
                <a:ea typeface="League Spartan" charset="0"/>
                <a:cs typeface="Poppins" pitchFamily="2" charset="77"/>
              </a:rPr>
            </a:br>
            <a:r>
              <a:rPr lang="en-GB" sz="1500" b="1" spc="113" dirty="0">
                <a:solidFill>
                  <a:schemeClr val="bg1"/>
                </a:solidFill>
                <a:latin typeface="+mj-lt"/>
                <a:ea typeface="League Spartan" charset="0"/>
                <a:cs typeface="Poppins" pitchFamily="2" charset="77"/>
              </a:rPr>
              <a:t>empoderamiento</a:t>
            </a:r>
          </a:p>
        </p:txBody>
      </p:sp>
      <p:sp>
        <p:nvSpPr>
          <p:cNvPr id="28" name="TextBox 32">
            <a:extLst>
              <a:ext uri="{FF2B5EF4-FFF2-40B4-BE49-F238E27FC236}">
                <a16:creationId xmlns:a16="http://schemas.microsoft.com/office/drawing/2014/main" xmlns="" id="{51AFD8B4-EE22-498E-87D9-113E01CC65EA}"/>
              </a:ext>
            </a:extLst>
          </p:cNvPr>
          <p:cNvSpPr txBox="1"/>
          <p:nvPr/>
        </p:nvSpPr>
        <p:spPr>
          <a:xfrm>
            <a:off x="7428156" y="2794470"/>
            <a:ext cx="1348767" cy="584775"/>
          </a:xfrm>
          <a:prstGeom prst="rect">
            <a:avLst/>
          </a:prstGeom>
          <a:noFill/>
        </p:spPr>
        <p:txBody>
          <a:bodyPr wrap="none" rtlCol="0" anchor="ctr" anchorCtr="0">
            <a:spAutoFit/>
          </a:bodyPr>
          <a:lstStyle/>
          <a:p>
            <a:pPr algn="ctr"/>
            <a:r>
              <a:rPr lang="en-GB" sz="1600" b="1" spc="113" dirty="0">
                <a:solidFill>
                  <a:schemeClr val="bg1"/>
                </a:solidFill>
                <a:latin typeface="+mj-lt"/>
                <a:ea typeface="League Spartan" charset="0"/>
                <a:cs typeface="Poppins" pitchFamily="2" charset="77"/>
              </a:rPr>
              <a:t>Sala de</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Experimentos</a:t>
            </a:r>
          </a:p>
        </p:txBody>
      </p:sp>
      <p:sp>
        <p:nvSpPr>
          <p:cNvPr id="29" name="TextBox 33">
            <a:extLst>
              <a:ext uri="{FF2B5EF4-FFF2-40B4-BE49-F238E27FC236}">
                <a16:creationId xmlns:a16="http://schemas.microsoft.com/office/drawing/2014/main" xmlns="" id="{0F15517E-8ED2-4703-A847-A24FF484CB3C}"/>
              </a:ext>
            </a:extLst>
          </p:cNvPr>
          <p:cNvSpPr txBox="1"/>
          <p:nvPr/>
        </p:nvSpPr>
        <p:spPr>
          <a:xfrm>
            <a:off x="9011446" y="2671359"/>
            <a:ext cx="1203023" cy="830997"/>
          </a:xfrm>
          <a:prstGeom prst="rect">
            <a:avLst/>
          </a:prstGeom>
          <a:noFill/>
        </p:spPr>
        <p:txBody>
          <a:bodyPr wrap="none" rtlCol="0" anchor="ctr" anchorCtr="0">
            <a:spAutoFit/>
          </a:bodyPr>
          <a:lstStyle/>
          <a:p>
            <a:pPr algn="ctr"/>
            <a:r>
              <a:rPr lang="en-GB" sz="1600" b="1" spc="113" dirty="0">
                <a:solidFill>
                  <a:schemeClr val="bg1"/>
                </a:solidFill>
                <a:latin typeface="+mj-lt"/>
                <a:ea typeface="League Spartan" charset="0"/>
                <a:cs typeface="Poppins" pitchFamily="2" charset="77"/>
              </a:rPr>
              <a:t>Transferencia</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de </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Conocimiento</a:t>
            </a:r>
          </a:p>
        </p:txBody>
      </p:sp>
      <p:sp>
        <p:nvSpPr>
          <p:cNvPr id="31" name="Subtitle 2">
            <a:extLst>
              <a:ext uri="{FF2B5EF4-FFF2-40B4-BE49-F238E27FC236}">
                <a16:creationId xmlns:a16="http://schemas.microsoft.com/office/drawing/2014/main" xmlns="" id="{D01A65AF-E538-451B-B2D1-F535D19269CC}"/>
              </a:ext>
            </a:extLst>
          </p:cNvPr>
          <p:cNvSpPr txBox="1">
            <a:spLocks/>
          </p:cNvSpPr>
          <p:nvPr/>
        </p:nvSpPr>
        <p:spPr>
          <a:xfrm>
            <a:off x="3982494" y="3871566"/>
            <a:ext cx="1380189" cy="243237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GB" sz="1800" dirty="0">
                <a:latin typeface="+mj-lt"/>
                <a:ea typeface="Lato Light" panose="020F0502020204030203" pitchFamily="34" charset="0"/>
                <a:cs typeface="Mukta ExtraLight" panose="020B0000000000000000" pitchFamily="34" charset="77"/>
              </a:rPr>
              <a:t>La medida en que los empleados apoyan la misión de la organización y entienden cómo pueden contribuir a su éxito</a:t>
            </a:r>
          </a:p>
        </p:txBody>
      </p:sp>
      <p:sp>
        <p:nvSpPr>
          <p:cNvPr id="32" name="Subtitle 2">
            <a:extLst>
              <a:ext uri="{FF2B5EF4-FFF2-40B4-BE49-F238E27FC236}">
                <a16:creationId xmlns:a16="http://schemas.microsoft.com/office/drawing/2014/main" xmlns="" id="{A11BAF78-788D-4A99-9262-8C679B10E7A8}"/>
              </a:ext>
            </a:extLst>
          </p:cNvPr>
          <p:cNvSpPr txBox="1">
            <a:spLocks/>
          </p:cNvSpPr>
          <p:nvPr/>
        </p:nvSpPr>
        <p:spPr>
          <a:xfrm>
            <a:off x="5683377" y="3871566"/>
            <a:ext cx="1351063" cy="243237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GB" sz="1800" dirty="0">
                <a:latin typeface="+mj-lt"/>
                <a:ea typeface="Lato Light" panose="020F0502020204030203" pitchFamily="34" charset="0"/>
                <a:cs typeface="Mukta ExtraLight" panose="020B0000000000000000" pitchFamily="34" charset="77"/>
              </a:rPr>
              <a:t>El papel de los líderes para animar a los empleados a adoptar comportamientos que apoyen la experimentación y el cambio de cultura </a:t>
            </a:r>
          </a:p>
        </p:txBody>
      </p:sp>
      <p:sp>
        <p:nvSpPr>
          <p:cNvPr id="33" name="Subtitle 2">
            <a:extLst>
              <a:ext uri="{FF2B5EF4-FFF2-40B4-BE49-F238E27FC236}">
                <a16:creationId xmlns:a16="http://schemas.microsoft.com/office/drawing/2014/main" xmlns="" id="{F1A1AD3D-7852-4FAB-89DC-5112625D17EB}"/>
              </a:ext>
            </a:extLst>
          </p:cNvPr>
          <p:cNvSpPr txBox="1">
            <a:spLocks/>
          </p:cNvSpPr>
          <p:nvPr/>
        </p:nvSpPr>
        <p:spPr>
          <a:xfrm>
            <a:off x="7209350" y="3871566"/>
            <a:ext cx="1205279" cy="18937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GB" sz="1800" dirty="0">
                <a:latin typeface="+mj-lt"/>
                <a:ea typeface="Lato Light" panose="020F0502020204030203" pitchFamily="34" charset="0"/>
                <a:cs typeface="Mukta ExtraLight" panose="020B0000000000000000" pitchFamily="34" charset="77"/>
              </a:rPr>
              <a:t>La libertad de la que gozan los empleados en la búsqueda de nuevas formas de hacer las cosas y de asumir riesgos</a:t>
            </a:r>
          </a:p>
        </p:txBody>
      </p:sp>
      <p:sp>
        <p:nvSpPr>
          <p:cNvPr id="34" name="Subtitle 2">
            <a:extLst>
              <a:ext uri="{FF2B5EF4-FFF2-40B4-BE49-F238E27FC236}">
                <a16:creationId xmlns:a16="http://schemas.microsoft.com/office/drawing/2014/main" xmlns="" id="{9ACF7E41-2253-4DD2-86C3-E896AB8663C3}"/>
              </a:ext>
            </a:extLst>
          </p:cNvPr>
          <p:cNvSpPr txBox="1">
            <a:spLocks/>
          </p:cNvSpPr>
          <p:nvPr/>
        </p:nvSpPr>
        <p:spPr>
          <a:xfrm>
            <a:off x="8735323" y="3871566"/>
            <a:ext cx="1490028" cy="171423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GB" sz="1800" dirty="0">
                <a:latin typeface="+mj-lt"/>
                <a:ea typeface="Lato Light" panose="020F0502020204030203" pitchFamily="34" charset="0"/>
                <a:cs typeface="Mukta ExtraLight" panose="020B0000000000000000" pitchFamily="34" charset="77"/>
              </a:rPr>
              <a:t>Los sistemas que están a disposición de los empleados para aprender de otras personas y otras organizaciones</a:t>
            </a:r>
          </a:p>
        </p:txBody>
      </p:sp>
      <p:sp>
        <p:nvSpPr>
          <p:cNvPr id="35" name="Subtitle 2">
            <a:extLst>
              <a:ext uri="{FF2B5EF4-FFF2-40B4-BE49-F238E27FC236}">
                <a16:creationId xmlns:a16="http://schemas.microsoft.com/office/drawing/2014/main" xmlns="" id="{1B2BEF37-3FC2-4691-8F42-0E852E655686}"/>
              </a:ext>
            </a:extLst>
          </p:cNvPr>
          <p:cNvSpPr txBox="1">
            <a:spLocks/>
          </p:cNvSpPr>
          <p:nvPr/>
        </p:nvSpPr>
        <p:spPr>
          <a:xfrm>
            <a:off x="10261297" y="3871566"/>
            <a:ext cx="1205279" cy="152790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GB" sz="1800" dirty="0">
                <a:latin typeface="+mj-lt"/>
                <a:ea typeface="Lato Light" panose="020F0502020204030203" pitchFamily="34" charset="0"/>
                <a:cs typeface="Mukta ExtraLight" panose="020B0000000000000000" pitchFamily="34" charset="77"/>
              </a:rPr>
              <a:t>El trabajo en equipo para resolver problemas y generar ideas innovadoras</a:t>
            </a:r>
          </a:p>
        </p:txBody>
      </p:sp>
      <p:sp>
        <p:nvSpPr>
          <p:cNvPr id="15" name="Freeform 26">
            <a:extLst>
              <a:ext uri="{FF2B5EF4-FFF2-40B4-BE49-F238E27FC236}">
                <a16:creationId xmlns:a16="http://schemas.microsoft.com/office/drawing/2014/main" xmlns="" id="{DE83CBE6-F836-47C7-9363-0CE609A3BE01}"/>
              </a:ext>
            </a:extLst>
          </p:cNvPr>
          <p:cNvSpPr>
            <a:spLocks/>
          </p:cNvSpPr>
          <p:nvPr/>
        </p:nvSpPr>
        <p:spPr bwMode="auto">
          <a:xfrm>
            <a:off x="10050950" y="2003874"/>
            <a:ext cx="2195742" cy="1702104"/>
          </a:xfrm>
          <a:custGeom>
            <a:avLst/>
            <a:gdLst/>
            <a:ahLst/>
            <a:cxnLst>
              <a:cxn ang="0">
                <a:pos x="0" y="543"/>
              </a:cxn>
              <a:cxn ang="0">
                <a:pos x="75" y="543"/>
              </a:cxn>
              <a:cxn ang="0">
                <a:pos x="281" y="543"/>
              </a:cxn>
              <a:cxn ang="0">
                <a:pos x="329" y="506"/>
              </a:cxn>
              <a:cxn ang="0">
                <a:pos x="402" y="234"/>
              </a:cxn>
              <a:cxn ang="0">
                <a:pos x="478" y="234"/>
              </a:cxn>
              <a:cxn ang="0">
                <a:pos x="493" y="203"/>
              </a:cxn>
              <a:cxn ang="0">
                <a:pos x="359" y="20"/>
              </a:cxn>
              <a:cxn ang="0">
                <a:pos x="307" y="13"/>
              </a:cxn>
              <a:cxn ang="0">
                <a:pos x="57" y="211"/>
              </a:cxn>
              <a:cxn ang="0">
                <a:pos x="65" y="234"/>
              </a:cxn>
              <a:cxn ang="0">
                <a:pos x="121" y="234"/>
              </a:cxn>
              <a:cxn ang="0">
                <a:pos x="48" y="506"/>
              </a:cxn>
              <a:cxn ang="0">
                <a:pos x="48" y="506"/>
              </a:cxn>
              <a:cxn ang="0">
                <a:pos x="0" y="543"/>
              </a:cxn>
            </a:cxnLst>
            <a:rect l="0" t="0" r="r" b="b"/>
            <a:pathLst>
              <a:path w="505" h="543">
                <a:moveTo>
                  <a:pt x="0" y="543"/>
                </a:moveTo>
                <a:cubicBezTo>
                  <a:pt x="75" y="543"/>
                  <a:pt x="75" y="543"/>
                  <a:pt x="75" y="543"/>
                </a:cubicBezTo>
                <a:cubicBezTo>
                  <a:pt x="281" y="543"/>
                  <a:pt x="281" y="543"/>
                  <a:pt x="281" y="543"/>
                </a:cubicBezTo>
                <a:cubicBezTo>
                  <a:pt x="302" y="543"/>
                  <a:pt x="324" y="526"/>
                  <a:pt x="329" y="506"/>
                </a:cubicBezTo>
                <a:cubicBezTo>
                  <a:pt x="402" y="234"/>
                  <a:pt x="402" y="234"/>
                  <a:pt x="402" y="234"/>
                </a:cubicBezTo>
                <a:cubicBezTo>
                  <a:pt x="478" y="234"/>
                  <a:pt x="478" y="234"/>
                  <a:pt x="478" y="234"/>
                </a:cubicBezTo>
                <a:cubicBezTo>
                  <a:pt x="498" y="234"/>
                  <a:pt x="505" y="220"/>
                  <a:pt x="493" y="203"/>
                </a:cubicBezTo>
                <a:cubicBezTo>
                  <a:pt x="359" y="20"/>
                  <a:pt x="359" y="20"/>
                  <a:pt x="359" y="20"/>
                </a:cubicBezTo>
                <a:cubicBezTo>
                  <a:pt x="347" y="4"/>
                  <a:pt x="323" y="0"/>
                  <a:pt x="307" y="13"/>
                </a:cubicBezTo>
                <a:cubicBezTo>
                  <a:pt x="57" y="211"/>
                  <a:pt x="57" y="211"/>
                  <a:pt x="57" y="211"/>
                </a:cubicBezTo>
                <a:cubicBezTo>
                  <a:pt x="41" y="223"/>
                  <a:pt x="44" y="234"/>
                  <a:pt x="65" y="234"/>
                </a:cubicBezTo>
                <a:cubicBezTo>
                  <a:pt x="121" y="234"/>
                  <a:pt x="121" y="234"/>
                  <a:pt x="121" y="234"/>
                </a:cubicBezTo>
                <a:cubicBezTo>
                  <a:pt x="48" y="506"/>
                  <a:pt x="48" y="506"/>
                  <a:pt x="48" y="506"/>
                </a:cubicBezTo>
                <a:cubicBezTo>
                  <a:pt x="48" y="506"/>
                  <a:pt x="48" y="506"/>
                  <a:pt x="48" y="506"/>
                </a:cubicBezTo>
                <a:cubicBezTo>
                  <a:pt x="42" y="526"/>
                  <a:pt x="21" y="543"/>
                  <a:pt x="0" y="543"/>
                </a:cubicBezTo>
                <a:close/>
              </a:path>
            </a:pathLst>
          </a:custGeom>
          <a:solidFill>
            <a:schemeClr val="accent5"/>
          </a:solid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30" name="TextBox 34">
            <a:extLst>
              <a:ext uri="{FF2B5EF4-FFF2-40B4-BE49-F238E27FC236}">
                <a16:creationId xmlns:a16="http://schemas.microsoft.com/office/drawing/2014/main" xmlns="" id="{69F140C3-61C3-4EE6-87B9-BA0FE8D37C76}"/>
              </a:ext>
            </a:extLst>
          </p:cNvPr>
          <p:cNvSpPr txBox="1"/>
          <p:nvPr/>
        </p:nvSpPr>
        <p:spPr>
          <a:xfrm>
            <a:off x="10510268" y="2382539"/>
            <a:ext cx="1205279" cy="1323439"/>
          </a:xfrm>
          <a:prstGeom prst="rect">
            <a:avLst/>
          </a:prstGeom>
          <a:noFill/>
        </p:spPr>
        <p:txBody>
          <a:bodyPr wrap="square" rtlCol="0" anchor="ctr" anchorCtr="0">
            <a:spAutoFit/>
          </a:bodyPr>
          <a:lstStyle/>
          <a:p>
            <a:pPr algn="ctr"/>
            <a:r>
              <a:rPr lang="en-GB" sz="1600" b="1" spc="113" dirty="0">
                <a:solidFill>
                  <a:schemeClr val="bg1"/>
                </a:solidFill>
                <a:latin typeface="+mj-lt"/>
                <a:ea typeface="League Spartan" charset="0"/>
                <a:cs typeface="Poppins" pitchFamily="2" charset="77"/>
              </a:rPr>
              <a:t>Trabajo en equipo</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amp;</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grupo</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problema-</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de problemas en grupo</a:t>
            </a:r>
          </a:p>
        </p:txBody>
      </p:sp>
      <p:sp>
        <p:nvSpPr>
          <p:cNvPr id="37" name="TextBox 87">
            <a:extLst>
              <a:ext uri="{FF2B5EF4-FFF2-40B4-BE49-F238E27FC236}">
                <a16:creationId xmlns:a16="http://schemas.microsoft.com/office/drawing/2014/main" xmlns="" id="{927BC43A-D09D-4B00-990E-A98308F1DECD}"/>
              </a:ext>
            </a:extLst>
          </p:cNvPr>
          <p:cNvSpPr txBox="1"/>
          <p:nvPr/>
        </p:nvSpPr>
        <p:spPr>
          <a:xfrm>
            <a:off x="1209633" y="6538358"/>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Fuente: Goh S.C. / Richards G. (1997); Goh S.C., Elliot C. y Quan T.K. (2012)</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33622950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4160E2B4-C40F-4C85-AB19-7616AF47FE49}"/>
              </a:ext>
            </a:extLst>
          </p:cNvPr>
          <p:cNvSpPr>
            <a:spLocks noGrp="1"/>
          </p:cNvSpPr>
          <p:nvPr>
            <p:ph type="body" sz="quarter" idx="13"/>
          </p:nvPr>
        </p:nvSpPr>
        <p:spPr>
          <a:xfrm>
            <a:off x="1396447" y="524626"/>
            <a:ext cx="9228010" cy="1053803"/>
          </a:xfrm>
        </p:spPr>
        <p:txBody>
          <a:bodyPr>
            <a:normAutofit fontScale="77500" lnSpcReduction="20000"/>
          </a:bodyPr>
          <a:lstStyle/>
          <a:p>
            <a:r>
              <a:rPr lang="en-IE" sz="5200" dirty="0">
                <a:solidFill>
                  <a:schemeClr val="bg1"/>
                </a:solidFill>
                <a:highlight>
                  <a:srgbClr val="F95C2C"/>
                </a:highlight>
              </a:rPr>
              <a:t>Lecturas recomendadas </a:t>
            </a:r>
          </a:p>
          <a:p>
            <a:r>
              <a:rPr lang="en-IE" sz="3600" dirty="0">
                <a:solidFill>
                  <a:srgbClr val="245473"/>
                </a:solidFill>
                <a:latin typeface="+mj-lt"/>
              </a:rPr>
              <a:t>Artículos cortos pero interesantes que nos resultan esclarecedores…… . </a:t>
            </a:r>
          </a:p>
          <a:p>
            <a:endParaRPr lang="en-IE" dirty="0"/>
          </a:p>
        </p:txBody>
      </p:sp>
      <p:sp>
        <p:nvSpPr>
          <p:cNvPr id="3" name="Text Placeholder 2">
            <a:extLst>
              <a:ext uri="{FF2B5EF4-FFF2-40B4-BE49-F238E27FC236}">
                <a16:creationId xmlns:a16="http://schemas.microsoft.com/office/drawing/2014/main" xmlns="" id="{7ACA1E19-05F4-4AC3-B5D9-82580BE62778}"/>
              </a:ext>
            </a:extLst>
          </p:cNvPr>
          <p:cNvSpPr>
            <a:spLocks noGrp="1"/>
          </p:cNvSpPr>
          <p:nvPr>
            <p:ph type="body" sz="quarter" idx="14"/>
          </p:nvPr>
        </p:nvSpPr>
        <p:spPr>
          <a:xfrm>
            <a:off x="794657" y="2358273"/>
            <a:ext cx="10774415" cy="3975101"/>
          </a:xfrm>
        </p:spPr>
        <p:txBody>
          <a:bodyPr/>
          <a:lstStyle/>
          <a:p>
            <a:r>
              <a:rPr lang="en-GB" b="0" i="0" dirty="0">
                <a:solidFill>
                  <a:srgbClr val="333333"/>
                </a:solidFill>
                <a:effectLst/>
                <a:latin typeface="Circular-Medium"/>
                <a:hlinkClick r:id="rId2"/>
              </a:rPr>
              <a:t>Ejemplos de gestión de crisis: Aprenda de estas 5 marcas</a:t>
            </a:r>
            <a:endParaRPr lang="en-GB" b="0" i="0" dirty="0">
              <a:solidFill>
                <a:srgbClr val="333333"/>
              </a:solidFill>
              <a:effectLst/>
              <a:latin typeface="Circular-Medium"/>
            </a:endParaRPr>
          </a:p>
          <a:p>
            <a:r>
              <a:rPr lang="en-GB" dirty="0">
                <a:hlinkClick r:id="rId3"/>
              </a:rPr>
              <a:t>Tiempos difíciles, buenos hábitos: Aprender de la crisis (harvardbusiness.org) </a:t>
            </a:r>
            <a:endParaRPr lang="en-GB" dirty="0"/>
          </a:p>
          <a:p>
            <a:r>
              <a:rPr lang="en-GB" dirty="0">
                <a:hlinkClick r:id="rId4"/>
              </a:rPr>
              <a:t>Los verdaderos líderes se forjan en la crisis (hbr.org) </a:t>
            </a:r>
            <a:endParaRPr lang="en-GB" dirty="0"/>
          </a:p>
          <a:p>
            <a:r>
              <a:rPr lang="en-GB" dirty="0">
                <a:hlinkClick r:id="rId5"/>
              </a:rPr>
              <a:t>Lo que toda empresa puede aprender de una crisis (fastcompany.com) </a:t>
            </a:r>
            <a:endParaRPr lang="en-GB" dirty="0"/>
          </a:p>
          <a:p>
            <a:r>
              <a:rPr lang="en-GB" dirty="0">
                <a:hlinkClick r:id="rId6"/>
              </a:rPr>
              <a:t>Innovación en tiempos de crisis (harvardbusiness.org) </a:t>
            </a:r>
            <a:endParaRPr lang="en-IE" dirty="0"/>
          </a:p>
        </p:txBody>
      </p:sp>
    </p:spTree>
    <p:extLst>
      <p:ext uri="{BB962C8B-B14F-4D97-AF65-F5344CB8AC3E}">
        <p14:creationId xmlns:p14="http://schemas.microsoft.com/office/powerpoint/2010/main" val="14841086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222268" y="2483541"/>
            <a:ext cx="9821959" cy="1582271"/>
          </a:xfrm>
        </p:spPr>
        <p:txBody>
          <a:bodyPr/>
          <a:lstStyle/>
          <a:p>
            <a:r>
              <a:rPr lang="en-GB" dirty="0"/>
              <a:t>Introducción a la gestión del conocimiento</a:t>
            </a:r>
          </a:p>
          <a:p>
            <a:endParaRPr lang="en-GB" dirty="0"/>
          </a:p>
        </p:txBody>
      </p:sp>
    </p:spTree>
    <p:extLst>
      <p:ext uri="{BB962C8B-B14F-4D97-AF65-F5344CB8AC3E}">
        <p14:creationId xmlns:p14="http://schemas.microsoft.com/office/powerpoint/2010/main" val="12809072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53953" y="628147"/>
            <a:ext cx="10074018" cy="913791"/>
          </a:xfrm>
        </p:spPr>
        <p:txBody>
          <a:bodyPr>
            <a:normAutofit fontScale="85000" lnSpcReduction="10000"/>
          </a:bodyPr>
          <a:lstStyle/>
          <a:p>
            <a:r>
              <a:rPr lang="en-GB" dirty="0">
                <a:solidFill>
                  <a:schemeClr val="bg1"/>
                </a:solidFill>
                <a:highlight>
                  <a:srgbClr val="E53292"/>
                </a:highlight>
              </a:rPr>
              <a:t>WATCH </a:t>
            </a:r>
            <a:r>
              <a:rPr lang="en-GB" sz="4200" dirty="0"/>
              <a:t>Introducción a la gestión del conocimiento</a:t>
            </a:r>
          </a:p>
        </p:txBody>
      </p:sp>
      <p:sp>
        <p:nvSpPr>
          <p:cNvPr id="28" name="Rechteck 27">
            <a:extLst>
              <a:ext uri="{FF2B5EF4-FFF2-40B4-BE49-F238E27FC236}">
                <a16:creationId xmlns:a16="http://schemas.microsoft.com/office/drawing/2014/main" xmlns="" id="{98670D1F-3C08-4A05-AA8F-091E4EC900BD}"/>
              </a:ext>
            </a:extLst>
          </p:cNvPr>
          <p:cNvSpPr/>
          <p:nvPr/>
        </p:nvSpPr>
        <p:spPr>
          <a:xfrm>
            <a:off x="550278" y="6310824"/>
            <a:ext cx="7015179" cy="260502"/>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Fuente: </a:t>
            </a:r>
            <a:r>
              <a:rPr lang="en-GB" sz="1000" dirty="0" err="1">
                <a:latin typeface="+mj-lt"/>
              </a:rPr>
              <a:t>KnowledgeMT| Youtube: </a:t>
            </a:r>
            <a:r>
              <a:rPr lang="en-GB" sz="1000" dirty="0">
                <a:hlinkClick r:id="rId8"/>
              </a:rPr>
              <a:t>https://www.youtube.com/watch?v=k3jo7oWzUUc| </a:t>
            </a:r>
            <a:r>
              <a:rPr lang="en-GB" sz="1000" dirty="0"/>
              <a:t>Duración: 4:46</a:t>
            </a:r>
            <a:endParaRPr lang="en-GB" sz="1000" dirty="0">
              <a:latin typeface="+mj-lt"/>
            </a:endParaRPr>
          </a:p>
        </p:txBody>
      </p:sp>
      <p:pic>
        <p:nvPicPr>
          <p:cNvPr id="29" name="Picture 22" descr="iMac.png">
            <a:extLst>
              <a:ext uri="{FF2B5EF4-FFF2-40B4-BE49-F238E27FC236}">
                <a16:creationId xmlns:a16="http://schemas.microsoft.com/office/drawing/2014/main" xmlns="" id="{342333D4-743F-4D63-8568-7794FADD8C3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57867" y="1642311"/>
            <a:ext cx="5428649" cy="4802162"/>
          </a:xfrm>
          <a:prstGeom prst="rect">
            <a:avLst/>
          </a:prstGeom>
        </p:spPr>
      </p:pic>
      <p:pic>
        <p:nvPicPr>
          <p:cNvPr id="4" name="Onlinemedien 3" title="Knowledge Management - In 5 minutes or less">
            <a:hlinkClick r:id="" action="ppaction://media"/>
            <a:extLst>
              <a:ext uri="{FF2B5EF4-FFF2-40B4-BE49-F238E27FC236}">
                <a16:creationId xmlns:a16="http://schemas.microsoft.com/office/drawing/2014/main" xmlns="" id="{9F673966-2F6E-4F64-948D-E675F3546483}"/>
              </a:ext>
            </a:extLst>
          </p:cNvPr>
          <p:cNvPicPr>
            <a:picLocks noRot="1" noChangeAspect="1"/>
          </p:cNvPicPr>
          <p:nvPr>
            <a:videoFile r:link="rId3"/>
          </p:nvPr>
        </p:nvPicPr>
        <p:blipFill>
          <a:blip r:embed="rId10"/>
          <a:stretch>
            <a:fillRect/>
          </a:stretch>
        </p:blipFill>
        <p:spPr>
          <a:xfrm>
            <a:off x="4757304" y="2328892"/>
            <a:ext cx="4055444" cy="2281187"/>
          </a:xfrm>
          <a:prstGeom prst="rect">
            <a:avLst/>
          </a:prstGeom>
        </p:spPr>
      </p:pic>
      <p:sp>
        <p:nvSpPr>
          <p:cNvPr id="8" name="TextBox 7">
            <a:extLst>
              <a:ext uri="{FF2B5EF4-FFF2-40B4-BE49-F238E27FC236}">
                <a16:creationId xmlns:a16="http://schemas.microsoft.com/office/drawing/2014/main" xmlns="" id="{46276D2A-F376-4CC4-ACBC-5963B0E3F079}"/>
              </a:ext>
            </a:extLst>
          </p:cNvPr>
          <p:cNvSpPr txBox="1"/>
          <p:nvPr/>
        </p:nvSpPr>
        <p:spPr>
          <a:xfrm>
            <a:off x="683584" y="2838831"/>
            <a:ext cx="2908702" cy="1938992"/>
          </a:xfrm>
          <a:prstGeom prst="rect">
            <a:avLst/>
          </a:prstGeom>
          <a:noFill/>
        </p:spPr>
        <p:txBody>
          <a:bodyPr wrap="square">
            <a:spAutoFit/>
          </a:bodyPr>
          <a:lstStyle/>
          <a:p>
            <a:r>
              <a:rPr lang="en-GB" sz="2400" b="0" i="0" dirty="0">
                <a:solidFill>
                  <a:srgbClr val="245473"/>
                </a:solidFill>
                <a:effectLst/>
                <a:latin typeface="+mj-lt"/>
              </a:rPr>
              <a:t>Una breve mirada a por qué es útil la gestión del conocimiento y cuál es su papel en la organización.</a:t>
            </a:r>
            <a:endParaRPr lang="en-IE" sz="2400" dirty="0">
              <a:solidFill>
                <a:srgbClr val="245473"/>
              </a:solidFill>
              <a:latin typeface="+mj-lt"/>
            </a:endParaRPr>
          </a:p>
        </p:txBody>
      </p:sp>
    </p:spTree>
    <p:extLst>
      <p:ext uri="{BB962C8B-B14F-4D97-AF65-F5344CB8AC3E}">
        <p14:creationId xmlns:p14="http://schemas.microsoft.com/office/powerpoint/2010/main" val="1605980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55981" y="548653"/>
            <a:ext cx="8852375" cy="697353"/>
          </a:xfrm>
        </p:spPr>
        <p:txBody>
          <a:bodyPr>
            <a:normAutofit/>
          </a:bodyPr>
          <a:lstStyle/>
          <a:p>
            <a:r>
              <a:rPr lang="en-GB" dirty="0"/>
              <a:t>Enfoques de la gestión del conocimiento</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69276" y="2065659"/>
            <a:ext cx="11178184" cy="362180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Hay dos enfoques principales de la gestión del conocimiento: </a:t>
            </a:r>
            <a:endParaRPr lang="en-US" sz="2200" dirty="0"/>
          </a:p>
          <a:p>
            <a:pPr algn="l">
              <a:lnSpc>
                <a:spcPct val="100000"/>
              </a:lnSpc>
              <a:spcBef>
                <a:spcPts val="600"/>
              </a:spcBef>
            </a:pPr>
            <a:r>
              <a:rPr lang="en-GB" altLang="de-DE" sz="2200" dirty="0">
                <a:latin typeface="+mj-lt"/>
              </a:rPr>
              <a:t>El enfoque </a:t>
            </a:r>
            <a:r>
              <a:rPr lang="en-GB" altLang="de-DE" sz="2200" b="1" dirty="0">
                <a:solidFill>
                  <a:srgbClr val="E53292"/>
                </a:solidFill>
                <a:latin typeface="+mj-lt"/>
              </a:rPr>
              <a:t>por procesos </a:t>
            </a:r>
            <a:r>
              <a:rPr lang="en-GB" altLang="de-DE" sz="2200" dirty="0">
                <a:latin typeface="+mj-lt"/>
              </a:rPr>
              <a:t>intenta codificar el conocimiento de la organización mediante controles, procesos y tecnologías formalizados. Las organizaciones que adoptan el enfoque de procesos pueden aplicar políticas explícitas que rigen la forma de recopilar, almacenar y difundir los conocimientos en toda la organización.</a:t>
            </a:r>
          </a:p>
          <a:p>
            <a:pPr algn="l">
              <a:lnSpc>
                <a:spcPct val="100000"/>
              </a:lnSpc>
              <a:spcBef>
                <a:spcPts val="600"/>
              </a:spcBef>
            </a:pPr>
            <a:r>
              <a:rPr lang="en-GB" altLang="de-DE" sz="2200" dirty="0">
                <a:latin typeface="+mj-lt"/>
              </a:rPr>
              <a:t>En cambio, el </a:t>
            </a:r>
            <a:r>
              <a:rPr lang="en-GB" altLang="de-DE" sz="2200" b="1" dirty="0">
                <a:solidFill>
                  <a:srgbClr val="F95C2C"/>
                </a:solidFill>
                <a:latin typeface="+mj-lt"/>
              </a:rPr>
              <a:t>enfoque práctico </a:t>
            </a:r>
            <a:r>
              <a:rPr lang="en-GB" altLang="de-DE" sz="2200" dirty="0">
                <a:latin typeface="+mj-lt"/>
              </a:rPr>
              <a:t>de la gestión del conocimiento parte de la base de que gran parte del conocimiento organizativo es tácito por naturaleza y que los controles, procesos y tecnologías formales no son adecuados para transmitir este tipo de comprensión. En lugar de crear sistemas formales para gestionar el conocimiento, este enfoque se centra en crear los entornos sociales o comunidades de práctica necesarios para facilitar el intercambio de conocimientos tácitos.</a:t>
            </a:r>
          </a:p>
        </p:txBody>
      </p:sp>
      <p:sp>
        <p:nvSpPr>
          <p:cNvPr id="37" name="TextBox 87">
            <a:extLst>
              <a:ext uri="{FF2B5EF4-FFF2-40B4-BE49-F238E27FC236}">
                <a16:creationId xmlns:a16="http://schemas.microsoft.com/office/drawing/2014/main" xmlns="" id="{927BC43A-D09D-4B00-990E-A98308F1DECD}"/>
              </a:ext>
            </a:extLst>
          </p:cNvPr>
          <p:cNvSpPr txBox="1"/>
          <p:nvPr/>
        </p:nvSpPr>
        <p:spPr>
          <a:xfrm>
            <a:off x="550278" y="6528494"/>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Fuente: Adoptado de Prentice Hall, Decision Support Systems and Intelligent Systems (</a:t>
            </a:r>
            <a:r>
              <a:rPr lang="en-GB" sz="1000" baseline="30000">
                <a:latin typeface="+mj-lt"/>
                <a:ea typeface="League Spartan" charset="0"/>
                <a:cs typeface="Poppins" pitchFamily="2" charset="77"/>
              </a:rPr>
              <a:t>7ª </a:t>
            </a:r>
            <a:r>
              <a:rPr lang="en-GB" sz="1000">
                <a:latin typeface="+mj-lt"/>
                <a:ea typeface="League Spartan" charset="0"/>
                <a:cs typeface="Poppins" pitchFamily="2" charset="77"/>
              </a:rPr>
              <a:t>edición)</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2096783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55981" y="548653"/>
            <a:ext cx="8852375" cy="697353"/>
          </a:xfrm>
        </p:spPr>
        <p:txBody>
          <a:bodyPr>
            <a:normAutofit/>
          </a:bodyPr>
          <a:lstStyle/>
          <a:p>
            <a:r>
              <a:rPr lang="en-GB" dirty="0"/>
              <a:t>Enfoques de la gestión del conocimiento</a:t>
            </a:r>
          </a:p>
        </p:txBody>
      </p:sp>
      <p:sp>
        <p:nvSpPr>
          <p:cNvPr id="37" name="TextBox 87">
            <a:extLst>
              <a:ext uri="{FF2B5EF4-FFF2-40B4-BE49-F238E27FC236}">
                <a16:creationId xmlns:a16="http://schemas.microsoft.com/office/drawing/2014/main" xmlns="" id="{927BC43A-D09D-4B00-990E-A98308F1DECD}"/>
              </a:ext>
            </a:extLst>
          </p:cNvPr>
          <p:cNvSpPr txBox="1"/>
          <p:nvPr/>
        </p:nvSpPr>
        <p:spPr>
          <a:xfrm>
            <a:off x="550278" y="6528494"/>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Fuente: Adoptado de Prentice Hall, Decision Support Systems and Intelligent Systems (</a:t>
            </a:r>
            <a:r>
              <a:rPr lang="en-GB" sz="1000" baseline="30000">
                <a:latin typeface="+mj-lt"/>
                <a:ea typeface="League Spartan" charset="0"/>
                <a:cs typeface="Poppins" pitchFamily="2" charset="77"/>
              </a:rPr>
              <a:t>7ª </a:t>
            </a:r>
            <a:r>
              <a:rPr lang="en-GB" sz="1000">
                <a:latin typeface="+mj-lt"/>
                <a:ea typeface="League Spartan" charset="0"/>
                <a:cs typeface="Poppins" pitchFamily="2" charset="77"/>
              </a:rPr>
              <a:t>edición)</a:t>
            </a:r>
            <a:endParaRPr lang="en-GB" sz="1000" dirty="0">
              <a:latin typeface="+mj-lt"/>
              <a:ea typeface="League Spartan" charset="0"/>
              <a:cs typeface="Poppins" pitchFamily="2" charset="77"/>
            </a:endParaRPr>
          </a:p>
        </p:txBody>
      </p:sp>
      <p:sp>
        <p:nvSpPr>
          <p:cNvPr id="36" name="Freeform 55">
            <a:extLst>
              <a:ext uri="{FF2B5EF4-FFF2-40B4-BE49-F238E27FC236}">
                <a16:creationId xmlns:a16="http://schemas.microsoft.com/office/drawing/2014/main" xmlns="" id="{3995FD82-BDD4-4C2C-9FFA-0C2D7B1BC237}"/>
              </a:ext>
            </a:extLst>
          </p:cNvPr>
          <p:cNvSpPr/>
          <p:nvPr/>
        </p:nvSpPr>
        <p:spPr>
          <a:xfrm>
            <a:off x="4164455" y="1985466"/>
            <a:ext cx="2017876" cy="2017878"/>
          </a:xfrm>
          <a:custGeom>
            <a:avLst/>
            <a:gdLst>
              <a:gd name="connsiteX0" fmla="*/ 0 w 4434251"/>
              <a:gd name="connsiteY0" fmla="*/ 0 h 4434253"/>
              <a:gd name="connsiteX1" fmla="*/ 4434251 w 4434251"/>
              <a:gd name="connsiteY1" fmla="*/ 979570 h 4434253"/>
              <a:gd name="connsiteX2" fmla="*/ 4434251 w 4434251"/>
              <a:gd name="connsiteY2" fmla="*/ 2412618 h 4434253"/>
              <a:gd name="connsiteX3" fmla="*/ 4324008 w 4434251"/>
              <a:gd name="connsiteY3" fmla="*/ 2418185 h 4434253"/>
              <a:gd name="connsiteX4" fmla="*/ 2474661 w 4434251"/>
              <a:gd name="connsiteY4" fmla="*/ 4267532 h 4434253"/>
              <a:gd name="connsiteX5" fmla="*/ 2466242 w 4434251"/>
              <a:gd name="connsiteY5" fmla="*/ 4434253 h 4434253"/>
              <a:gd name="connsiteX6" fmla="*/ 979569 w 4434251"/>
              <a:gd name="connsiteY6" fmla="*/ 4434253 h 443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1" h="4434253">
                <a:moveTo>
                  <a:pt x="0" y="0"/>
                </a:moveTo>
                <a:lnTo>
                  <a:pt x="4434251" y="979570"/>
                </a:lnTo>
                <a:lnTo>
                  <a:pt x="4434251" y="2412618"/>
                </a:lnTo>
                <a:lnTo>
                  <a:pt x="4324008" y="2418185"/>
                </a:lnTo>
                <a:cubicBezTo>
                  <a:pt x="3348899" y="2517213"/>
                  <a:pt x="2573689" y="3292424"/>
                  <a:pt x="2474661" y="4267532"/>
                </a:cubicBezTo>
                <a:lnTo>
                  <a:pt x="2466242" y="4434253"/>
                </a:lnTo>
                <a:lnTo>
                  <a:pt x="979569" y="443425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8" name="Freeform 57">
            <a:extLst>
              <a:ext uri="{FF2B5EF4-FFF2-40B4-BE49-F238E27FC236}">
                <a16:creationId xmlns:a16="http://schemas.microsoft.com/office/drawing/2014/main" xmlns="" id="{2259A2C7-E986-4072-81C2-DA93C1F6872E}"/>
              </a:ext>
            </a:extLst>
          </p:cNvPr>
          <p:cNvSpPr/>
          <p:nvPr/>
        </p:nvSpPr>
        <p:spPr>
          <a:xfrm>
            <a:off x="6274791" y="1985466"/>
            <a:ext cx="2017877" cy="2017878"/>
          </a:xfrm>
          <a:custGeom>
            <a:avLst/>
            <a:gdLst>
              <a:gd name="connsiteX0" fmla="*/ 4434254 w 4434254"/>
              <a:gd name="connsiteY0" fmla="*/ 0 h 4434252"/>
              <a:gd name="connsiteX1" fmla="*/ 3454684 w 4434254"/>
              <a:gd name="connsiteY1" fmla="*/ 4434252 h 4434252"/>
              <a:gd name="connsiteX2" fmla="*/ 1968016 w 4434254"/>
              <a:gd name="connsiteY2" fmla="*/ 4434252 h 4434252"/>
              <a:gd name="connsiteX3" fmla="*/ 1959597 w 4434254"/>
              <a:gd name="connsiteY3" fmla="*/ 4267530 h 4434252"/>
              <a:gd name="connsiteX4" fmla="*/ 110250 w 4434254"/>
              <a:gd name="connsiteY4" fmla="*/ 2418183 h 4434252"/>
              <a:gd name="connsiteX5" fmla="*/ 0 w 4434254"/>
              <a:gd name="connsiteY5" fmla="*/ 2412616 h 4434252"/>
              <a:gd name="connsiteX6" fmla="*/ 0 w 4434254"/>
              <a:gd name="connsiteY6" fmla="*/ 979569 h 4434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4" h="4434252">
                <a:moveTo>
                  <a:pt x="4434254" y="0"/>
                </a:moveTo>
                <a:lnTo>
                  <a:pt x="3454684" y="4434252"/>
                </a:lnTo>
                <a:lnTo>
                  <a:pt x="1968016" y="4434252"/>
                </a:lnTo>
                <a:lnTo>
                  <a:pt x="1959597" y="4267530"/>
                </a:lnTo>
                <a:cubicBezTo>
                  <a:pt x="1860570" y="3292422"/>
                  <a:pt x="1085359" y="2517211"/>
                  <a:pt x="110250" y="2418183"/>
                </a:cubicBezTo>
                <a:lnTo>
                  <a:pt x="0" y="2412616"/>
                </a:lnTo>
                <a:lnTo>
                  <a:pt x="0" y="97956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Freeform 61">
            <a:extLst>
              <a:ext uri="{FF2B5EF4-FFF2-40B4-BE49-F238E27FC236}">
                <a16:creationId xmlns:a16="http://schemas.microsoft.com/office/drawing/2014/main" xmlns="" id="{02014AC8-A769-43D4-A5F0-77E545B17E3F}"/>
              </a:ext>
            </a:extLst>
          </p:cNvPr>
          <p:cNvSpPr/>
          <p:nvPr/>
        </p:nvSpPr>
        <p:spPr>
          <a:xfrm>
            <a:off x="4164455" y="4095805"/>
            <a:ext cx="2017876" cy="2017878"/>
          </a:xfrm>
          <a:custGeom>
            <a:avLst/>
            <a:gdLst>
              <a:gd name="connsiteX0" fmla="*/ 979569 w 4434251"/>
              <a:gd name="connsiteY0" fmla="*/ 0 h 4434252"/>
              <a:gd name="connsiteX1" fmla="*/ 2471946 w 4434251"/>
              <a:gd name="connsiteY1" fmla="*/ 0 h 4434252"/>
              <a:gd name="connsiteX2" fmla="*/ 2474661 w 4434251"/>
              <a:gd name="connsiteY2" fmla="*/ 53772 h 4434252"/>
              <a:gd name="connsiteX3" fmla="*/ 4324008 w 4434251"/>
              <a:gd name="connsiteY3" fmla="*/ 1903119 h 4434252"/>
              <a:gd name="connsiteX4" fmla="*/ 4434251 w 4434251"/>
              <a:gd name="connsiteY4" fmla="*/ 1908686 h 4434252"/>
              <a:gd name="connsiteX5" fmla="*/ 4434251 w 4434251"/>
              <a:gd name="connsiteY5" fmla="*/ 3454683 h 4434252"/>
              <a:gd name="connsiteX6" fmla="*/ 0 w 4434251"/>
              <a:gd name="connsiteY6" fmla="*/ 4434252 h 4434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1" h="4434252">
                <a:moveTo>
                  <a:pt x="979569" y="0"/>
                </a:moveTo>
                <a:lnTo>
                  <a:pt x="2471946" y="0"/>
                </a:lnTo>
                <a:lnTo>
                  <a:pt x="2474661" y="53772"/>
                </a:lnTo>
                <a:cubicBezTo>
                  <a:pt x="2573689" y="1028881"/>
                  <a:pt x="3348899" y="1804091"/>
                  <a:pt x="4324008" y="1903119"/>
                </a:cubicBezTo>
                <a:lnTo>
                  <a:pt x="4434251" y="1908686"/>
                </a:lnTo>
                <a:lnTo>
                  <a:pt x="4434251" y="3454683"/>
                </a:lnTo>
                <a:lnTo>
                  <a:pt x="0" y="4434252"/>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Freeform 59">
            <a:extLst>
              <a:ext uri="{FF2B5EF4-FFF2-40B4-BE49-F238E27FC236}">
                <a16:creationId xmlns:a16="http://schemas.microsoft.com/office/drawing/2014/main" xmlns="" id="{4D7FAC43-A171-4EDF-93A8-C68AB0CDAF41}"/>
              </a:ext>
            </a:extLst>
          </p:cNvPr>
          <p:cNvSpPr/>
          <p:nvPr/>
        </p:nvSpPr>
        <p:spPr>
          <a:xfrm>
            <a:off x="6274791" y="4095805"/>
            <a:ext cx="2017877" cy="2017878"/>
          </a:xfrm>
          <a:custGeom>
            <a:avLst/>
            <a:gdLst>
              <a:gd name="connsiteX0" fmla="*/ 1962312 w 4434254"/>
              <a:gd name="connsiteY0" fmla="*/ 0 h 4434253"/>
              <a:gd name="connsiteX1" fmla="*/ 3454684 w 4434254"/>
              <a:gd name="connsiteY1" fmla="*/ 0 h 4434253"/>
              <a:gd name="connsiteX2" fmla="*/ 4434254 w 4434254"/>
              <a:gd name="connsiteY2" fmla="*/ 4434253 h 4434253"/>
              <a:gd name="connsiteX3" fmla="*/ 0 w 4434254"/>
              <a:gd name="connsiteY3" fmla="*/ 3454683 h 4434253"/>
              <a:gd name="connsiteX4" fmla="*/ 0 w 4434254"/>
              <a:gd name="connsiteY4" fmla="*/ 1908687 h 4434253"/>
              <a:gd name="connsiteX5" fmla="*/ 110250 w 4434254"/>
              <a:gd name="connsiteY5" fmla="*/ 1903120 h 4434253"/>
              <a:gd name="connsiteX6" fmla="*/ 1959597 w 4434254"/>
              <a:gd name="connsiteY6" fmla="*/ 53773 h 443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4" h="4434253">
                <a:moveTo>
                  <a:pt x="1962312" y="0"/>
                </a:moveTo>
                <a:lnTo>
                  <a:pt x="3454684" y="0"/>
                </a:lnTo>
                <a:lnTo>
                  <a:pt x="4434254" y="4434253"/>
                </a:lnTo>
                <a:lnTo>
                  <a:pt x="0" y="3454683"/>
                </a:lnTo>
                <a:lnTo>
                  <a:pt x="0" y="1908687"/>
                </a:lnTo>
                <a:lnTo>
                  <a:pt x="110250" y="1903120"/>
                </a:lnTo>
                <a:cubicBezTo>
                  <a:pt x="1085359" y="1804092"/>
                  <a:pt x="1860570" y="1028882"/>
                  <a:pt x="1959597" y="53773"/>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Oval 62">
            <a:extLst>
              <a:ext uri="{FF2B5EF4-FFF2-40B4-BE49-F238E27FC236}">
                <a16:creationId xmlns:a16="http://schemas.microsoft.com/office/drawing/2014/main" xmlns="" id="{9B8A5AF8-38C7-4B73-9E0F-8054573F2858}"/>
              </a:ext>
            </a:extLst>
          </p:cNvPr>
          <p:cNvSpPr>
            <a:spLocks noChangeAspect="1"/>
          </p:cNvSpPr>
          <p:nvPr/>
        </p:nvSpPr>
        <p:spPr>
          <a:xfrm>
            <a:off x="5007800" y="2820992"/>
            <a:ext cx="2453376" cy="2453376"/>
          </a:xfrm>
          <a:prstGeom prst="ellipse">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6" name="TextBox 12">
            <a:extLst>
              <a:ext uri="{FF2B5EF4-FFF2-40B4-BE49-F238E27FC236}">
                <a16:creationId xmlns:a16="http://schemas.microsoft.com/office/drawing/2014/main" xmlns="" id="{B1EE8497-2A6A-49D1-94DB-370D204D3F36}"/>
              </a:ext>
            </a:extLst>
          </p:cNvPr>
          <p:cNvSpPr txBox="1"/>
          <p:nvPr/>
        </p:nvSpPr>
        <p:spPr>
          <a:xfrm>
            <a:off x="4321216" y="5027678"/>
            <a:ext cx="1298625" cy="707886"/>
          </a:xfrm>
          <a:prstGeom prst="rect">
            <a:avLst/>
          </a:prstGeom>
          <a:noFill/>
        </p:spPr>
        <p:txBody>
          <a:bodyPr wrap="none" rtlCol="0" anchor="b" anchorCtr="0">
            <a:spAutoFit/>
          </a:bodyPr>
          <a:lstStyle/>
          <a:p>
            <a:pPr algn="ctr"/>
            <a:r>
              <a:rPr lang="en-GB" sz="2000" b="1" dirty="0">
                <a:solidFill>
                  <a:schemeClr val="bg1"/>
                </a:solidFill>
                <a:latin typeface="+mj-lt"/>
                <a:ea typeface="League Spartan" charset="0"/>
                <a:cs typeface="Poppins" pitchFamily="2" charset="77"/>
              </a:rPr>
              <a:t>Uso de</a:t>
            </a:r>
            <a:br>
              <a:rPr lang="en-GB" sz="2000" b="1" dirty="0">
                <a:solidFill>
                  <a:schemeClr val="bg1"/>
                </a:solidFill>
                <a:latin typeface="+mj-lt"/>
                <a:ea typeface="League Spartan" charset="0"/>
                <a:cs typeface="Poppins" pitchFamily="2" charset="77"/>
              </a:rPr>
            </a:br>
            <a:r>
              <a:rPr lang="en-GB" sz="2000" b="1" dirty="0">
                <a:solidFill>
                  <a:schemeClr val="bg1"/>
                </a:solidFill>
                <a:latin typeface="+mj-lt"/>
                <a:ea typeface="League Spartan" charset="0"/>
                <a:cs typeface="Poppins" pitchFamily="2" charset="77"/>
              </a:rPr>
              <a:t>Conocimiento</a:t>
            </a:r>
          </a:p>
        </p:txBody>
      </p:sp>
      <p:sp>
        <p:nvSpPr>
          <p:cNvPr id="48" name="TextBox 14">
            <a:extLst>
              <a:ext uri="{FF2B5EF4-FFF2-40B4-BE49-F238E27FC236}">
                <a16:creationId xmlns:a16="http://schemas.microsoft.com/office/drawing/2014/main" xmlns="" id="{47EB6815-20F4-40C9-A966-68D676A3D7E5}"/>
              </a:ext>
            </a:extLst>
          </p:cNvPr>
          <p:cNvSpPr txBox="1"/>
          <p:nvPr/>
        </p:nvSpPr>
        <p:spPr>
          <a:xfrm>
            <a:off x="6776535" y="4984121"/>
            <a:ext cx="1369286" cy="707886"/>
          </a:xfrm>
          <a:prstGeom prst="rect">
            <a:avLst/>
          </a:prstGeom>
          <a:noFill/>
        </p:spPr>
        <p:txBody>
          <a:bodyPr wrap="none" rtlCol="0" anchor="b" anchorCtr="0">
            <a:spAutoFit/>
          </a:bodyPr>
          <a:lstStyle/>
          <a:p>
            <a:pPr algn="ctr"/>
            <a:r>
              <a:rPr lang="en-GB" sz="2000" b="1" dirty="0">
                <a:solidFill>
                  <a:schemeClr val="bg1"/>
                </a:solidFill>
                <a:latin typeface="+mj-lt"/>
                <a:ea typeface="League Spartan" charset="0"/>
                <a:cs typeface="Poppins" pitchFamily="2" charset="77"/>
              </a:rPr>
              <a:t>Buscar</a:t>
            </a:r>
            <a:br>
              <a:rPr lang="en-GB" sz="2000" b="1" dirty="0">
                <a:solidFill>
                  <a:schemeClr val="bg1"/>
                </a:solidFill>
                <a:latin typeface="+mj-lt"/>
                <a:ea typeface="League Spartan" charset="0"/>
                <a:cs typeface="Poppins" pitchFamily="2" charset="77"/>
              </a:rPr>
            </a:br>
            <a:r>
              <a:rPr lang="en-GB" sz="2000" b="1" dirty="0">
                <a:solidFill>
                  <a:schemeClr val="bg1"/>
                </a:solidFill>
                <a:latin typeface="+mj-lt"/>
                <a:ea typeface="League Spartan" charset="0"/>
                <a:cs typeface="Poppins" pitchFamily="2" charset="77"/>
              </a:rPr>
              <a:t>Conocimiento</a:t>
            </a:r>
          </a:p>
        </p:txBody>
      </p:sp>
      <p:sp>
        <p:nvSpPr>
          <p:cNvPr id="50" name="TextBox 16">
            <a:extLst>
              <a:ext uri="{FF2B5EF4-FFF2-40B4-BE49-F238E27FC236}">
                <a16:creationId xmlns:a16="http://schemas.microsoft.com/office/drawing/2014/main" xmlns="" id="{D41C6E6E-E77E-42EE-AD06-D5BE7D2B3A05}"/>
              </a:ext>
            </a:extLst>
          </p:cNvPr>
          <p:cNvSpPr txBox="1"/>
          <p:nvPr/>
        </p:nvSpPr>
        <p:spPr>
          <a:xfrm>
            <a:off x="4398434" y="2274552"/>
            <a:ext cx="1310103" cy="707886"/>
          </a:xfrm>
          <a:prstGeom prst="rect">
            <a:avLst/>
          </a:prstGeom>
          <a:noFill/>
        </p:spPr>
        <p:txBody>
          <a:bodyPr wrap="none" rtlCol="0" anchor="b" anchorCtr="0">
            <a:spAutoFit/>
          </a:bodyPr>
          <a:lstStyle/>
          <a:p>
            <a:pPr algn="ctr"/>
            <a:r>
              <a:rPr lang="en-GB" sz="2000" b="1" dirty="0">
                <a:solidFill>
                  <a:schemeClr val="bg1"/>
                </a:solidFill>
                <a:latin typeface="+mj-lt"/>
                <a:ea typeface="League Spartan" charset="0"/>
                <a:cs typeface="Poppins" pitchFamily="2" charset="77"/>
              </a:rPr>
              <a:t>Creación de</a:t>
            </a:r>
            <a:br>
              <a:rPr lang="en-GB" sz="2000" b="1" dirty="0">
                <a:solidFill>
                  <a:schemeClr val="bg1"/>
                </a:solidFill>
                <a:latin typeface="+mj-lt"/>
                <a:ea typeface="League Spartan" charset="0"/>
                <a:cs typeface="Poppins" pitchFamily="2" charset="77"/>
              </a:rPr>
            </a:br>
            <a:r>
              <a:rPr lang="en-GB" sz="2000" b="1" dirty="0">
                <a:solidFill>
                  <a:schemeClr val="bg1"/>
                </a:solidFill>
                <a:latin typeface="+mj-lt"/>
                <a:ea typeface="League Spartan" charset="0"/>
                <a:cs typeface="Poppins" pitchFamily="2" charset="77"/>
              </a:rPr>
              <a:t>Conocimiento</a:t>
            </a:r>
          </a:p>
        </p:txBody>
      </p:sp>
      <p:sp>
        <p:nvSpPr>
          <p:cNvPr id="52" name="TextBox 18">
            <a:extLst>
              <a:ext uri="{FF2B5EF4-FFF2-40B4-BE49-F238E27FC236}">
                <a16:creationId xmlns:a16="http://schemas.microsoft.com/office/drawing/2014/main" xmlns="" id="{E44FA6A9-CB77-46D4-8BB9-FEFB77738A14}"/>
              </a:ext>
            </a:extLst>
          </p:cNvPr>
          <p:cNvSpPr txBox="1"/>
          <p:nvPr/>
        </p:nvSpPr>
        <p:spPr>
          <a:xfrm>
            <a:off x="6811864" y="2253976"/>
            <a:ext cx="1298625" cy="707886"/>
          </a:xfrm>
          <a:prstGeom prst="rect">
            <a:avLst/>
          </a:prstGeom>
          <a:noFill/>
        </p:spPr>
        <p:txBody>
          <a:bodyPr wrap="none" rtlCol="0" anchor="b" anchorCtr="0">
            <a:spAutoFit/>
          </a:bodyPr>
          <a:lstStyle/>
          <a:p>
            <a:pPr algn="ctr"/>
            <a:r>
              <a:rPr lang="en-GB" sz="2000" b="1" dirty="0">
                <a:solidFill>
                  <a:schemeClr val="bg1"/>
                </a:solidFill>
                <a:latin typeface="+mj-lt"/>
                <a:ea typeface="League Spartan" charset="0"/>
                <a:cs typeface="Poppins" pitchFamily="2" charset="77"/>
              </a:rPr>
              <a:t>Compartir el </a:t>
            </a:r>
            <a:br>
              <a:rPr lang="en-GB" sz="2000" b="1" dirty="0">
                <a:solidFill>
                  <a:schemeClr val="bg1"/>
                </a:solidFill>
                <a:latin typeface="+mj-lt"/>
                <a:ea typeface="League Spartan" charset="0"/>
                <a:cs typeface="Poppins" pitchFamily="2" charset="77"/>
              </a:rPr>
            </a:br>
            <a:r>
              <a:rPr lang="en-GB" sz="2000" b="1" dirty="0">
                <a:solidFill>
                  <a:schemeClr val="bg1"/>
                </a:solidFill>
                <a:latin typeface="+mj-lt"/>
                <a:ea typeface="League Spartan" charset="0"/>
                <a:cs typeface="Poppins" pitchFamily="2" charset="77"/>
              </a:rPr>
              <a:t>Conocimiento</a:t>
            </a:r>
          </a:p>
        </p:txBody>
      </p:sp>
      <p:sp>
        <p:nvSpPr>
          <p:cNvPr id="54" name="TextBox 12">
            <a:extLst>
              <a:ext uri="{FF2B5EF4-FFF2-40B4-BE49-F238E27FC236}">
                <a16:creationId xmlns:a16="http://schemas.microsoft.com/office/drawing/2014/main" xmlns="" id="{7B7C34A5-86BA-4447-BCC7-009864B21DB0}"/>
              </a:ext>
            </a:extLst>
          </p:cNvPr>
          <p:cNvSpPr txBox="1"/>
          <p:nvPr/>
        </p:nvSpPr>
        <p:spPr>
          <a:xfrm>
            <a:off x="5217311" y="3174065"/>
            <a:ext cx="2283329" cy="1754326"/>
          </a:xfrm>
          <a:prstGeom prst="rect">
            <a:avLst/>
          </a:prstGeom>
          <a:noFill/>
        </p:spPr>
        <p:txBody>
          <a:bodyPr wrap="square" rtlCol="0" anchor="b" anchorCtr="0">
            <a:spAutoFit/>
          </a:bodyPr>
          <a:lstStyle/>
          <a:p>
            <a:pPr marL="182563" indent="-182563">
              <a:buFont typeface="Arial" panose="020B0604020202020204" pitchFamily="34" charset="0"/>
              <a:buChar char="•"/>
            </a:pPr>
            <a:r>
              <a:rPr lang="en-GB" b="1" dirty="0">
                <a:solidFill>
                  <a:srgbClr val="245473"/>
                </a:solidFill>
                <a:latin typeface="+mj-lt"/>
                <a:ea typeface="League Spartan" charset="0"/>
                <a:cs typeface="Poppins" pitchFamily="2" charset="77"/>
              </a:rPr>
              <a:t>Hacer visible el conocimiento</a:t>
            </a:r>
          </a:p>
          <a:p>
            <a:pPr marL="182563" indent="-182563">
              <a:buFont typeface="Arial" panose="020B0604020202020204" pitchFamily="34" charset="0"/>
              <a:buChar char="•"/>
            </a:pPr>
            <a:r>
              <a:rPr lang="en-GB" b="1" dirty="0">
                <a:solidFill>
                  <a:srgbClr val="245473"/>
                </a:solidFill>
                <a:latin typeface="+mj-lt"/>
                <a:ea typeface="League Spartan" charset="0"/>
                <a:cs typeface="Poppins" pitchFamily="2" charset="77"/>
              </a:rPr>
              <a:t>Desarrollar una cultura intensiva en conocimientos</a:t>
            </a:r>
          </a:p>
          <a:p>
            <a:pPr marL="182563" indent="-182563">
              <a:buFont typeface="Arial" panose="020B0604020202020204" pitchFamily="34" charset="0"/>
              <a:buChar char="•"/>
            </a:pPr>
            <a:r>
              <a:rPr lang="en-GB" b="1" dirty="0">
                <a:solidFill>
                  <a:srgbClr val="245473"/>
                </a:solidFill>
                <a:latin typeface="+mj-lt"/>
                <a:ea typeface="League Spartan" charset="0"/>
                <a:cs typeface="Poppins" pitchFamily="2" charset="77"/>
              </a:rPr>
              <a:t>Construir conocimiento</a:t>
            </a:r>
            <a:br>
              <a:rPr lang="en-GB" b="1" dirty="0">
                <a:solidFill>
                  <a:srgbClr val="245473"/>
                </a:solidFill>
                <a:latin typeface="+mj-lt"/>
                <a:ea typeface="League Spartan" charset="0"/>
                <a:cs typeface="Poppins" pitchFamily="2" charset="77"/>
              </a:rPr>
            </a:br>
            <a:r>
              <a:rPr lang="en-GB" b="1" dirty="0">
                <a:solidFill>
                  <a:srgbClr val="245473"/>
                </a:solidFill>
                <a:latin typeface="+mj-lt"/>
                <a:ea typeface="League Spartan" charset="0"/>
                <a:cs typeface="Poppins" pitchFamily="2" charset="77"/>
              </a:rPr>
              <a:t>Infraestructura</a:t>
            </a:r>
          </a:p>
        </p:txBody>
      </p:sp>
      <p:sp>
        <p:nvSpPr>
          <p:cNvPr id="56" name="TextBox 12">
            <a:extLst>
              <a:ext uri="{FF2B5EF4-FFF2-40B4-BE49-F238E27FC236}">
                <a16:creationId xmlns:a16="http://schemas.microsoft.com/office/drawing/2014/main" xmlns="" id="{5E0A6388-95FB-4067-9198-CF0F5E257751}"/>
              </a:ext>
            </a:extLst>
          </p:cNvPr>
          <p:cNvSpPr txBox="1"/>
          <p:nvPr/>
        </p:nvSpPr>
        <p:spPr>
          <a:xfrm>
            <a:off x="5076414" y="1886024"/>
            <a:ext cx="2283329" cy="338554"/>
          </a:xfrm>
          <a:prstGeom prst="rect">
            <a:avLst/>
          </a:prstGeom>
          <a:noFill/>
        </p:spPr>
        <p:txBody>
          <a:bodyPr wrap="square" rtlCol="0" anchor="b" anchorCtr="0">
            <a:spAutoFit/>
          </a:bodyPr>
          <a:lstStyle/>
          <a:p>
            <a:pPr algn="ctr"/>
            <a:r>
              <a:rPr lang="en-GB" sz="1600" b="1" dirty="0">
                <a:solidFill>
                  <a:srgbClr val="E53292"/>
                </a:solidFill>
                <a:latin typeface="+mj-lt"/>
                <a:ea typeface="League Spartan" charset="0"/>
                <a:cs typeface="Poppins" pitchFamily="2" charset="77"/>
              </a:rPr>
              <a:t>Procesos circundantes</a:t>
            </a:r>
          </a:p>
        </p:txBody>
      </p:sp>
      <p:sp>
        <p:nvSpPr>
          <p:cNvPr id="57" name="Subtitle 2">
            <a:extLst>
              <a:ext uri="{FF2B5EF4-FFF2-40B4-BE49-F238E27FC236}">
                <a16:creationId xmlns:a16="http://schemas.microsoft.com/office/drawing/2014/main" xmlns="" id="{56B6123A-1FFC-4B11-A070-120A905B00BB}"/>
              </a:ext>
            </a:extLst>
          </p:cNvPr>
          <p:cNvSpPr txBox="1">
            <a:spLocks/>
          </p:cNvSpPr>
          <p:nvPr/>
        </p:nvSpPr>
        <p:spPr>
          <a:xfrm>
            <a:off x="2865789" y="2279859"/>
            <a:ext cx="1205279" cy="162125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Lato Light" panose="020F0502020204030203" pitchFamily="34" charset="0"/>
                <a:cs typeface="Mukta ExtraLight" panose="020B0000000000000000" pitchFamily="34" charset="77"/>
              </a:rPr>
              <a:t>Generar</a:t>
            </a:r>
            <a:br>
              <a:rPr lang="en-GB" sz="2000" dirty="0">
                <a:latin typeface="+mj-lt"/>
                <a:ea typeface="Lato Light" panose="020F0502020204030203" pitchFamily="34" charset="0"/>
                <a:cs typeface="Mukta ExtraLight" panose="020B0000000000000000" pitchFamily="34" charset="77"/>
              </a:rPr>
            </a:br>
            <a:r>
              <a:rPr lang="en-GB" sz="2000" dirty="0">
                <a:latin typeface="+mj-lt"/>
                <a:ea typeface="Lato Light" panose="020F0502020204030203" pitchFamily="34" charset="0"/>
                <a:cs typeface="Mukta ExtraLight" panose="020B0000000000000000" pitchFamily="34" charset="77"/>
              </a:rPr>
              <a:t>nuevas ideas, rutinas, conocimientos...</a:t>
            </a:r>
          </a:p>
        </p:txBody>
      </p:sp>
      <p:sp>
        <p:nvSpPr>
          <p:cNvPr id="58" name="Subtitle 2">
            <a:extLst>
              <a:ext uri="{FF2B5EF4-FFF2-40B4-BE49-F238E27FC236}">
                <a16:creationId xmlns:a16="http://schemas.microsoft.com/office/drawing/2014/main" xmlns="" id="{AD7CC24D-1402-46F0-B0DA-E4BBBFB3013D}"/>
              </a:ext>
            </a:extLst>
          </p:cNvPr>
          <p:cNvSpPr txBox="1">
            <a:spLocks/>
          </p:cNvSpPr>
          <p:nvPr/>
        </p:nvSpPr>
        <p:spPr>
          <a:xfrm>
            <a:off x="8413089" y="2233365"/>
            <a:ext cx="2283329" cy="162125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Lato Light" panose="020F0502020204030203" pitchFamily="34" charset="0"/>
                <a:cs typeface="Mukta ExtraLight" panose="020B0000000000000000" pitchFamily="34" charset="77"/>
              </a:rPr>
              <a:t>Establezca plataformas y rutinas para compartir el conocimiento en su Organización</a:t>
            </a:r>
          </a:p>
        </p:txBody>
      </p:sp>
      <p:sp>
        <p:nvSpPr>
          <p:cNvPr id="59" name="Subtitle 2">
            <a:extLst>
              <a:ext uri="{FF2B5EF4-FFF2-40B4-BE49-F238E27FC236}">
                <a16:creationId xmlns:a16="http://schemas.microsoft.com/office/drawing/2014/main" xmlns="" id="{1D64C185-3BD8-4341-A69F-AEF005748C83}"/>
              </a:ext>
            </a:extLst>
          </p:cNvPr>
          <p:cNvSpPr txBox="1">
            <a:spLocks/>
          </p:cNvSpPr>
          <p:nvPr/>
        </p:nvSpPr>
        <p:spPr>
          <a:xfrm>
            <a:off x="8413089" y="4350375"/>
            <a:ext cx="2283329" cy="162125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Lato Light" panose="020F0502020204030203" pitchFamily="34" charset="0"/>
                <a:cs typeface="Mukta ExtraLight" panose="020B0000000000000000" pitchFamily="34" charset="77"/>
              </a:rPr>
              <a:t>Buscar nuevos conocimientos fuera de la organización de forma regular y estructurada</a:t>
            </a:r>
          </a:p>
        </p:txBody>
      </p:sp>
      <p:sp>
        <p:nvSpPr>
          <p:cNvPr id="60" name="Subtitle 2">
            <a:extLst>
              <a:ext uri="{FF2B5EF4-FFF2-40B4-BE49-F238E27FC236}">
                <a16:creationId xmlns:a16="http://schemas.microsoft.com/office/drawing/2014/main" xmlns="" id="{441498B5-3CCE-43D9-B582-4CEA37886DD6}"/>
              </a:ext>
            </a:extLst>
          </p:cNvPr>
          <p:cNvSpPr txBox="1">
            <a:spLocks/>
          </p:cNvSpPr>
          <p:nvPr/>
        </p:nvSpPr>
        <p:spPr>
          <a:xfrm>
            <a:off x="2049465" y="4558064"/>
            <a:ext cx="2283329" cy="131348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Lato Light" panose="020F0502020204030203" pitchFamily="34" charset="0"/>
                <a:cs typeface="Mukta ExtraLight" panose="020B0000000000000000" pitchFamily="34" charset="77"/>
              </a:rPr>
              <a:t>Asegurarse de que los (nuevos) conocimientos se adaptan y se utilizan en la organización</a:t>
            </a:r>
          </a:p>
        </p:txBody>
      </p:sp>
    </p:spTree>
    <p:extLst>
      <p:ext uri="{BB962C8B-B14F-4D97-AF65-F5344CB8AC3E}">
        <p14:creationId xmlns:p14="http://schemas.microsoft.com/office/powerpoint/2010/main" val="41232854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332612" y="-163286"/>
            <a:ext cx="9821959" cy="1582271"/>
          </a:xfrm>
        </p:spPr>
        <p:txBody>
          <a:bodyPr/>
          <a:lstStyle/>
          <a:p>
            <a:r>
              <a:rPr lang="en-GB" b="1" dirty="0"/>
              <a:t>Lo que aprenderás del Módulo 07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983867"/>
            <a:ext cx="10729959" cy="7278916"/>
          </a:xfrm>
          <a:prstGeom prst="rect">
            <a:avLst/>
          </a:prstGeom>
          <a:noFill/>
        </p:spPr>
        <p:txBody>
          <a:bodyPr wrap="square">
            <a:spAutoFit/>
          </a:bodyPr>
          <a:lstStyle/>
          <a:p>
            <a:r>
              <a:rPr lang="en-IE" sz="2200" dirty="0">
                <a:solidFill>
                  <a:schemeClr val="bg1"/>
                </a:solidFill>
                <a:latin typeface="+mj-lt"/>
              </a:rPr>
              <a:t>En el módulo 7, le introducimos en el </a:t>
            </a:r>
            <a:r>
              <a:rPr lang="en-GB" sz="2200" dirty="0">
                <a:solidFill>
                  <a:schemeClr val="bg1"/>
                </a:solidFill>
                <a:latin typeface="+mj-lt"/>
              </a:rPr>
              <a:t>área vital de aprender de las crisis. Las investigaciones demuestran que aprendemos tres veces más de los fracasos que de los éxitos. La marca de un líder de calidad es cómo podemos corregir los errores y evitar que se repitan.</a:t>
            </a:r>
          </a:p>
          <a:p>
            <a:pPr algn="ctr">
              <a:lnSpc>
                <a:spcPct val="100000"/>
              </a:lnSpc>
              <a:spcBef>
                <a:spcPts val="600"/>
              </a:spcBef>
            </a:pPr>
            <a:r>
              <a:rPr lang="en-GB" sz="2200" i="1" dirty="0">
                <a:solidFill>
                  <a:schemeClr val="bg1"/>
                </a:solidFill>
                <a:latin typeface="+mj-lt"/>
              </a:rPr>
              <a:t>No hay dos crisis iguales. Siempre aprendes algo nuevo que tienes en tu bolsa de experiencias, porque parte de lo que hace difícil una crisis es no haber hecho esto antes".</a:t>
            </a:r>
            <a:endParaRPr lang="en-US" sz="2200" dirty="0">
              <a:solidFill>
                <a:schemeClr val="bg1"/>
              </a:solidFill>
              <a:latin typeface="+mj-lt"/>
            </a:endParaRPr>
          </a:p>
          <a:p>
            <a:pPr algn="l">
              <a:lnSpc>
                <a:spcPct val="100000"/>
              </a:lnSpc>
              <a:spcBef>
                <a:spcPts val="600"/>
              </a:spcBef>
            </a:pPr>
            <a:endParaRPr lang="en-GB" sz="2200" dirty="0">
              <a:solidFill>
                <a:schemeClr val="bg1"/>
              </a:solidFill>
              <a:latin typeface="+mj-lt"/>
            </a:endParaRPr>
          </a:p>
          <a:p>
            <a:pPr algn="l">
              <a:lnSpc>
                <a:spcPct val="100000"/>
              </a:lnSpc>
              <a:spcBef>
                <a:spcPts val="600"/>
              </a:spcBef>
            </a:pPr>
            <a:r>
              <a:rPr lang="en-GB" sz="2200" dirty="0">
                <a:solidFill>
                  <a:schemeClr val="bg1"/>
                </a:solidFill>
                <a:latin typeface="+mj-lt"/>
              </a:rPr>
              <a:t>En este módulo, </a:t>
            </a:r>
            <a:r>
              <a:rPr lang="en-IE" sz="2200" dirty="0" err="1">
                <a:solidFill>
                  <a:schemeClr val="bg1"/>
                </a:solidFill>
                <a:latin typeface="+mj-lt"/>
              </a:rPr>
              <a:t>se </a:t>
            </a:r>
            <a:r>
              <a:rPr lang="en-IE" sz="2200" dirty="0">
                <a:solidFill>
                  <a:schemeClr val="bg1"/>
                </a:solidFill>
                <a:latin typeface="+mj-lt"/>
              </a:rPr>
              <a:t>beneficiará de aprender a </a:t>
            </a:r>
          </a:p>
          <a:p>
            <a:endParaRPr lang="en-IE" sz="2200" dirty="0">
              <a:solidFill>
                <a:schemeClr val="bg1"/>
              </a:solidFill>
              <a:latin typeface="+mj-lt"/>
            </a:endParaRPr>
          </a:p>
          <a:p>
            <a:pPr marL="285750" indent="-285750">
              <a:buFont typeface="Arial" panose="020B0604020202020204" pitchFamily="34" charset="0"/>
              <a:buChar char="•"/>
            </a:pPr>
            <a:r>
              <a:rPr lang="en-GB" sz="2200" dirty="0">
                <a:solidFill>
                  <a:schemeClr val="bg1"/>
                </a:solidFill>
                <a:latin typeface="+mj-lt"/>
              </a:rPr>
              <a:t>Comprender la percepción personal del fracaso y el aprendizaje de la crisis para efectuar el cambio</a:t>
            </a:r>
          </a:p>
          <a:p>
            <a:pPr marL="285750" indent="-285750">
              <a:buFont typeface="Arial" panose="020B0604020202020204" pitchFamily="34" charset="0"/>
              <a:buChar char="•"/>
            </a:pPr>
            <a:r>
              <a:rPr lang="en-GB" sz="2200" dirty="0">
                <a:solidFill>
                  <a:schemeClr val="bg1"/>
                </a:solidFill>
                <a:latin typeface="+mj-lt"/>
              </a:rPr>
              <a:t>Aplicar enfoques de gestión del conocimiento</a:t>
            </a:r>
          </a:p>
          <a:p>
            <a:pPr marL="285750" indent="-285750">
              <a:buFont typeface="Arial" panose="020B0604020202020204" pitchFamily="34" charset="0"/>
              <a:buChar char="•"/>
            </a:pPr>
            <a:r>
              <a:rPr lang="en-GB" sz="2200" dirty="0">
                <a:solidFill>
                  <a:schemeClr val="bg1"/>
                </a:solidFill>
                <a:latin typeface="+mj-lt"/>
              </a:rPr>
              <a:t>Mejora de la gestión de tareas en crisis</a:t>
            </a:r>
          </a:p>
          <a:p>
            <a:pPr marL="285750" indent="-285750">
              <a:buFont typeface="Arial" panose="020B0604020202020204" pitchFamily="34" charset="0"/>
              <a:buChar char="•"/>
            </a:pPr>
            <a:endParaRPr lang="en-GB" sz="2200" dirty="0">
              <a:solidFill>
                <a:schemeClr val="bg1"/>
              </a:solidFill>
              <a:latin typeface="+mj-lt"/>
            </a:endParaRPr>
          </a:p>
          <a:p>
            <a:r>
              <a:rPr lang="en-GB" sz="2200" dirty="0">
                <a:solidFill>
                  <a:schemeClr val="bg1"/>
                </a:solidFill>
                <a:latin typeface="+mj-lt"/>
              </a:rPr>
              <a:t>Y por último, te llevamos a un viaje de aprendizaje a través de tu percepción                                                                     personal del fracaso, el miedo al fracaso y las 5 etapas de cómo caen los poderosos, de las cuales </a:t>
            </a:r>
          </a:p>
          <a:p>
            <a:r>
              <a:rPr lang="en-GB" sz="2200" dirty="0">
                <a:solidFill>
                  <a:schemeClr val="bg1"/>
                </a:solidFill>
                <a:latin typeface="+mj-lt"/>
              </a:rPr>
              <a:t>podemos tener una visión de alto nivel de cómo fracasa una empresa con la comprensión que                                aporta para evitarla.</a:t>
            </a:r>
          </a:p>
          <a:p>
            <a:pPr marL="571500" indent="-571500">
              <a:buFont typeface="Arial" panose="020B0604020202020204" pitchFamily="34" charset="0"/>
              <a:buChar char="•"/>
            </a:pPr>
            <a:endParaRPr lang="en-GB" sz="4000" dirty="0"/>
          </a:p>
          <a:p>
            <a:endParaRPr lang="en-GB" sz="2000" dirty="0">
              <a:solidFill>
                <a:schemeClr val="bg1"/>
              </a:solidFill>
            </a:endParaRP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1081143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68897" y="174763"/>
            <a:ext cx="2432246" cy="1686694"/>
          </a:xfrm>
        </p:spPr>
        <p:txBody>
          <a:bodyPr>
            <a:normAutofit/>
          </a:bodyPr>
          <a:lstStyle/>
          <a:p>
            <a:r>
              <a:rPr lang="en-GB" sz="2400" dirty="0"/>
              <a:t>Enfoques de la gestión del conocimiento (co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4240" y="1784158"/>
            <a:ext cx="3753988" cy="542230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700" dirty="0">
                <a:latin typeface="+mj-lt"/>
              </a:rPr>
              <a:t>El enfoque de la práctica suele ser adoptado por las empresas que ofrecen soluciones altamente personalizadas a problemas únicos. El conocimiento valioso para estas empresas es de naturaleza tácita, difícil de expresar, capturar y gestionar. En este caso, el entorno y la naturaleza de los problemas que se plantean son extremadamente dinámicos. En estas empresas, el conocimiento se comparte principalmente a través de contactos personales. </a:t>
            </a:r>
            <a:endParaRPr lang="en-US" sz="1700" dirty="0"/>
          </a:p>
          <a:p>
            <a:pPr algn="l">
              <a:lnSpc>
                <a:spcPct val="100000"/>
              </a:lnSpc>
              <a:spcBef>
                <a:spcPts val="600"/>
              </a:spcBef>
            </a:pPr>
            <a:r>
              <a:rPr lang="en-GB" altLang="de-DE" sz="1700" b="1" dirty="0">
                <a:solidFill>
                  <a:srgbClr val="E53292"/>
                </a:solidFill>
                <a:latin typeface="+mj-lt"/>
                <a:sym typeface="Wingdings" panose="05000000000000000000" pitchFamily="2" charset="2"/>
              </a:rPr>
              <a:t>Enfoque híbrido</a:t>
            </a:r>
            <a:endParaRPr lang="en-GB" altLang="de-DE" sz="1700" b="1" dirty="0">
              <a:solidFill>
                <a:srgbClr val="E53292"/>
              </a:solidFill>
              <a:latin typeface="+mj-lt"/>
            </a:endParaRPr>
          </a:p>
          <a:p>
            <a:pPr marL="452120" indent="-182245" algn="l">
              <a:lnSpc>
                <a:spcPct val="100000"/>
              </a:lnSpc>
              <a:spcBef>
                <a:spcPts val="600"/>
              </a:spcBef>
              <a:buFont typeface="Arial" panose="020B0604020202020204" pitchFamily="34" charset="0"/>
              <a:buChar char="•"/>
            </a:pPr>
            <a:r>
              <a:rPr lang="en-GB" altLang="de-DE" sz="1700" dirty="0">
                <a:latin typeface="+mj-lt"/>
                <a:sym typeface="Wingdings" panose="05000000000000000000" pitchFamily="2" charset="2"/>
              </a:rPr>
              <a:t>Enfoque práctico utilizado inicialmente para almacenar el conocimiento explícito</a:t>
            </a:r>
            <a:endParaRPr lang="en-GB" altLang="de-DE" sz="1700" dirty="0">
              <a:latin typeface="+mj-lt"/>
            </a:endParaRPr>
          </a:p>
          <a:p>
            <a:pPr marL="452120" indent="-182245" algn="l">
              <a:lnSpc>
                <a:spcPct val="100000"/>
              </a:lnSpc>
              <a:spcBef>
                <a:spcPts val="600"/>
              </a:spcBef>
              <a:buFont typeface="Arial" panose="020B0604020202020204" pitchFamily="34" charset="0"/>
              <a:buChar char="•"/>
            </a:pPr>
            <a:r>
              <a:rPr lang="en-GB" altLang="de-DE" sz="1700" dirty="0">
                <a:latin typeface="+mj-lt"/>
                <a:sym typeface="Wingdings" panose="05000000000000000000" pitchFamily="2" charset="2"/>
              </a:rPr>
              <a:t>El conocimiento tácito se almacena principalmente como información de contacto</a:t>
            </a:r>
            <a:endParaRPr lang="en-GB" altLang="de-DE" sz="1700" dirty="0">
              <a:latin typeface="+mj-lt"/>
            </a:endParaRPr>
          </a:p>
          <a:p>
            <a:pPr marL="452120" indent="-182245" algn="l">
              <a:lnSpc>
                <a:spcPct val="100000"/>
              </a:lnSpc>
              <a:spcBef>
                <a:spcPts val="600"/>
              </a:spcBef>
              <a:buFont typeface="Arial" panose="020B0604020202020204" pitchFamily="34" charset="0"/>
              <a:buChar char="•"/>
            </a:pPr>
            <a:r>
              <a:rPr lang="en-GB" altLang="de-DE" sz="1700" dirty="0">
                <a:latin typeface="+mj-lt"/>
                <a:sym typeface="Wingdings" panose="05000000000000000000" pitchFamily="2" charset="2"/>
              </a:rPr>
              <a:t>Captura y gestión de las mejores prácticas</a:t>
            </a:r>
            <a:endParaRPr lang="en-GB" altLang="de-DE" sz="1700" dirty="0">
              <a:latin typeface="+mj-lt"/>
            </a:endParaRPr>
          </a:p>
          <a:p>
            <a:pPr algn="l">
              <a:lnSpc>
                <a:spcPct val="100000"/>
              </a:lnSpc>
              <a:spcBef>
                <a:spcPts val="600"/>
              </a:spcBef>
            </a:pPr>
            <a:endParaRPr lang="en-GB" altLang="de-DE" sz="1600" dirty="0">
              <a:latin typeface="+mj-lt"/>
            </a:endParaRPr>
          </a:p>
        </p:txBody>
      </p:sp>
      <p:sp>
        <p:nvSpPr>
          <p:cNvPr id="37" name="TextBox 87">
            <a:extLst>
              <a:ext uri="{FF2B5EF4-FFF2-40B4-BE49-F238E27FC236}">
                <a16:creationId xmlns:a16="http://schemas.microsoft.com/office/drawing/2014/main" xmlns="" id="{927BC43A-D09D-4B00-990E-A98308F1DECD}"/>
              </a:ext>
            </a:extLst>
          </p:cNvPr>
          <p:cNvSpPr txBox="1"/>
          <p:nvPr/>
        </p:nvSpPr>
        <p:spPr>
          <a:xfrm>
            <a:off x="8691876" y="124516"/>
            <a:ext cx="8266483" cy="400110"/>
          </a:xfrm>
          <a:prstGeom prst="rect">
            <a:avLst/>
          </a:prstGeom>
          <a:noFill/>
        </p:spPr>
        <p:txBody>
          <a:bodyPr wrap="square" lIns="91440" tIns="45720" rIns="91440" bIns="45720" rtlCol="0" anchor="b" anchorCtr="0">
            <a:spAutoFit/>
          </a:bodyPr>
          <a:lstStyle/>
          <a:p>
            <a:r>
              <a:rPr lang="en-GB" sz="1000" dirty="0">
                <a:latin typeface="+mj-lt"/>
                <a:ea typeface="League Spartan" charset="0"/>
                <a:cs typeface="Poppins" pitchFamily="2" charset="77"/>
              </a:rPr>
              <a:t>Fuente: Adoptado de Prentice Hall, Decision Support Systems </a:t>
            </a:r>
            <a:br>
              <a:rPr lang="en-GB" sz="1000" dirty="0">
                <a:latin typeface="+mj-lt"/>
                <a:ea typeface="League Spartan" charset="0"/>
                <a:cs typeface="Poppins" pitchFamily="2" charset="77"/>
              </a:rPr>
            </a:br>
            <a:r>
              <a:rPr lang="en-GB" sz="1000" dirty="0">
                <a:latin typeface="+mj-lt"/>
                <a:ea typeface="League Spartan" charset="0"/>
                <a:cs typeface="Poppins" pitchFamily="2" charset="77"/>
              </a:rPr>
              <a:t>y sistemas inteligentes (</a:t>
            </a:r>
            <a:r>
              <a:rPr lang="en-GB" sz="1000" baseline="30000" dirty="0">
                <a:latin typeface="+mj-lt"/>
                <a:ea typeface="League Spartan" charset="0"/>
                <a:cs typeface="Poppins" pitchFamily="2" charset="77"/>
              </a:rPr>
              <a:t>7ª </a:t>
            </a:r>
            <a:r>
              <a:rPr lang="en-GB" sz="1000" dirty="0">
                <a:latin typeface="+mj-lt"/>
                <a:ea typeface="League Spartan" charset="0"/>
                <a:cs typeface="Poppins" pitchFamily="2" charset="77"/>
              </a:rPr>
              <a:t>edición)</a:t>
            </a:r>
          </a:p>
        </p:txBody>
      </p:sp>
      <p:graphicFrame>
        <p:nvGraphicFramePr>
          <p:cNvPr id="8" name="Tabelle 5">
            <a:extLst>
              <a:ext uri="{FF2B5EF4-FFF2-40B4-BE49-F238E27FC236}">
                <a16:creationId xmlns:a16="http://schemas.microsoft.com/office/drawing/2014/main" xmlns="" id="{17E47455-C130-0E44-9F24-94AC65265A3B}"/>
              </a:ext>
            </a:extLst>
          </p:cNvPr>
          <p:cNvGraphicFramePr>
            <a:graphicFrameLocks noGrp="1"/>
          </p:cNvGraphicFramePr>
          <p:nvPr>
            <p:extLst>
              <p:ext uri="{D42A27DB-BD31-4B8C-83A1-F6EECF244321}">
                <p14:modId xmlns:p14="http://schemas.microsoft.com/office/powerpoint/2010/main" val="19653282"/>
              </p:ext>
            </p:extLst>
          </p:nvPr>
        </p:nvGraphicFramePr>
        <p:xfrm>
          <a:off x="3804192" y="524626"/>
          <a:ext cx="8353568" cy="6156960"/>
        </p:xfrm>
        <a:graphic>
          <a:graphicData uri="http://schemas.openxmlformats.org/drawingml/2006/table">
            <a:tbl>
              <a:tblPr firstRow="1" bandRow="1">
                <a:tableStyleId>{5C22544A-7EE6-4342-B048-85BDC9FD1C3A}</a:tableStyleId>
              </a:tblPr>
              <a:tblGrid>
                <a:gridCol w="1423918">
                  <a:extLst>
                    <a:ext uri="{9D8B030D-6E8A-4147-A177-3AD203B41FA5}">
                      <a16:colId xmlns:a16="http://schemas.microsoft.com/office/drawing/2014/main" xmlns="" val="3300481460"/>
                    </a:ext>
                  </a:extLst>
                </a:gridCol>
                <a:gridCol w="3289597">
                  <a:extLst>
                    <a:ext uri="{9D8B030D-6E8A-4147-A177-3AD203B41FA5}">
                      <a16:colId xmlns:a16="http://schemas.microsoft.com/office/drawing/2014/main" xmlns="" val="800480942"/>
                    </a:ext>
                  </a:extLst>
                </a:gridCol>
                <a:gridCol w="3640053">
                  <a:extLst>
                    <a:ext uri="{9D8B030D-6E8A-4147-A177-3AD203B41FA5}">
                      <a16:colId xmlns:a16="http://schemas.microsoft.com/office/drawing/2014/main" xmlns="" val="1329545445"/>
                    </a:ext>
                  </a:extLst>
                </a:gridCol>
              </a:tblGrid>
              <a:tr h="3003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endParaRPr>
                    </a:p>
                  </a:txBody>
                  <a:tcPr>
                    <a:solidFill>
                      <a:srgbClr val="E5329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mj-lt"/>
                          <a:ea typeface="+mn-ea"/>
                          <a:cs typeface="+mn-cs"/>
                        </a:rPr>
                        <a:t>Enfoque del proceso</a:t>
                      </a:r>
                    </a:p>
                  </a:txBody>
                  <a:tcPr anchor="ctr">
                    <a:solidFill>
                      <a:srgbClr val="E5329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latin typeface="+mj-lt"/>
                        </a:rPr>
                        <a:t>Enfoque práctico</a:t>
                      </a:r>
                      <a:endParaRPr lang="en-GB" sz="1600" dirty="0">
                        <a:latin typeface="+mj-lt"/>
                      </a:endParaRPr>
                    </a:p>
                  </a:txBody>
                  <a:tcPr anchor="ctr">
                    <a:solidFill>
                      <a:srgbClr val="E53292"/>
                    </a:solidFill>
                  </a:tcPr>
                </a:tc>
                <a:extLst>
                  <a:ext uri="{0D108BD9-81ED-4DB2-BD59-A6C34878D82A}">
                    <a16:rowId xmlns:a16="http://schemas.microsoft.com/office/drawing/2014/main" xmlns="" val="1356112106"/>
                  </a:ext>
                </a:extLst>
              </a:tr>
              <a:tr h="763406">
                <a:tc>
                  <a:txBody>
                    <a:bodyPr/>
                    <a:lstStyle/>
                    <a:p>
                      <a:r>
                        <a:rPr lang="en-GB" sz="1600" dirty="0">
                          <a:solidFill>
                            <a:srgbClr val="245473"/>
                          </a:solidFill>
                        </a:rPr>
                        <a:t>Tipo de conocimiento apoyado</a:t>
                      </a:r>
                    </a:p>
                  </a:txBody>
                  <a:tcPr/>
                </a:tc>
                <a:tc>
                  <a:txBody>
                    <a:bodyPr/>
                    <a:lstStyle/>
                    <a:p>
                      <a:r>
                        <a:rPr lang="en-GB" sz="1600" dirty="0">
                          <a:solidFill>
                            <a:srgbClr val="245473"/>
                          </a:solidFill>
                        </a:rPr>
                        <a:t>Conocimiento explícito: codificado en reglas, herramientas y procesos.</a:t>
                      </a:r>
                    </a:p>
                  </a:txBody>
                  <a:tcPr/>
                </a:tc>
                <a:tc>
                  <a:txBody>
                    <a:bodyPr/>
                    <a:lstStyle/>
                    <a:p>
                      <a:r>
                        <a:rPr lang="en-GB" sz="1600" dirty="0">
                          <a:solidFill>
                            <a:srgbClr val="245473"/>
                          </a:solidFill>
                        </a:rPr>
                        <a:t>La mayoría de los conocimientos son tácitos, es decir, no son fáciles de captar o codificar.</a:t>
                      </a:r>
                    </a:p>
                  </a:txBody>
                  <a:tcPr/>
                </a:tc>
                <a:extLst>
                  <a:ext uri="{0D108BD9-81ED-4DB2-BD59-A6C34878D82A}">
                    <a16:rowId xmlns:a16="http://schemas.microsoft.com/office/drawing/2014/main" xmlns="" val="408144070"/>
                  </a:ext>
                </a:extLst>
              </a:tr>
              <a:tr h="1351495">
                <a:tc>
                  <a:txBody>
                    <a:bodyPr/>
                    <a:lstStyle/>
                    <a:p>
                      <a:r>
                        <a:rPr lang="en-GB" sz="1600" dirty="0">
                          <a:solidFill>
                            <a:srgbClr val="245473"/>
                          </a:solidFill>
                        </a:rPr>
                        <a:t>Medios de transmisión</a:t>
                      </a:r>
                    </a:p>
                  </a:txBody>
                  <a:tcPr/>
                </a:tc>
                <a:tc>
                  <a:txBody>
                    <a:bodyPr/>
                    <a:lstStyle/>
                    <a:p>
                      <a:r>
                        <a:rPr lang="en-GB" sz="1600" dirty="0">
                          <a:solidFill>
                            <a:srgbClr val="245473"/>
                          </a:solidFill>
                        </a:rPr>
                        <a:t>Controles formales, procedimientos y procedimientos operativos estándar con gran énfasis en las tecnologías de la información para apoyar la creación, codificación y transferencia de conocimientos.</a:t>
                      </a:r>
                    </a:p>
                  </a:txBody>
                  <a:tcPr/>
                </a:tc>
                <a:tc>
                  <a:txBody>
                    <a:bodyPr/>
                    <a:lstStyle/>
                    <a:p>
                      <a:r>
                        <a:rPr lang="en-GB" sz="1600" dirty="0">
                          <a:solidFill>
                            <a:srgbClr val="245473"/>
                          </a:solidFill>
                        </a:rPr>
                        <a:t>Grupos sociales informales que se dedican a contar historias, grupos de discusión, tweets y el boca a boca.</a:t>
                      </a:r>
                    </a:p>
                  </a:txBody>
                  <a:tcPr/>
                </a:tc>
                <a:extLst>
                  <a:ext uri="{0D108BD9-81ED-4DB2-BD59-A6C34878D82A}">
                    <a16:rowId xmlns:a16="http://schemas.microsoft.com/office/drawing/2014/main" xmlns="" val="1605878932"/>
                  </a:ext>
                </a:extLst>
              </a:tr>
              <a:tr h="931030">
                <a:tc>
                  <a:txBody>
                    <a:bodyPr/>
                    <a:lstStyle/>
                    <a:p>
                      <a:r>
                        <a:rPr lang="en-GB" sz="1600" dirty="0">
                          <a:solidFill>
                            <a:srgbClr val="245473"/>
                          </a:solidFill>
                        </a:rPr>
                        <a:t>Beneficios</a:t>
                      </a:r>
                    </a:p>
                  </a:txBody>
                  <a:tcPr/>
                </a:tc>
                <a:tc>
                  <a:txBody>
                    <a:bodyPr/>
                    <a:lstStyle/>
                    <a:p>
                      <a:r>
                        <a:rPr lang="en-GB" sz="1600" dirty="0">
                          <a:solidFill>
                            <a:srgbClr val="245473"/>
                          </a:solidFill>
                        </a:rPr>
                        <a:t>Proporciona una estructura para aprovechar las ideas y los conocimientos generados. Consigue una escala en la reutilización del conocimiento.</a:t>
                      </a:r>
                    </a:p>
                  </a:txBody>
                  <a:tcPr/>
                </a:tc>
                <a:tc>
                  <a:txBody>
                    <a:bodyPr/>
                    <a:lstStyle/>
                    <a:p>
                      <a:r>
                        <a:rPr lang="en-GB" sz="1600" dirty="0">
                          <a:solidFill>
                            <a:srgbClr val="245473"/>
                          </a:solidFill>
                        </a:rPr>
                        <a:t>Proporciona un entorno para generar y transferir conocimientos tácitos de alto valor. Proporciona la chispa para las ideas frescas y la capacidad de respuesta al entorno cambiante.</a:t>
                      </a:r>
                    </a:p>
                  </a:txBody>
                  <a:tcPr/>
                </a:tc>
                <a:extLst>
                  <a:ext uri="{0D108BD9-81ED-4DB2-BD59-A6C34878D82A}">
                    <a16:rowId xmlns:a16="http://schemas.microsoft.com/office/drawing/2014/main" xmlns="" val="2298483448"/>
                  </a:ext>
                </a:extLst>
              </a:tr>
              <a:tr h="720797">
                <a:tc>
                  <a:txBody>
                    <a:bodyPr/>
                    <a:lstStyle/>
                    <a:p>
                      <a:r>
                        <a:rPr lang="en-GB" sz="1600" noProof="0" dirty="0">
                          <a:solidFill>
                            <a:srgbClr val="245473"/>
                          </a:solidFill>
                        </a:rPr>
                        <a:t>Desventajas</a:t>
                      </a:r>
                    </a:p>
                  </a:txBody>
                  <a:tcPr/>
                </a:tc>
                <a:tc>
                  <a:txBody>
                    <a:bodyPr/>
                    <a:lstStyle/>
                    <a:p>
                      <a:r>
                        <a:rPr lang="en-GB" sz="1600" dirty="0">
                          <a:solidFill>
                            <a:srgbClr val="245473"/>
                          </a:solidFill>
                        </a:rPr>
                        <a:t>No aprovecha el conocimiento tácito. Puede limitar la innovación y obliga a los participantes a seguir patrones de pensamiento fijos.</a:t>
                      </a:r>
                    </a:p>
                  </a:txBody>
                  <a:tcPr/>
                </a:tc>
                <a:tc>
                  <a:txBody>
                    <a:bodyPr/>
                    <a:lstStyle/>
                    <a:p>
                      <a:r>
                        <a:rPr lang="en-GB" sz="1600" dirty="0">
                          <a:solidFill>
                            <a:srgbClr val="245473"/>
                          </a:solidFill>
                        </a:rPr>
                        <a:t>Puede dar lugar a la ineficacia. Abundancia de ideas sin estructura para aplicarlas. Falta de apoyo organizativo.</a:t>
                      </a:r>
                    </a:p>
                  </a:txBody>
                  <a:tcPr/>
                </a:tc>
                <a:extLst>
                  <a:ext uri="{0D108BD9-81ED-4DB2-BD59-A6C34878D82A}">
                    <a16:rowId xmlns:a16="http://schemas.microsoft.com/office/drawing/2014/main" xmlns="" val="2003908756"/>
                  </a:ext>
                </a:extLst>
              </a:tr>
              <a:tr h="931030">
                <a:tc>
                  <a:txBody>
                    <a:bodyPr/>
                    <a:lstStyle/>
                    <a:p>
                      <a:r>
                        <a:rPr lang="en-GB" sz="1600" dirty="0">
                          <a:solidFill>
                            <a:srgbClr val="245473"/>
                          </a:solidFill>
                        </a:rPr>
                        <a:t>El papel de las tecnologías de la información</a:t>
                      </a:r>
                    </a:p>
                  </a:txBody>
                  <a:tcPr/>
                </a:tc>
                <a:tc>
                  <a:txBody>
                    <a:bodyPr/>
                    <a:lstStyle/>
                    <a:p>
                      <a:r>
                        <a:rPr lang="en-GB" sz="1600" dirty="0">
                          <a:solidFill>
                            <a:srgbClr val="245473"/>
                          </a:solidFill>
                        </a:rPr>
                        <a:t>Una fuerte inversión en TI para conectar a las personas con los conocimientos codificados reutilizables.</a:t>
                      </a:r>
                    </a:p>
                  </a:txBody>
                  <a:tcPr/>
                </a:tc>
                <a:tc>
                  <a:txBody>
                    <a:bodyPr/>
                    <a:lstStyle/>
                    <a:p>
                      <a:r>
                        <a:rPr lang="en-GB" sz="1600" dirty="0">
                          <a:solidFill>
                            <a:srgbClr val="245473"/>
                          </a:solidFill>
                        </a:rPr>
                        <a:t>El uso de las herramientas de colaboración existentes, las redes sociales y algunas herramientas gratuitas supone una inversión moderada en TI para facilitar las conversaciones y la transferencia de conocimientos tácitos.</a:t>
                      </a:r>
                    </a:p>
                  </a:txBody>
                  <a:tcPr/>
                </a:tc>
                <a:extLst>
                  <a:ext uri="{0D108BD9-81ED-4DB2-BD59-A6C34878D82A}">
                    <a16:rowId xmlns:a16="http://schemas.microsoft.com/office/drawing/2014/main" xmlns="" val="2633960789"/>
                  </a:ext>
                </a:extLst>
              </a:tr>
            </a:tbl>
          </a:graphicData>
        </a:graphic>
      </p:graphicFrame>
    </p:spTree>
    <p:extLst>
      <p:ext uri="{BB962C8B-B14F-4D97-AF65-F5344CB8AC3E}">
        <p14:creationId xmlns:p14="http://schemas.microsoft.com/office/powerpoint/2010/main" val="112278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88639" y="500697"/>
            <a:ext cx="8852375" cy="697353"/>
          </a:xfrm>
        </p:spPr>
        <p:txBody>
          <a:bodyPr>
            <a:normAutofit/>
          </a:bodyPr>
          <a:lstStyle/>
          <a:p>
            <a:r>
              <a:rPr lang="en-GB" dirty="0"/>
              <a:t>Aprender de la crisis: Conclusione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25872" y="1761491"/>
            <a:ext cx="2719697" cy="388341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i="1" dirty="0">
                <a:latin typeface="+mj-lt"/>
              </a:rPr>
              <a:t>"No hay dos crisis iguales. Siempre aprendes algo nuevo que tienes en tu bolsa de experiencias, porque parte de lo que hace difícil una crisis es no haber hecho esto antes."</a:t>
            </a:r>
            <a:endParaRPr lang="en-US" dirty="0">
              <a:latin typeface="+mj-lt"/>
            </a:endParaRPr>
          </a:p>
          <a:p>
            <a:pPr algn="l">
              <a:lnSpc>
                <a:spcPct val="100000"/>
              </a:lnSpc>
              <a:spcBef>
                <a:spcPts val="600"/>
              </a:spcBef>
            </a:pPr>
            <a:r>
              <a:rPr lang="en-GB" sz="2200" dirty="0">
                <a:latin typeface="+mj-lt"/>
              </a:rPr>
              <a:t>Ejecutivo farmacéutico</a:t>
            </a: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481" y="6234744"/>
            <a:ext cx="5545722" cy="400110"/>
          </a:xfrm>
          <a:prstGeom prst="rect">
            <a:avLst/>
          </a:prstGeom>
          <a:noFill/>
        </p:spPr>
        <p:txBody>
          <a:bodyPr wrap="square" lIns="91440" tIns="45720" rIns="91440" bIns="45720" rtlCol="0" anchor="b" anchorCtr="0">
            <a:spAutoFit/>
          </a:bodyPr>
          <a:lstStyle/>
          <a:p>
            <a:r>
              <a:rPr lang="en-GB" sz="1000" dirty="0">
                <a:latin typeface="+mj-lt"/>
                <a:ea typeface="League Spartan" charset="0"/>
                <a:cs typeface="Poppins" pitchFamily="2" charset="77"/>
              </a:rPr>
              <a:t>Fuente: Adaptado de Brightline Initiative en colaboración con</a:t>
            </a:r>
            <a:br>
              <a:rPr lang="en-GB" sz="1000" dirty="0">
                <a:latin typeface="+mj-lt"/>
                <a:ea typeface="League Spartan" charset="0"/>
                <a:cs typeface="Poppins" pitchFamily="2" charset="77"/>
              </a:rPr>
            </a:br>
            <a:r>
              <a:rPr lang="en-GB" sz="1000" dirty="0">
                <a:latin typeface="+mj-lt"/>
                <a:ea typeface="League Spartan" charset="0"/>
                <a:cs typeface="Poppins" pitchFamily="2" charset="77"/>
              </a:rPr>
              <a:t> con Quartz Insights 2018</a:t>
            </a:r>
          </a:p>
        </p:txBody>
      </p:sp>
      <p:grpSp>
        <p:nvGrpSpPr>
          <p:cNvPr id="6" name="Gruppieren 5">
            <a:extLst>
              <a:ext uri="{FF2B5EF4-FFF2-40B4-BE49-F238E27FC236}">
                <a16:creationId xmlns:a16="http://schemas.microsoft.com/office/drawing/2014/main" xmlns="" id="{D8A59627-4763-4C37-8298-EA27017DE3AD}"/>
              </a:ext>
            </a:extLst>
          </p:cNvPr>
          <p:cNvGrpSpPr/>
          <p:nvPr/>
        </p:nvGrpSpPr>
        <p:grpSpPr>
          <a:xfrm>
            <a:off x="3185680" y="1848678"/>
            <a:ext cx="9067540" cy="4857382"/>
            <a:chOff x="3927061" y="2137264"/>
            <a:chExt cx="8211201" cy="2066503"/>
          </a:xfrm>
        </p:grpSpPr>
        <p:sp>
          <p:nvSpPr>
            <p:cNvPr id="9" name="Freeform 39">
              <a:extLst>
                <a:ext uri="{FF2B5EF4-FFF2-40B4-BE49-F238E27FC236}">
                  <a16:creationId xmlns:a16="http://schemas.microsoft.com/office/drawing/2014/main" xmlns="" id="{8532184E-CDC1-4B1E-81BA-2AB650DCE63D}"/>
                </a:ext>
              </a:extLst>
            </p:cNvPr>
            <p:cNvSpPr>
              <a:spLocks/>
            </p:cNvSpPr>
            <p:nvPr/>
          </p:nvSpPr>
          <p:spPr bwMode="auto">
            <a:xfrm>
              <a:off x="4025491" y="2138388"/>
              <a:ext cx="3861158" cy="1080733"/>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Roboto Bold" charset="0"/>
              </a:endParaRPr>
            </a:p>
          </p:txBody>
        </p:sp>
        <p:sp>
          <p:nvSpPr>
            <p:cNvPr id="10" name="Freeform 13">
              <a:extLst>
                <a:ext uri="{FF2B5EF4-FFF2-40B4-BE49-F238E27FC236}">
                  <a16:creationId xmlns:a16="http://schemas.microsoft.com/office/drawing/2014/main" xmlns="" id="{1BD58E69-7CF7-4308-901D-E96DEFE93E67}"/>
                </a:ext>
              </a:extLst>
            </p:cNvPr>
            <p:cNvSpPr>
              <a:spLocks/>
            </p:cNvSpPr>
            <p:nvPr/>
          </p:nvSpPr>
          <p:spPr bwMode="auto">
            <a:xfrm>
              <a:off x="4350191" y="2142492"/>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Roboto Bold" charset="0"/>
              </a:endParaRPr>
            </a:p>
          </p:txBody>
        </p:sp>
        <p:sp>
          <p:nvSpPr>
            <p:cNvPr id="11" name="Freeform 37">
              <a:extLst>
                <a:ext uri="{FF2B5EF4-FFF2-40B4-BE49-F238E27FC236}">
                  <a16:creationId xmlns:a16="http://schemas.microsoft.com/office/drawing/2014/main" xmlns="" id="{1F2C6919-3A2A-4EAF-9384-F103C568B553}"/>
                </a:ext>
              </a:extLst>
            </p:cNvPr>
            <p:cNvSpPr>
              <a:spLocks/>
            </p:cNvSpPr>
            <p:nvPr/>
          </p:nvSpPr>
          <p:spPr bwMode="auto">
            <a:xfrm>
              <a:off x="7963638" y="2137264"/>
              <a:ext cx="4018394" cy="1080733"/>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Roboto Bold" charset="0"/>
              </a:endParaRPr>
            </a:p>
          </p:txBody>
        </p:sp>
        <p:sp>
          <p:nvSpPr>
            <p:cNvPr id="12" name="Freeform 15">
              <a:extLst>
                <a:ext uri="{FF2B5EF4-FFF2-40B4-BE49-F238E27FC236}">
                  <a16:creationId xmlns:a16="http://schemas.microsoft.com/office/drawing/2014/main" xmlns="" id="{227A8234-E98A-4E09-96F9-7E2F23FC63EE}"/>
                </a:ext>
              </a:extLst>
            </p:cNvPr>
            <p:cNvSpPr>
              <a:spLocks/>
            </p:cNvSpPr>
            <p:nvPr/>
          </p:nvSpPr>
          <p:spPr bwMode="auto">
            <a:xfrm>
              <a:off x="8224031" y="2315759"/>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Roboto Bold" charset="0"/>
              </a:endParaRPr>
            </a:p>
          </p:txBody>
        </p:sp>
        <p:sp>
          <p:nvSpPr>
            <p:cNvPr id="13" name="Freeform 35">
              <a:extLst>
                <a:ext uri="{FF2B5EF4-FFF2-40B4-BE49-F238E27FC236}">
                  <a16:creationId xmlns:a16="http://schemas.microsoft.com/office/drawing/2014/main" xmlns="" id="{91779EFD-A026-42D2-B288-3D59883121FC}"/>
                </a:ext>
              </a:extLst>
            </p:cNvPr>
            <p:cNvSpPr>
              <a:spLocks/>
            </p:cNvSpPr>
            <p:nvPr/>
          </p:nvSpPr>
          <p:spPr bwMode="auto">
            <a:xfrm>
              <a:off x="3927061" y="3249415"/>
              <a:ext cx="395958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Roboto Bold" charset="0"/>
              </a:endParaRPr>
            </a:p>
          </p:txBody>
        </p:sp>
        <p:sp>
          <p:nvSpPr>
            <p:cNvPr id="14" name="Freeform 16">
              <a:extLst>
                <a:ext uri="{FF2B5EF4-FFF2-40B4-BE49-F238E27FC236}">
                  <a16:creationId xmlns:a16="http://schemas.microsoft.com/office/drawing/2014/main" xmlns="" id="{C6151134-8EAD-49FE-BE68-9E6B8344FB67}"/>
                </a:ext>
              </a:extLst>
            </p:cNvPr>
            <p:cNvSpPr>
              <a:spLocks/>
            </p:cNvSpPr>
            <p:nvPr/>
          </p:nvSpPr>
          <p:spPr bwMode="auto">
            <a:xfrm>
              <a:off x="4245128" y="3451290"/>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Roboto Bold" charset="0"/>
              </a:endParaRPr>
            </a:p>
          </p:txBody>
        </p:sp>
        <p:sp>
          <p:nvSpPr>
            <p:cNvPr id="15" name="Freeform 16">
              <a:extLst>
                <a:ext uri="{FF2B5EF4-FFF2-40B4-BE49-F238E27FC236}">
                  <a16:creationId xmlns:a16="http://schemas.microsoft.com/office/drawing/2014/main" xmlns="" id="{B364F45F-F635-4DA8-8928-3C87AD5FAAE3}"/>
                </a:ext>
              </a:extLst>
            </p:cNvPr>
            <p:cNvSpPr>
              <a:spLocks noEditPoints="1"/>
            </p:cNvSpPr>
            <p:nvPr/>
          </p:nvSpPr>
          <p:spPr bwMode="auto">
            <a:xfrm>
              <a:off x="7940474" y="3249415"/>
              <a:ext cx="4143964"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Roboto Bold" charset="0"/>
              </a:endParaRPr>
            </a:p>
          </p:txBody>
        </p:sp>
        <p:sp>
          <p:nvSpPr>
            <p:cNvPr id="17" name="Freeform 5">
              <a:extLst>
                <a:ext uri="{FF2B5EF4-FFF2-40B4-BE49-F238E27FC236}">
                  <a16:creationId xmlns:a16="http://schemas.microsoft.com/office/drawing/2014/main" xmlns="" id="{1BEA20EB-1E66-4EF3-A85A-A97CA0D3B874}"/>
                </a:ext>
              </a:extLst>
            </p:cNvPr>
            <p:cNvSpPr>
              <a:spLocks/>
            </p:cNvSpPr>
            <p:nvPr/>
          </p:nvSpPr>
          <p:spPr bwMode="auto">
            <a:xfrm>
              <a:off x="8532198" y="3249415"/>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Roboto Bold" charset="0"/>
              </a:endParaRPr>
            </a:p>
          </p:txBody>
        </p:sp>
        <p:sp>
          <p:nvSpPr>
            <p:cNvPr id="18" name="TextBox 27">
              <a:extLst>
                <a:ext uri="{FF2B5EF4-FFF2-40B4-BE49-F238E27FC236}">
                  <a16:creationId xmlns:a16="http://schemas.microsoft.com/office/drawing/2014/main" xmlns="" id="{18B1D3D4-D059-4E65-994D-41EB97447D36}"/>
                </a:ext>
              </a:extLst>
            </p:cNvPr>
            <p:cNvSpPr txBox="1"/>
            <p:nvPr/>
          </p:nvSpPr>
          <p:spPr>
            <a:xfrm>
              <a:off x="8827807" y="3368416"/>
              <a:ext cx="3310455" cy="563038"/>
            </a:xfrm>
            <a:prstGeom prst="rect">
              <a:avLst/>
            </a:prstGeom>
            <a:noFill/>
          </p:spPr>
          <p:txBody>
            <a:bodyPr wrap="square" lIns="91440" tIns="45720" rIns="91440" bIns="45720" rtlCol="0" anchor="t">
              <a:spAutoFit/>
            </a:bodyPr>
            <a:lstStyle/>
            <a:p>
              <a:r>
                <a:rPr lang="en-GB" sz="1600" dirty="0">
                  <a:solidFill>
                    <a:schemeClr val="bg1"/>
                  </a:solidFill>
                  <a:latin typeface="+mj-lt"/>
                  <a:ea typeface="Lato Light" charset="0"/>
                  <a:cs typeface="Lato Light" charset="0"/>
                </a:rPr>
                <a:t>Mantenga a los empleados informados. Infórmeles de forma proactiva sobre las nuevas estrategias y la evolución de la empresa, en lugar de esperar a que una crisis o una interrupción le obliguen a hacerlo. </a:t>
              </a:r>
            </a:p>
          </p:txBody>
        </p:sp>
        <p:sp>
          <p:nvSpPr>
            <p:cNvPr id="20" name="TextBox 29">
              <a:extLst>
                <a:ext uri="{FF2B5EF4-FFF2-40B4-BE49-F238E27FC236}">
                  <a16:creationId xmlns:a16="http://schemas.microsoft.com/office/drawing/2014/main" xmlns="" id="{3CCF2C02-B980-4AA2-87D2-1919D7090BA7}"/>
                </a:ext>
              </a:extLst>
            </p:cNvPr>
            <p:cNvSpPr txBox="1"/>
            <p:nvPr/>
          </p:nvSpPr>
          <p:spPr>
            <a:xfrm>
              <a:off x="4756743" y="3296181"/>
              <a:ext cx="3156818" cy="877292"/>
            </a:xfrm>
            <a:prstGeom prst="rect">
              <a:avLst/>
            </a:prstGeom>
            <a:noFill/>
          </p:spPr>
          <p:txBody>
            <a:bodyPr wrap="square" lIns="91440" tIns="45720" rIns="91440" bIns="45720" rtlCol="0" anchor="t">
              <a:spAutoFit/>
            </a:bodyPr>
            <a:lstStyle/>
            <a:p>
              <a:r>
                <a:rPr lang="en-GB" sz="1600" dirty="0">
                  <a:solidFill>
                    <a:schemeClr val="bg1"/>
                  </a:solidFill>
                  <a:latin typeface="+mj-lt"/>
                  <a:ea typeface="Lato Light" charset="0"/>
                  <a:cs typeface="Lato Light" charset="0"/>
                </a:rPr>
                <a:t>Eleve a sus empleados que se muestren capaces y comprometidos en las crisis (o que sospeche que lo harían si no ha experimentado una crisis de primera mano). Inspírelos para que se sientan implicados en sus iniciativas y en la empresa en su conjunto cultivando una mentalidad de trabajo en equipo.</a:t>
              </a:r>
            </a:p>
          </p:txBody>
        </p:sp>
        <p:sp>
          <p:nvSpPr>
            <p:cNvPr id="22" name="TextBox 37">
              <a:extLst>
                <a:ext uri="{FF2B5EF4-FFF2-40B4-BE49-F238E27FC236}">
                  <a16:creationId xmlns:a16="http://schemas.microsoft.com/office/drawing/2014/main" xmlns="" id="{18996AA9-70E7-48A0-B013-239502E2464E}"/>
                </a:ext>
              </a:extLst>
            </p:cNvPr>
            <p:cNvSpPr txBox="1"/>
            <p:nvPr/>
          </p:nvSpPr>
          <p:spPr>
            <a:xfrm>
              <a:off x="8865892" y="2138175"/>
              <a:ext cx="3102947" cy="1119529"/>
            </a:xfrm>
            <a:prstGeom prst="rect">
              <a:avLst/>
            </a:prstGeom>
            <a:noFill/>
          </p:spPr>
          <p:txBody>
            <a:bodyPr wrap="square" lIns="91440" tIns="45720" rIns="91440" bIns="45720" rtlCol="0" anchor="t">
              <a:spAutoFit/>
            </a:bodyPr>
            <a:lstStyle/>
            <a:p>
              <a:r>
                <a:rPr lang="en-GB" sz="1500" dirty="0">
                  <a:solidFill>
                    <a:schemeClr val="bg1"/>
                  </a:solidFill>
                  <a:latin typeface="+mj-lt"/>
                  <a:ea typeface="Lato Light" charset="0"/>
                  <a:cs typeface="Lato Light" charset="0"/>
                </a:rPr>
                <a:t>Encuentre formas de tomar decisiones más rápidamente. Tal vez se trate de distribuir las responsabilidades de toma de decisiones de líderes específicos a empleados más jóvenes que puedan comprender mejor las implicaciones cotidianas de un cambio de estrategia. Diseñe estrategias en las que las capas de aprobaciones y pasos para la ejecución puedan expandirse y contraerse según la tarea que se esté realizando y adopte procesos que se muevan más rápido y con menos obstáculos. </a:t>
              </a:r>
            </a:p>
          </p:txBody>
        </p:sp>
        <p:sp>
          <p:nvSpPr>
            <p:cNvPr id="24" name="TextBox 39">
              <a:extLst>
                <a:ext uri="{FF2B5EF4-FFF2-40B4-BE49-F238E27FC236}">
                  <a16:creationId xmlns:a16="http://schemas.microsoft.com/office/drawing/2014/main" xmlns="" id="{EB352128-58C8-45DE-A169-CFC3EBA3EFED}"/>
                </a:ext>
              </a:extLst>
            </p:cNvPr>
            <p:cNvSpPr txBox="1"/>
            <p:nvPr/>
          </p:nvSpPr>
          <p:spPr>
            <a:xfrm>
              <a:off x="4679608" y="2148724"/>
              <a:ext cx="3311089" cy="1021325"/>
            </a:xfrm>
            <a:prstGeom prst="rect">
              <a:avLst/>
            </a:prstGeom>
            <a:noFill/>
          </p:spPr>
          <p:txBody>
            <a:bodyPr wrap="square" lIns="91440" tIns="45720" rIns="91440" bIns="45720" rtlCol="0" anchor="t">
              <a:spAutoFit/>
            </a:bodyPr>
            <a:lstStyle/>
            <a:p>
              <a:r>
                <a:rPr lang="en-GB" sz="1500" dirty="0">
                  <a:solidFill>
                    <a:schemeClr val="bg1"/>
                  </a:solidFill>
                  <a:latin typeface="+mj-lt"/>
                  <a:ea typeface="Lato Light" charset="0"/>
                  <a:cs typeface="Lato Light" charset="0"/>
                </a:rPr>
                <a:t>No permanezca apegado a prioridades rígidas si está claro que ya no son realmente relevantes para la nueva situación. En el dinámico entorno empresarial actual, ser capaz de priorizar y volver a priorizar las iniciativas estratégicas es una de las capacidades más importantes para hacer frente a los cambios radicales del mercado, la competencia y las preferencias y necesidades de los clientes, y aprovechar los escasos recursos de la organización y las capacidades de entrega.</a:t>
              </a:r>
            </a:p>
          </p:txBody>
        </p:sp>
      </p:grpSp>
    </p:spTree>
    <p:extLst>
      <p:ext uri="{BB962C8B-B14F-4D97-AF65-F5344CB8AC3E}">
        <p14:creationId xmlns:p14="http://schemas.microsoft.com/office/powerpoint/2010/main" val="8720302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222268" y="2483541"/>
            <a:ext cx="9821959" cy="1582271"/>
          </a:xfrm>
        </p:spPr>
        <p:txBody>
          <a:bodyPr/>
          <a:lstStyle/>
          <a:p>
            <a:r>
              <a:rPr lang="en-GB" dirty="0"/>
              <a:t>Aprender de la gestión de tareas en crisis </a:t>
            </a:r>
          </a:p>
        </p:txBody>
      </p:sp>
    </p:spTree>
    <p:extLst>
      <p:ext uri="{BB962C8B-B14F-4D97-AF65-F5344CB8AC3E}">
        <p14:creationId xmlns:p14="http://schemas.microsoft.com/office/powerpoint/2010/main" val="10917128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45182" y="492034"/>
            <a:ext cx="8852375" cy="697353"/>
          </a:xfrm>
        </p:spPr>
        <p:txBody>
          <a:bodyPr>
            <a:normAutofit/>
          </a:bodyPr>
          <a:lstStyle/>
          <a:p>
            <a:r>
              <a:rPr lang="en-GB" dirty="0"/>
              <a:t>Aprender de la gestión de tareas en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48707" y="1853124"/>
            <a:ext cx="3587798" cy="516069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100" dirty="0">
                <a:latin typeface="+mj-lt"/>
                <a:sym typeface="Wingdings" panose="05000000000000000000" pitchFamily="2" charset="2"/>
              </a:rPr>
              <a:t>Evaluar cómo se han gestionado y ejecutado las tareas durante la crisis proporciona una visión profunda sobre cómo y dónde mejorar en la gestión de tareas y proyectos. </a:t>
            </a:r>
            <a:endParaRPr lang="en-GB" sz="2100" dirty="0">
              <a:latin typeface="+mj-lt"/>
            </a:endParaRPr>
          </a:p>
          <a:p>
            <a:pPr algn="l">
              <a:lnSpc>
                <a:spcPct val="100000"/>
              </a:lnSpc>
              <a:spcBef>
                <a:spcPts val="600"/>
              </a:spcBef>
            </a:pPr>
            <a:r>
              <a:rPr lang="en-GB" sz="2100" b="1" dirty="0">
                <a:latin typeface="+mj-lt"/>
                <a:sym typeface="Wingdings" panose="05000000000000000000" pitchFamily="2" charset="2"/>
              </a:rPr>
              <a:t>De hecho, este modelo puede utilizarse en todo momento, pero el reinicio tras una crisis resuelta es </a:t>
            </a:r>
            <a:br>
              <a:rPr lang="en-GB" sz="2100" b="1" dirty="0">
                <a:latin typeface="+mj-lt"/>
                <a:sym typeface="Wingdings" panose="05000000000000000000" pitchFamily="2" charset="2"/>
              </a:rPr>
            </a:br>
            <a:r>
              <a:rPr lang="en-GB" sz="2100" b="1" dirty="0">
                <a:latin typeface="+mj-lt"/>
                <a:sym typeface="Wingdings" panose="05000000000000000000" pitchFamily="2" charset="2"/>
              </a:rPr>
              <a:t>una situación perfecta en la que se debe ejecutar esta evaluación.</a:t>
            </a:r>
            <a:endParaRPr lang="en-GB" sz="2100" b="1" dirty="0">
              <a:latin typeface="+mj-lt"/>
            </a:endParaRPr>
          </a:p>
          <a:p>
            <a:pPr algn="l">
              <a:lnSpc>
                <a:spcPct val="100000"/>
              </a:lnSpc>
              <a:spcBef>
                <a:spcPts val="600"/>
              </a:spcBef>
            </a:pPr>
            <a:r>
              <a:rPr lang="en-GB" sz="2100" b="1" dirty="0">
                <a:latin typeface="+mj-lt"/>
                <a:sym typeface="Wingdings" panose="05000000000000000000" pitchFamily="2" charset="2"/>
              </a:rPr>
              <a:t>Evaluar qué hay que hacer y quién debe hacerlo</a:t>
            </a:r>
            <a:endParaRPr lang="en-GB" sz="2100" b="1" dirty="0">
              <a:latin typeface="+mj-lt"/>
            </a:endParaRPr>
          </a:p>
          <a:p>
            <a:pPr algn="l">
              <a:lnSpc>
                <a:spcPct val="100000"/>
              </a:lnSpc>
              <a:spcBef>
                <a:spcPts val="600"/>
              </a:spcBef>
            </a:pPr>
            <a:endParaRPr lang="en-GB" sz="2100" b="1" dirty="0">
              <a:latin typeface="+mj-lt"/>
            </a:endParaRPr>
          </a:p>
        </p:txBody>
      </p:sp>
      <p:sp>
        <p:nvSpPr>
          <p:cNvPr id="21" name="Freeform 43">
            <a:extLst>
              <a:ext uri="{FF2B5EF4-FFF2-40B4-BE49-F238E27FC236}">
                <a16:creationId xmlns:a16="http://schemas.microsoft.com/office/drawing/2014/main" xmlns="" id="{21D0BA0B-8C87-4F7C-BCA3-56D447E0D656}"/>
              </a:ext>
            </a:extLst>
          </p:cNvPr>
          <p:cNvSpPr>
            <a:spLocks/>
          </p:cNvSpPr>
          <p:nvPr/>
        </p:nvSpPr>
        <p:spPr bwMode="auto">
          <a:xfrm>
            <a:off x="4849038" y="3680125"/>
            <a:ext cx="5696280"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23" name="Freeform 36">
            <a:extLst>
              <a:ext uri="{FF2B5EF4-FFF2-40B4-BE49-F238E27FC236}">
                <a16:creationId xmlns:a16="http://schemas.microsoft.com/office/drawing/2014/main" xmlns="" id="{AC4928CD-7E3D-499A-9EDA-8E9DB892AF69}"/>
              </a:ext>
            </a:extLst>
          </p:cNvPr>
          <p:cNvSpPr>
            <a:spLocks/>
          </p:cNvSpPr>
          <p:nvPr/>
        </p:nvSpPr>
        <p:spPr bwMode="auto">
          <a:xfrm>
            <a:off x="4010589" y="368012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25" name="Freeform 37">
            <a:extLst>
              <a:ext uri="{FF2B5EF4-FFF2-40B4-BE49-F238E27FC236}">
                <a16:creationId xmlns:a16="http://schemas.microsoft.com/office/drawing/2014/main" xmlns="" id="{29F21F25-477F-410B-928A-7AE75A9B3E76}"/>
              </a:ext>
            </a:extLst>
          </p:cNvPr>
          <p:cNvSpPr>
            <a:spLocks/>
          </p:cNvSpPr>
          <p:nvPr/>
        </p:nvSpPr>
        <p:spPr bwMode="auto">
          <a:xfrm>
            <a:off x="4010589" y="368012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26" name="TextBox 47">
            <a:extLst>
              <a:ext uri="{FF2B5EF4-FFF2-40B4-BE49-F238E27FC236}">
                <a16:creationId xmlns:a16="http://schemas.microsoft.com/office/drawing/2014/main" xmlns="" id="{864D11E8-0D7C-4AE8-976D-2BBDFDE33088}"/>
              </a:ext>
            </a:extLst>
          </p:cNvPr>
          <p:cNvSpPr txBox="1"/>
          <p:nvPr/>
        </p:nvSpPr>
        <p:spPr>
          <a:xfrm>
            <a:off x="4080797" y="4059564"/>
            <a:ext cx="1077539" cy="369332"/>
          </a:xfrm>
          <a:prstGeom prst="rect">
            <a:avLst/>
          </a:prstGeom>
          <a:noFill/>
        </p:spPr>
        <p:txBody>
          <a:bodyPr wrap="none" rtlCol="0">
            <a:spAutoFit/>
          </a:bodyPr>
          <a:lstStyle/>
          <a:p>
            <a:pPr algn="ctr"/>
            <a:r>
              <a:rPr lang="en-GB" b="1">
                <a:solidFill>
                  <a:schemeClr val="bg1"/>
                </a:solidFill>
                <a:latin typeface="+mj-lt"/>
                <a:ea typeface="Roboto" charset="0"/>
                <a:cs typeface="Roboto" charset="0"/>
              </a:rPr>
              <a:t>Capacidad</a:t>
            </a:r>
            <a:endParaRPr lang="en-GB" b="1" dirty="0">
              <a:solidFill>
                <a:schemeClr val="bg1"/>
              </a:solidFill>
              <a:latin typeface="+mj-lt"/>
              <a:ea typeface="Roboto" charset="0"/>
              <a:cs typeface="Roboto" charset="0"/>
            </a:endParaRPr>
          </a:p>
        </p:txBody>
      </p:sp>
      <p:sp>
        <p:nvSpPr>
          <p:cNvPr id="28" name="TextBox 49">
            <a:extLst>
              <a:ext uri="{FF2B5EF4-FFF2-40B4-BE49-F238E27FC236}">
                <a16:creationId xmlns:a16="http://schemas.microsoft.com/office/drawing/2014/main" xmlns="" id="{C39E3897-A151-4AFA-9E12-98105E1ED1B8}"/>
              </a:ext>
            </a:extLst>
          </p:cNvPr>
          <p:cNvSpPr txBox="1"/>
          <p:nvPr/>
        </p:nvSpPr>
        <p:spPr>
          <a:xfrm>
            <a:off x="5374508" y="3685000"/>
            <a:ext cx="5282606" cy="1182375"/>
          </a:xfrm>
          <a:prstGeom prst="rect">
            <a:avLst/>
          </a:prstGeom>
          <a:noFill/>
        </p:spPr>
        <p:txBody>
          <a:bodyPr wrap="square" lIns="91440" tIns="45720" rIns="91440" bIns="45720" rtlCol="0" anchor="t">
            <a:spAutoFit/>
          </a:bodyPr>
          <a:lstStyle/>
          <a:p>
            <a:pPr marL="182245" indent="-182245">
              <a:lnSpc>
                <a:spcPts val="1665"/>
              </a:lnSpc>
              <a:buFont typeface="Arial" panose="020B0604020202020204" pitchFamily="34" charset="0"/>
              <a:buChar char="•"/>
            </a:pPr>
            <a:r>
              <a:rPr lang="en-GB" dirty="0">
                <a:solidFill>
                  <a:schemeClr val="bg1"/>
                </a:solidFill>
                <a:latin typeface="+mj-lt"/>
                <a:ea typeface="Lato Light" charset="0"/>
                <a:cs typeface="Lato Light" charset="0"/>
              </a:rPr>
              <a:t>¿Son las personas capaces de realizar la tarea?</a:t>
            </a:r>
          </a:p>
          <a:p>
            <a:pPr marL="182245" indent="-182245">
              <a:lnSpc>
                <a:spcPts val="1665"/>
              </a:lnSpc>
              <a:buFont typeface="Arial" panose="020B0604020202020204" pitchFamily="34" charset="0"/>
              <a:buChar char="•"/>
            </a:pPr>
            <a:r>
              <a:rPr lang="en-GB" dirty="0">
                <a:solidFill>
                  <a:schemeClr val="bg1"/>
                </a:solidFill>
                <a:latin typeface="+mj-lt"/>
                <a:ea typeface="Lato Light" charset="0"/>
                <a:cs typeface="Lato Light" charset="0"/>
              </a:rPr>
              <a:t>¿Tienen los conocimientos técnicos necesarios?</a:t>
            </a:r>
          </a:p>
          <a:p>
            <a:pPr marL="182245" indent="-182245">
              <a:lnSpc>
                <a:spcPts val="1665"/>
              </a:lnSpc>
              <a:buFont typeface="Arial" panose="020B0604020202020204" pitchFamily="34" charset="0"/>
              <a:buChar char="•"/>
            </a:pPr>
            <a:r>
              <a:rPr lang="en-GB" dirty="0">
                <a:solidFill>
                  <a:schemeClr val="bg1"/>
                </a:solidFill>
                <a:latin typeface="+mj-lt"/>
                <a:ea typeface="Lato Light" charset="0"/>
                <a:cs typeface="Lato Light" charset="0"/>
              </a:rPr>
              <a:t>¿Tienen los recursos?</a:t>
            </a:r>
          </a:p>
          <a:p>
            <a:pPr marL="182245" indent="-182245">
              <a:lnSpc>
                <a:spcPts val="1665"/>
              </a:lnSpc>
              <a:buFont typeface="Arial" panose="020B0604020202020204" pitchFamily="34" charset="0"/>
              <a:buChar char="•"/>
            </a:pPr>
            <a:r>
              <a:rPr lang="en-GB" dirty="0">
                <a:solidFill>
                  <a:schemeClr val="bg1"/>
                </a:solidFill>
                <a:latin typeface="+mj-lt"/>
                <a:ea typeface="Lato Light" charset="0"/>
                <a:cs typeface="Lato Light" charset="0"/>
              </a:rPr>
              <a:t>¿Tienen la experiencia necesaria para tomar decisiones?</a:t>
            </a:r>
          </a:p>
          <a:p>
            <a:pPr>
              <a:lnSpc>
                <a:spcPts val="1665"/>
              </a:lnSpc>
            </a:pPr>
            <a:endParaRPr lang="en-GB" sz="1600" dirty="0">
              <a:solidFill>
                <a:schemeClr val="bg1"/>
              </a:solidFill>
              <a:latin typeface="+mj-lt"/>
              <a:ea typeface="Lato Light" charset="0"/>
              <a:cs typeface="Lato Light" charset="0"/>
            </a:endParaRPr>
          </a:p>
        </p:txBody>
      </p:sp>
      <p:sp>
        <p:nvSpPr>
          <p:cNvPr id="29" name="Freeform 43">
            <a:extLst>
              <a:ext uri="{FF2B5EF4-FFF2-40B4-BE49-F238E27FC236}">
                <a16:creationId xmlns:a16="http://schemas.microsoft.com/office/drawing/2014/main" xmlns="" id="{1E514AD9-427F-48FA-852A-18082FD2436A}"/>
              </a:ext>
            </a:extLst>
          </p:cNvPr>
          <p:cNvSpPr>
            <a:spLocks/>
          </p:cNvSpPr>
          <p:nvPr/>
        </p:nvSpPr>
        <p:spPr bwMode="auto">
          <a:xfrm>
            <a:off x="4849038" y="4905855"/>
            <a:ext cx="5696280" cy="112736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30" name="Freeform 36">
            <a:extLst>
              <a:ext uri="{FF2B5EF4-FFF2-40B4-BE49-F238E27FC236}">
                <a16:creationId xmlns:a16="http://schemas.microsoft.com/office/drawing/2014/main" xmlns="" id="{359FA0FA-F543-4F6D-AFFC-AFE088BD9C11}"/>
              </a:ext>
            </a:extLst>
          </p:cNvPr>
          <p:cNvSpPr>
            <a:spLocks/>
          </p:cNvSpPr>
          <p:nvPr/>
        </p:nvSpPr>
        <p:spPr bwMode="auto">
          <a:xfrm>
            <a:off x="4010589" y="4910677"/>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31" name="Freeform 37">
            <a:extLst>
              <a:ext uri="{FF2B5EF4-FFF2-40B4-BE49-F238E27FC236}">
                <a16:creationId xmlns:a16="http://schemas.microsoft.com/office/drawing/2014/main" xmlns="" id="{B57DFCC5-F470-40B6-B63C-94E9D8BF3296}"/>
              </a:ext>
            </a:extLst>
          </p:cNvPr>
          <p:cNvSpPr>
            <a:spLocks/>
          </p:cNvSpPr>
          <p:nvPr/>
        </p:nvSpPr>
        <p:spPr bwMode="auto">
          <a:xfrm>
            <a:off x="4010589" y="4910677"/>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32" name="TextBox 56">
            <a:extLst>
              <a:ext uri="{FF2B5EF4-FFF2-40B4-BE49-F238E27FC236}">
                <a16:creationId xmlns:a16="http://schemas.microsoft.com/office/drawing/2014/main" xmlns="" id="{DCC3B110-0587-4422-BB83-7B11255EEB0B}"/>
              </a:ext>
            </a:extLst>
          </p:cNvPr>
          <p:cNvSpPr txBox="1"/>
          <p:nvPr/>
        </p:nvSpPr>
        <p:spPr>
          <a:xfrm>
            <a:off x="4038414" y="5290116"/>
            <a:ext cx="1162306" cy="369332"/>
          </a:xfrm>
          <a:prstGeom prst="rect">
            <a:avLst/>
          </a:prstGeom>
          <a:noFill/>
        </p:spPr>
        <p:txBody>
          <a:bodyPr wrap="none" rtlCol="0">
            <a:spAutoFit/>
          </a:bodyPr>
          <a:lstStyle/>
          <a:p>
            <a:pPr algn="ctr"/>
            <a:r>
              <a:rPr lang="en-GB" b="1">
                <a:solidFill>
                  <a:schemeClr val="bg1"/>
                </a:solidFill>
                <a:latin typeface="+mj-lt"/>
                <a:ea typeface="Roboto" charset="0"/>
                <a:cs typeface="Roboto" charset="0"/>
              </a:rPr>
              <a:t>Disfrutar</a:t>
            </a:r>
            <a:endParaRPr lang="en-GB" b="1" dirty="0">
              <a:solidFill>
                <a:schemeClr val="bg1"/>
              </a:solidFill>
              <a:latin typeface="+mj-lt"/>
              <a:ea typeface="Roboto" charset="0"/>
              <a:cs typeface="Roboto" charset="0"/>
            </a:endParaRPr>
          </a:p>
        </p:txBody>
      </p:sp>
      <p:sp>
        <p:nvSpPr>
          <p:cNvPr id="34" name="TextBox 80">
            <a:extLst>
              <a:ext uri="{FF2B5EF4-FFF2-40B4-BE49-F238E27FC236}">
                <a16:creationId xmlns:a16="http://schemas.microsoft.com/office/drawing/2014/main" xmlns="" id="{7C66C31D-34CA-4424-84AB-35C3678C620C}"/>
              </a:ext>
            </a:extLst>
          </p:cNvPr>
          <p:cNvSpPr txBox="1"/>
          <p:nvPr/>
        </p:nvSpPr>
        <p:spPr>
          <a:xfrm>
            <a:off x="5651006" y="5304933"/>
            <a:ext cx="4272640" cy="316753"/>
          </a:xfrm>
          <a:prstGeom prst="rect">
            <a:avLst/>
          </a:prstGeom>
          <a:noFill/>
        </p:spPr>
        <p:txBody>
          <a:bodyPr wrap="square" lIns="91440" tIns="45720" rIns="91440" bIns="45720" rtlCol="0" anchor="t">
            <a:spAutoFit/>
          </a:bodyPr>
          <a:lstStyle/>
          <a:p>
            <a:pPr marL="182245" indent="-182245">
              <a:lnSpc>
                <a:spcPts val="1665"/>
              </a:lnSpc>
              <a:buFont typeface="Arial" panose="020B0604020202020204" pitchFamily="34" charset="0"/>
              <a:buChar char="•"/>
            </a:pPr>
            <a:r>
              <a:rPr lang="en-GB" dirty="0">
                <a:solidFill>
                  <a:schemeClr val="bg1"/>
                </a:solidFill>
                <a:latin typeface="+mj-lt"/>
                <a:ea typeface="Lato Light" charset="0"/>
                <a:cs typeface="Lato Light" charset="0"/>
              </a:rPr>
              <a:t>¿Disfruta la persona de la tarea?</a:t>
            </a:r>
          </a:p>
        </p:txBody>
      </p:sp>
      <p:sp>
        <p:nvSpPr>
          <p:cNvPr id="35" name="Freeform 43">
            <a:extLst>
              <a:ext uri="{FF2B5EF4-FFF2-40B4-BE49-F238E27FC236}">
                <a16:creationId xmlns:a16="http://schemas.microsoft.com/office/drawing/2014/main" xmlns="" id="{28088D43-8408-4A4B-AB53-F25A06ACC66F}"/>
              </a:ext>
            </a:extLst>
          </p:cNvPr>
          <p:cNvSpPr>
            <a:spLocks/>
          </p:cNvSpPr>
          <p:nvPr/>
        </p:nvSpPr>
        <p:spPr bwMode="auto">
          <a:xfrm>
            <a:off x="4849038" y="2434801"/>
            <a:ext cx="5696280"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36" name="Freeform 36">
            <a:extLst>
              <a:ext uri="{FF2B5EF4-FFF2-40B4-BE49-F238E27FC236}">
                <a16:creationId xmlns:a16="http://schemas.microsoft.com/office/drawing/2014/main" xmlns="" id="{AE437456-FA03-4CFC-B294-348BFFB8EADD}"/>
              </a:ext>
            </a:extLst>
          </p:cNvPr>
          <p:cNvSpPr>
            <a:spLocks/>
          </p:cNvSpPr>
          <p:nvPr/>
        </p:nvSpPr>
        <p:spPr bwMode="auto">
          <a:xfrm>
            <a:off x="4010589" y="243480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37" name="Freeform 37">
            <a:extLst>
              <a:ext uri="{FF2B5EF4-FFF2-40B4-BE49-F238E27FC236}">
                <a16:creationId xmlns:a16="http://schemas.microsoft.com/office/drawing/2014/main" xmlns="" id="{892B075B-F04B-499B-A981-EE119C5868E5}"/>
              </a:ext>
            </a:extLst>
          </p:cNvPr>
          <p:cNvSpPr>
            <a:spLocks/>
          </p:cNvSpPr>
          <p:nvPr/>
        </p:nvSpPr>
        <p:spPr bwMode="auto">
          <a:xfrm>
            <a:off x="4010589" y="243480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38" name="TextBox 84">
            <a:extLst>
              <a:ext uri="{FF2B5EF4-FFF2-40B4-BE49-F238E27FC236}">
                <a16:creationId xmlns:a16="http://schemas.microsoft.com/office/drawing/2014/main" xmlns="" id="{37F8D27E-0A81-4D1C-ABF8-BD1DF0D81376}"/>
              </a:ext>
            </a:extLst>
          </p:cNvPr>
          <p:cNvSpPr txBox="1"/>
          <p:nvPr/>
        </p:nvSpPr>
        <p:spPr>
          <a:xfrm>
            <a:off x="4000745" y="2814240"/>
            <a:ext cx="1237648" cy="369332"/>
          </a:xfrm>
          <a:prstGeom prst="rect">
            <a:avLst/>
          </a:prstGeom>
          <a:noFill/>
        </p:spPr>
        <p:txBody>
          <a:bodyPr wrap="none" rtlCol="0">
            <a:spAutoFit/>
          </a:bodyPr>
          <a:lstStyle/>
          <a:p>
            <a:pPr algn="ctr"/>
            <a:r>
              <a:rPr lang="en-GB" b="1" dirty="0">
                <a:solidFill>
                  <a:schemeClr val="bg1"/>
                </a:solidFill>
                <a:latin typeface="+mj-lt"/>
                <a:ea typeface="Roboto" charset="0"/>
                <a:cs typeface="Roboto" charset="0"/>
              </a:rPr>
              <a:t>Importancia</a:t>
            </a:r>
          </a:p>
        </p:txBody>
      </p:sp>
      <p:sp>
        <p:nvSpPr>
          <p:cNvPr id="40" name="TextBox 86">
            <a:extLst>
              <a:ext uri="{FF2B5EF4-FFF2-40B4-BE49-F238E27FC236}">
                <a16:creationId xmlns:a16="http://schemas.microsoft.com/office/drawing/2014/main" xmlns="" id="{83929F1A-7C89-4933-A1FB-0E840765071A}"/>
              </a:ext>
            </a:extLst>
          </p:cNvPr>
          <p:cNvSpPr txBox="1"/>
          <p:nvPr/>
        </p:nvSpPr>
        <p:spPr>
          <a:xfrm>
            <a:off x="5374508" y="2470867"/>
            <a:ext cx="5282606" cy="970779"/>
          </a:xfrm>
          <a:prstGeom prst="rect">
            <a:avLst/>
          </a:prstGeom>
          <a:noFill/>
        </p:spPr>
        <p:txBody>
          <a:bodyPr wrap="square" lIns="91440" tIns="45720" rIns="91440" bIns="45720" rtlCol="0" anchor="t">
            <a:spAutoFit/>
          </a:bodyPr>
          <a:lstStyle/>
          <a:p>
            <a:pPr marL="182245" indent="-182245">
              <a:lnSpc>
                <a:spcPts val="1664"/>
              </a:lnSpc>
              <a:buFont typeface="Arial" panose="020B0604020202020204" pitchFamily="34" charset="0"/>
              <a:buChar char="•"/>
            </a:pPr>
            <a:r>
              <a:rPr lang="en-GB" dirty="0">
                <a:solidFill>
                  <a:schemeClr val="bg1"/>
                </a:solidFill>
                <a:latin typeface="+mj-lt"/>
              </a:rPr>
              <a:t>¿Es importante la tarea?</a:t>
            </a:r>
            <a:endParaRPr lang="en-US" dirty="0">
              <a:solidFill>
                <a:schemeClr val="bg1"/>
              </a:solidFill>
              <a:cs typeface="Calibri"/>
            </a:endParaRPr>
          </a:p>
          <a:p>
            <a:pPr marL="182245" indent="-182245">
              <a:lnSpc>
                <a:spcPts val="1664"/>
              </a:lnSpc>
              <a:buFont typeface="Arial" panose="020B0604020202020204" pitchFamily="34" charset="0"/>
              <a:buChar char="•"/>
            </a:pPr>
            <a:r>
              <a:rPr lang="en-GB" dirty="0">
                <a:solidFill>
                  <a:schemeClr val="bg1"/>
                </a:solidFill>
                <a:latin typeface="+mj-lt"/>
              </a:rPr>
              <a:t>¿Se ajusta a la estrategia?</a:t>
            </a:r>
            <a:endParaRPr lang="en-GB" dirty="0">
              <a:solidFill>
                <a:schemeClr val="bg1"/>
              </a:solidFill>
              <a:cs typeface="Calibri"/>
            </a:endParaRPr>
          </a:p>
          <a:p>
            <a:pPr marL="182245" indent="-182245">
              <a:lnSpc>
                <a:spcPts val="1664"/>
              </a:lnSpc>
              <a:buFont typeface="Arial" panose="020B0604020202020204" pitchFamily="34" charset="0"/>
              <a:buChar char="•"/>
            </a:pPr>
            <a:r>
              <a:rPr lang="en-GB" dirty="0">
                <a:solidFill>
                  <a:schemeClr val="bg1"/>
                </a:solidFill>
                <a:latin typeface="+mj-lt"/>
              </a:rPr>
              <a:t>¿Es urgente?</a:t>
            </a:r>
            <a:endParaRPr lang="en-GB" dirty="0">
              <a:solidFill>
                <a:schemeClr val="bg1"/>
              </a:solidFill>
              <a:cs typeface="Calibri"/>
            </a:endParaRPr>
          </a:p>
          <a:p>
            <a:pPr marL="182245" indent="-182245">
              <a:lnSpc>
                <a:spcPts val="1664"/>
              </a:lnSpc>
              <a:buFont typeface="Arial" panose="020B0604020202020204" pitchFamily="34" charset="0"/>
              <a:buChar char="•"/>
            </a:pPr>
            <a:r>
              <a:rPr lang="en-GB" dirty="0">
                <a:solidFill>
                  <a:schemeClr val="bg1"/>
                </a:solidFill>
                <a:latin typeface="+mj-lt"/>
              </a:rPr>
              <a:t>¿Se verá perjudicada la organización si no se hace?</a:t>
            </a:r>
            <a:endParaRPr lang="en-GB" dirty="0">
              <a:solidFill>
                <a:schemeClr val="bg1"/>
              </a:solidFill>
              <a:latin typeface="Calibri Light"/>
              <a:cs typeface="Calibri Light"/>
            </a:endParaRPr>
          </a:p>
        </p:txBody>
      </p:sp>
      <p:sp>
        <p:nvSpPr>
          <p:cNvPr id="41" name="TextBox 84">
            <a:extLst>
              <a:ext uri="{FF2B5EF4-FFF2-40B4-BE49-F238E27FC236}">
                <a16:creationId xmlns:a16="http://schemas.microsoft.com/office/drawing/2014/main" xmlns="" id="{F33D3606-786E-4A92-808B-C79170247A76}"/>
              </a:ext>
            </a:extLst>
          </p:cNvPr>
          <p:cNvSpPr txBox="1"/>
          <p:nvPr/>
        </p:nvSpPr>
        <p:spPr>
          <a:xfrm>
            <a:off x="4010589" y="1962216"/>
            <a:ext cx="5012340" cy="369332"/>
          </a:xfrm>
          <a:prstGeom prst="rect">
            <a:avLst/>
          </a:prstGeom>
          <a:noFill/>
        </p:spPr>
        <p:txBody>
          <a:bodyPr wrap="square" rtlCol="0">
            <a:spAutoFit/>
          </a:bodyPr>
          <a:lstStyle/>
          <a:p>
            <a:r>
              <a:rPr lang="en-GB" b="1">
                <a:solidFill>
                  <a:schemeClr val="tx2"/>
                </a:solidFill>
                <a:latin typeface="+mj-lt"/>
                <a:ea typeface="Roboto" charset="0"/>
                <a:cs typeface="Roboto" charset="0"/>
              </a:rPr>
              <a:t>3 Dimensiones de las tareas:</a:t>
            </a:r>
            <a:endParaRPr lang="en-GB" b="1" dirty="0">
              <a:solidFill>
                <a:schemeClr val="tx2"/>
              </a:solidFill>
              <a:latin typeface="+mj-lt"/>
              <a:ea typeface="Roboto" charset="0"/>
              <a:cs typeface="Roboto" charset="0"/>
            </a:endParaRPr>
          </a:p>
        </p:txBody>
      </p:sp>
      <p:sp>
        <p:nvSpPr>
          <p:cNvPr id="42" name="TextBox 86">
            <a:extLst>
              <a:ext uri="{FF2B5EF4-FFF2-40B4-BE49-F238E27FC236}">
                <a16:creationId xmlns:a16="http://schemas.microsoft.com/office/drawing/2014/main" xmlns="" id="{A231F47E-9EAC-44E4-8116-ED3BBE41ADA4}"/>
              </a:ext>
            </a:extLst>
          </p:cNvPr>
          <p:cNvSpPr txBox="1"/>
          <p:nvPr/>
        </p:nvSpPr>
        <p:spPr>
          <a:xfrm>
            <a:off x="10477314" y="2595127"/>
            <a:ext cx="1530086" cy="752770"/>
          </a:xfrm>
          <a:prstGeom prst="rect">
            <a:avLst/>
          </a:prstGeom>
          <a:noFill/>
        </p:spPr>
        <p:txBody>
          <a:bodyPr wrap="square" lIns="91440" tIns="45720" rIns="91440" bIns="45720" rtlCol="0" anchor="t">
            <a:spAutoFit/>
          </a:bodyPr>
          <a:lstStyle/>
          <a:p>
            <a:pPr algn="ctr">
              <a:lnSpc>
                <a:spcPts val="1665"/>
              </a:lnSpc>
            </a:pPr>
            <a:r>
              <a:rPr lang="en-GB" b="1" dirty="0">
                <a:solidFill>
                  <a:srgbClr val="0070C0"/>
                </a:solidFill>
                <a:latin typeface="+mj-lt"/>
                <a:ea typeface="Lato Light" charset="0"/>
                <a:cs typeface="Lato Light" charset="0"/>
              </a:rPr>
              <a:t>Importante</a:t>
            </a:r>
            <a:r>
              <a:rPr lang="en-GB" dirty="0">
                <a:solidFill>
                  <a:srgbClr val="0070C0"/>
                </a:solidFill>
                <a:latin typeface="+mj-lt"/>
                <a:ea typeface="Lato Light" charset="0"/>
                <a:cs typeface="Lato Light" charset="0"/>
              </a:rPr>
              <a:t/>
            </a:r>
            <a:br>
              <a:rPr lang="en-GB" dirty="0">
                <a:solidFill>
                  <a:srgbClr val="0070C0"/>
                </a:solidFill>
                <a:latin typeface="+mj-lt"/>
                <a:ea typeface="Lato Light" charset="0"/>
                <a:cs typeface="Lato Light" charset="0"/>
              </a:rPr>
            </a:br>
            <a:r>
              <a:rPr lang="en-GB" dirty="0">
                <a:solidFill>
                  <a:srgbClr val="0070C0"/>
                </a:solidFill>
                <a:latin typeface="+mj-lt"/>
                <a:ea typeface="Lato Light" charset="0"/>
                <a:cs typeface="Lato Light" charset="0"/>
              </a:rPr>
              <a:t>vs.</a:t>
            </a:r>
            <a:br>
              <a:rPr lang="en-GB" dirty="0">
                <a:solidFill>
                  <a:srgbClr val="0070C0"/>
                </a:solidFill>
                <a:latin typeface="+mj-lt"/>
                <a:ea typeface="Lato Light" charset="0"/>
                <a:cs typeface="Lato Light" charset="0"/>
              </a:rPr>
            </a:br>
            <a:r>
              <a:rPr lang="en-GB" b="1" dirty="0">
                <a:solidFill>
                  <a:srgbClr val="0070C0"/>
                </a:solidFill>
                <a:latin typeface="+mj-lt"/>
                <a:ea typeface="Lato Light" charset="0"/>
                <a:cs typeface="Lato Light" charset="0"/>
              </a:rPr>
              <a:t>sin importancia</a:t>
            </a:r>
          </a:p>
        </p:txBody>
      </p:sp>
      <p:sp>
        <p:nvSpPr>
          <p:cNvPr id="43" name="TextBox 86">
            <a:extLst>
              <a:ext uri="{FF2B5EF4-FFF2-40B4-BE49-F238E27FC236}">
                <a16:creationId xmlns:a16="http://schemas.microsoft.com/office/drawing/2014/main" xmlns="" id="{0EDF058C-4125-426B-9D8D-06F63EEE0878}"/>
              </a:ext>
            </a:extLst>
          </p:cNvPr>
          <p:cNvSpPr txBox="1"/>
          <p:nvPr/>
        </p:nvSpPr>
        <p:spPr>
          <a:xfrm>
            <a:off x="10336259" y="3854096"/>
            <a:ext cx="1530086" cy="752770"/>
          </a:xfrm>
          <a:prstGeom prst="rect">
            <a:avLst/>
          </a:prstGeom>
          <a:noFill/>
        </p:spPr>
        <p:txBody>
          <a:bodyPr wrap="square" lIns="91440" tIns="45720" rIns="91440" bIns="45720" rtlCol="0" anchor="t">
            <a:spAutoFit/>
          </a:bodyPr>
          <a:lstStyle/>
          <a:p>
            <a:pPr algn="ctr">
              <a:lnSpc>
                <a:spcPts val="1665"/>
              </a:lnSpc>
            </a:pPr>
            <a:r>
              <a:rPr lang="en-GB" b="1" dirty="0">
                <a:solidFill>
                  <a:srgbClr val="F95C2C"/>
                </a:solidFill>
                <a:latin typeface="+mj-lt"/>
                <a:ea typeface="Lato Light" charset="0"/>
                <a:cs typeface="Lato Light" charset="0"/>
              </a:rPr>
              <a:t>Capaz</a:t>
            </a:r>
            <a:r>
              <a:rPr lang="en-GB" dirty="0">
                <a:solidFill>
                  <a:srgbClr val="F95C2C"/>
                </a:solidFill>
                <a:latin typeface="+mj-lt"/>
                <a:ea typeface="Lato Light" charset="0"/>
                <a:cs typeface="Lato Light" charset="0"/>
              </a:rPr>
              <a:t/>
            </a:r>
            <a:br>
              <a:rPr lang="en-GB" dirty="0">
                <a:solidFill>
                  <a:srgbClr val="F95C2C"/>
                </a:solidFill>
                <a:latin typeface="+mj-lt"/>
                <a:ea typeface="Lato Light" charset="0"/>
                <a:cs typeface="Lato Light" charset="0"/>
              </a:rPr>
            </a:br>
            <a:r>
              <a:rPr lang="en-GB" dirty="0">
                <a:solidFill>
                  <a:srgbClr val="F95C2C"/>
                </a:solidFill>
                <a:latin typeface="+mj-lt"/>
                <a:ea typeface="Lato Light" charset="0"/>
                <a:cs typeface="Lato Light" charset="0"/>
              </a:rPr>
              <a:t>vs.</a:t>
            </a:r>
            <a:br>
              <a:rPr lang="en-GB" dirty="0">
                <a:solidFill>
                  <a:srgbClr val="F95C2C"/>
                </a:solidFill>
                <a:latin typeface="+mj-lt"/>
                <a:ea typeface="Lato Light" charset="0"/>
                <a:cs typeface="Lato Light" charset="0"/>
              </a:rPr>
            </a:br>
            <a:r>
              <a:rPr lang="en-GB" b="1" dirty="0">
                <a:solidFill>
                  <a:srgbClr val="F95C2C"/>
                </a:solidFill>
                <a:latin typeface="+mj-lt"/>
                <a:ea typeface="Lato Light" charset="0"/>
                <a:cs typeface="Lato Light" charset="0"/>
              </a:rPr>
              <a:t>Incapaz</a:t>
            </a:r>
          </a:p>
        </p:txBody>
      </p:sp>
      <p:sp>
        <p:nvSpPr>
          <p:cNvPr id="44" name="TextBox 86">
            <a:extLst>
              <a:ext uri="{FF2B5EF4-FFF2-40B4-BE49-F238E27FC236}">
                <a16:creationId xmlns:a16="http://schemas.microsoft.com/office/drawing/2014/main" xmlns="" id="{58522644-D7F1-4D46-99B1-EDFD0CECB420}"/>
              </a:ext>
            </a:extLst>
          </p:cNvPr>
          <p:cNvSpPr txBox="1"/>
          <p:nvPr/>
        </p:nvSpPr>
        <p:spPr>
          <a:xfrm>
            <a:off x="10336259" y="5099536"/>
            <a:ext cx="1530086" cy="752770"/>
          </a:xfrm>
          <a:prstGeom prst="rect">
            <a:avLst/>
          </a:prstGeom>
          <a:noFill/>
        </p:spPr>
        <p:txBody>
          <a:bodyPr wrap="square" lIns="91440" tIns="45720" rIns="91440" bIns="45720" rtlCol="0" anchor="t">
            <a:spAutoFit/>
          </a:bodyPr>
          <a:lstStyle/>
          <a:p>
            <a:pPr algn="ctr">
              <a:lnSpc>
                <a:spcPts val="1665"/>
              </a:lnSpc>
            </a:pPr>
            <a:r>
              <a:rPr lang="en-GB" b="1" dirty="0">
                <a:solidFill>
                  <a:schemeClr val="tx2"/>
                </a:solidFill>
                <a:latin typeface="+mj-lt"/>
                <a:ea typeface="Lato Light" charset="0"/>
                <a:cs typeface="Lato Light" charset="0"/>
              </a:rPr>
              <a:t>Disfrutar de</a:t>
            </a:r>
            <a:r>
              <a:rPr lang="en-GB" dirty="0">
                <a:latin typeface="+mj-lt"/>
                <a:ea typeface="Lato Light" charset="0"/>
                <a:cs typeface="Lato Light" charset="0"/>
              </a:rPr>
              <a:t/>
            </a:r>
            <a:br>
              <a:rPr lang="en-GB" dirty="0">
                <a:latin typeface="+mj-lt"/>
                <a:ea typeface="Lato Light" charset="0"/>
                <a:cs typeface="Lato Light" charset="0"/>
              </a:rPr>
            </a:br>
            <a:r>
              <a:rPr lang="en-GB" dirty="0">
                <a:solidFill>
                  <a:schemeClr val="tx2"/>
                </a:solidFill>
                <a:latin typeface="+mj-lt"/>
                <a:ea typeface="Lato Light" charset="0"/>
                <a:cs typeface="Lato Light" charset="0"/>
              </a:rPr>
              <a:t>vs. </a:t>
            </a:r>
            <a:r>
              <a:rPr lang="en-GB" dirty="0">
                <a:latin typeface="+mj-lt"/>
                <a:ea typeface="Lato Light" charset="0"/>
                <a:cs typeface="Lato Light" charset="0"/>
              </a:rPr>
              <a:t/>
            </a:r>
            <a:br>
              <a:rPr lang="en-GB" dirty="0">
                <a:latin typeface="+mj-lt"/>
                <a:ea typeface="Lato Light" charset="0"/>
                <a:cs typeface="Lato Light" charset="0"/>
              </a:rPr>
            </a:br>
            <a:r>
              <a:rPr lang="en-GB" b="1" dirty="0">
                <a:solidFill>
                  <a:schemeClr val="tx2"/>
                </a:solidFill>
                <a:latin typeface="+mj-lt"/>
                <a:ea typeface="Lato Light" charset="0"/>
                <a:cs typeface="Lato Light" charset="0"/>
              </a:rPr>
              <a:t>Despreciado</a:t>
            </a:r>
          </a:p>
        </p:txBody>
      </p:sp>
    </p:spTree>
    <p:extLst>
      <p:ext uri="{BB962C8B-B14F-4D97-AF65-F5344CB8AC3E}">
        <p14:creationId xmlns:p14="http://schemas.microsoft.com/office/powerpoint/2010/main" val="2500756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3647" y="562363"/>
            <a:ext cx="9267614" cy="878179"/>
          </a:xfrm>
        </p:spPr>
        <p:txBody>
          <a:bodyPr>
            <a:normAutofit fontScale="92500"/>
          </a:bodyPr>
          <a:lstStyle/>
          <a:p>
            <a:r>
              <a:rPr lang="en-GB" dirty="0">
                <a:solidFill>
                  <a:schemeClr val="bg1"/>
                </a:solidFill>
                <a:highlight>
                  <a:srgbClr val="E53292"/>
                </a:highlight>
              </a:rPr>
              <a:t>EJERCICIO </a:t>
            </a:r>
            <a:r>
              <a:rPr lang="en-GB" dirty="0"/>
              <a:t>   Aprender de la gestión de tareas en la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77644" y="2113554"/>
            <a:ext cx="3163393" cy="462208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ct val="100000"/>
              </a:lnSpc>
              <a:spcBef>
                <a:spcPts val="600"/>
              </a:spcBef>
              <a:buAutoNum type="arabicPeriod"/>
            </a:pPr>
            <a:r>
              <a:rPr lang="en-GB" sz="2000" dirty="0">
                <a:solidFill>
                  <a:srgbClr val="245473"/>
                </a:solidFill>
                <a:latin typeface="+mj-lt"/>
                <a:sym typeface="Wingdings" panose="05000000000000000000" pitchFamily="2" charset="2"/>
              </a:rPr>
              <a:t>La primera pregunta que hay que hacerse es</a:t>
            </a:r>
            <a:r>
              <a:rPr lang="en-GB" sz="2000" dirty="0">
                <a:solidFill>
                  <a:srgbClr val="245473"/>
                </a:solidFill>
                <a:latin typeface="+mj-lt"/>
              </a:rPr>
              <a:t/>
            </a:r>
            <a:br>
              <a:rPr lang="en-GB" sz="2000" dirty="0">
                <a:solidFill>
                  <a:srgbClr val="245473"/>
                </a:solidFill>
                <a:latin typeface="+mj-lt"/>
              </a:rPr>
            </a:br>
            <a:r>
              <a:rPr lang="en-GB" sz="2000" dirty="0">
                <a:solidFill>
                  <a:srgbClr val="245473"/>
                </a:solidFill>
                <a:latin typeface="+mj-lt"/>
              </a:rPr>
              <a:t/>
            </a:r>
            <a:br>
              <a:rPr lang="en-GB" sz="2000" dirty="0">
                <a:solidFill>
                  <a:srgbClr val="245473"/>
                </a:solidFill>
                <a:latin typeface="+mj-lt"/>
              </a:rPr>
            </a:br>
            <a:r>
              <a:rPr lang="en-GB" sz="2000" b="1" dirty="0">
                <a:solidFill>
                  <a:srgbClr val="245473"/>
                </a:solidFill>
                <a:latin typeface="+mj-lt"/>
                <a:sym typeface="Wingdings" panose="05000000000000000000" pitchFamily="2" charset="2"/>
              </a:rPr>
              <a:t>¿Es importante la tarea?</a:t>
            </a:r>
            <a:r>
              <a:rPr lang="en-GB" sz="2000" dirty="0">
                <a:solidFill>
                  <a:srgbClr val="245473"/>
                </a:solidFill>
                <a:latin typeface="+mj-lt"/>
                <a:sym typeface="Wingdings" panose="05000000000000000000" pitchFamily="2" charset="2"/>
              </a:rPr>
              <a:t> Si no es importante, va al agujero negro y no le dedicamos más tiempo.</a:t>
            </a:r>
            <a:endParaRPr lang="en-GB" sz="2000" dirty="0">
              <a:solidFill>
                <a:srgbClr val="245473"/>
              </a:solidFill>
              <a:latin typeface="+mj-lt"/>
            </a:endParaRPr>
          </a:p>
          <a:p>
            <a:pPr marL="342900" indent="-342900" algn="l">
              <a:lnSpc>
                <a:spcPct val="100000"/>
              </a:lnSpc>
              <a:spcBef>
                <a:spcPts val="600"/>
              </a:spcBef>
              <a:buAutoNum type="arabicPeriod"/>
            </a:pPr>
            <a:r>
              <a:rPr lang="en-GB" sz="2000" dirty="0">
                <a:solidFill>
                  <a:srgbClr val="245473"/>
                </a:solidFill>
                <a:latin typeface="+mj-lt"/>
                <a:sym typeface="Wingdings" panose="05000000000000000000" pitchFamily="2" charset="2"/>
              </a:rPr>
              <a:t>Segunda pregunta:</a:t>
            </a:r>
            <a:r>
              <a:rPr lang="en-GB" sz="2000" dirty="0">
                <a:solidFill>
                  <a:srgbClr val="245473"/>
                </a:solidFill>
                <a:latin typeface="+mj-lt"/>
              </a:rPr>
              <a:t/>
            </a:r>
            <a:br>
              <a:rPr lang="en-GB" sz="2000" dirty="0">
                <a:solidFill>
                  <a:srgbClr val="245473"/>
                </a:solidFill>
                <a:latin typeface="+mj-lt"/>
              </a:rPr>
            </a:br>
            <a:r>
              <a:rPr lang="en-GB" sz="2000" b="1" dirty="0">
                <a:solidFill>
                  <a:srgbClr val="245473"/>
                </a:solidFill>
                <a:latin typeface="+mj-lt"/>
                <a:sym typeface="Wingdings" panose="05000000000000000000" pitchFamily="2" charset="2"/>
              </a:rPr>
              <a:t>¿Es capaz la persona?</a:t>
            </a:r>
            <a:r>
              <a:rPr lang="en-GB" sz="2000" dirty="0">
                <a:solidFill>
                  <a:srgbClr val="245473"/>
                </a:solidFill>
                <a:latin typeface="+mj-lt"/>
              </a:rPr>
              <a:t/>
            </a:r>
            <a:br>
              <a:rPr lang="en-GB" sz="2000" dirty="0">
                <a:solidFill>
                  <a:srgbClr val="245473"/>
                </a:solidFill>
                <a:latin typeface="+mj-lt"/>
              </a:rPr>
            </a:br>
            <a:endParaRPr lang="en-GB" sz="2000" dirty="0">
              <a:solidFill>
                <a:srgbClr val="245473"/>
              </a:solidFill>
              <a:latin typeface="+mj-lt"/>
            </a:endParaRPr>
          </a:p>
          <a:p>
            <a:pPr marL="342900" indent="-342900" algn="l">
              <a:lnSpc>
                <a:spcPct val="100000"/>
              </a:lnSpc>
              <a:spcBef>
                <a:spcPts val="600"/>
              </a:spcBef>
              <a:buAutoNum type="arabicPeriod"/>
            </a:pPr>
            <a:r>
              <a:rPr lang="en-GB" sz="2000" dirty="0">
                <a:solidFill>
                  <a:srgbClr val="245473"/>
                </a:solidFill>
                <a:latin typeface="+mj-lt"/>
                <a:sym typeface="Wingdings" panose="05000000000000000000" pitchFamily="2" charset="2"/>
              </a:rPr>
              <a:t>Tercera pregunta:</a:t>
            </a:r>
            <a:r>
              <a:rPr lang="en-GB" sz="2000" dirty="0">
                <a:solidFill>
                  <a:srgbClr val="245473"/>
                </a:solidFill>
                <a:latin typeface="+mj-lt"/>
              </a:rPr>
              <a:t/>
            </a:r>
            <a:br>
              <a:rPr lang="en-GB" sz="2000" dirty="0">
                <a:solidFill>
                  <a:srgbClr val="245473"/>
                </a:solidFill>
                <a:latin typeface="+mj-lt"/>
              </a:rPr>
            </a:br>
            <a:r>
              <a:rPr lang="en-GB" sz="2000" b="1" dirty="0">
                <a:solidFill>
                  <a:srgbClr val="245473"/>
                </a:solidFill>
                <a:latin typeface="+mj-lt"/>
                <a:sym typeface="Wingdings" panose="05000000000000000000" pitchFamily="2" charset="2"/>
              </a:rPr>
              <a:t>¿Disfruta la persona?</a:t>
            </a:r>
            <a:endParaRPr lang="en-GB" sz="2000" dirty="0">
              <a:solidFill>
                <a:srgbClr val="245473"/>
              </a:solidFill>
              <a:latin typeface="+mj-lt"/>
            </a:endParaRPr>
          </a:p>
          <a:p>
            <a:pPr algn="l">
              <a:lnSpc>
                <a:spcPct val="100000"/>
              </a:lnSpc>
              <a:spcBef>
                <a:spcPts val="600"/>
              </a:spcBef>
            </a:pPr>
            <a:endParaRPr lang="en-GB" sz="2000" b="1" dirty="0">
              <a:latin typeface="+mj-lt"/>
            </a:endParaRPr>
          </a:p>
        </p:txBody>
      </p:sp>
      <p:sp>
        <p:nvSpPr>
          <p:cNvPr id="27" name="Freeform 2">
            <a:extLst>
              <a:ext uri="{FF2B5EF4-FFF2-40B4-BE49-F238E27FC236}">
                <a16:creationId xmlns:a16="http://schemas.microsoft.com/office/drawing/2014/main" xmlns="" id="{EFC87C88-6FD0-4295-A66F-8CC5F0BA46AE}"/>
              </a:ext>
            </a:extLst>
          </p:cNvPr>
          <p:cNvSpPr>
            <a:spLocks noChangeArrowheads="1"/>
          </p:cNvSpPr>
          <p:nvPr/>
        </p:nvSpPr>
        <p:spPr bwMode="auto">
          <a:xfrm>
            <a:off x="7232912" y="2419528"/>
            <a:ext cx="3518349" cy="1404428"/>
          </a:xfrm>
          <a:custGeom>
            <a:avLst/>
            <a:gdLst>
              <a:gd name="T0" fmla="*/ 8574 w 8575"/>
              <a:gd name="T1" fmla="*/ 841 h 4444"/>
              <a:gd name="T2" fmla="*/ 7732 w 8575"/>
              <a:gd name="T3" fmla="*/ 0 h 4444"/>
              <a:gd name="T4" fmla="*/ 0 w 8575"/>
              <a:gd name="T5" fmla="*/ 1808 h 4444"/>
              <a:gd name="T6" fmla="*/ 52 w 8575"/>
              <a:gd name="T7" fmla="*/ 1797 h 4444"/>
              <a:gd name="T8" fmla="*/ 304 w 8575"/>
              <a:gd name="T9" fmla="*/ 1724 h 4444"/>
              <a:gd name="T10" fmla="*/ 318 w 8575"/>
              <a:gd name="T11" fmla="*/ 1724 h 4444"/>
              <a:gd name="T12" fmla="*/ 428 w 8575"/>
              <a:gd name="T13" fmla="*/ 1755 h 4444"/>
              <a:gd name="T14" fmla="*/ 429 w 8575"/>
              <a:gd name="T15" fmla="*/ 1756 h 4444"/>
              <a:gd name="T16" fmla="*/ 436 w 8575"/>
              <a:gd name="T17" fmla="*/ 1761 h 4444"/>
              <a:gd name="T18" fmla="*/ 440 w 8575"/>
              <a:gd name="T19" fmla="*/ 1762 h 4444"/>
              <a:gd name="T20" fmla="*/ 445 w 8575"/>
              <a:gd name="T21" fmla="*/ 1766 h 4444"/>
              <a:gd name="T22" fmla="*/ 451 w 8575"/>
              <a:gd name="T23" fmla="*/ 1770 h 4444"/>
              <a:gd name="T24" fmla="*/ 453 w 8575"/>
              <a:gd name="T25" fmla="*/ 1772 h 4444"/>
              <a:gd name="T26" fmla="*/ 488 w 8575"/>
              <a:gd name="T27" fmla="*/ 1807 h 4444"/>
              <a:gd name="T28" fmla="*/ 552 w 8575"/>
              <a:gd name="T29" fmla="*/ 2014 h 4444"/>
              <a:gd name="T30" fmla="*/ 477 w 8575"/>
              <a:gd name="T31" fmla="*/ 2235 h 4444"/>
              <a:gd name="T32" fmla="*/ 383 w 8575"/>
              <a:gd name="T33" fmla="*/ 2293 h 4444"/>
              <a:gd name="T34" fmla="*/ 304 w 8575"/>
              <a:gd name="T35" fmla="*/ 2305 h 4444"/>
              <a:gd name="T36" fmla="*/ 52 w 8575"/>
              <a:gd name="T37" fmla="*/ 2228 h 4444"/>
              <a:gd name="T38" fmla="*/ 0 w 8575"/>
              <a:gd name="T39" fmla="*/ 2216 h 4444"/>
              <a:gd name="T40" fmla="*/ 3884 w 8575"/>
              <a:gd name="T41" fmla="*/ 3883 h 4444"/>
              <a:gd name="T42" fmla="*/ 3872 w 8575"/>
              <a:gd name="T43" fmla="*/ 3943 h 4444"/>
              <a:gd name="T44" fmla="*/ 3794 w 8575"/>
              <a:gd name="T45" fmla="*/ 4195 h 4444"/>
              <a:gd name="T46" fmla="*/ 3806 w 8575"/>
              <a:gd name="T47" fmla="*/ 4274 h 4444"/>
              <a:gd name="T48" fmla="*/ 3864 w 8575"/>
              <a:gd name="T49" fmla="*/ 4367 h 4444"/>
              <a:gd name="T50" fmla="*/ 4085 w 8575"/>
              <a:gd name="T51" fmla="*/ 4443 h 4444"/>
              <a:gd name="T52" fmla="*/ 4292 w 8575"/>
              <a:gd name="T53" fmla="*/ 4378 h 4444"/>
              <a:gd name="T54" fmla="*/ 4327 w 8575"/>
              <a:gd name="T55" fmla="*/ 4343 h 4444"/>
              <a:gd name="T56" fmla="*/ 4329 w 8575"/>
              <a:gd name="T57" fmla="*/ 4341 h 4444"/>
              <a:gd name="T58" fmla="*/ 4333 w 8575"/>
              <a:gd name="T59" fmla="*/ 4335 h 4444"/>
              <a:gd name="T60" fmla="*/ 4337 w 8575"/>
              <a:gd name="T61" fmla="*/ 4330 h 4444"/>
              <a:gd name="T62" fmla="*/ 4339 w 8575"/>
              <a:gd name="T63" fmla="*/ 4327 h 4444"/>
              <a:gd name="T64" fmla="*/ 4344 w 8575"/>
              <a:gd name="T65" fmla="*/ 4319 h 4444"/>
              <a:gd name="T66" fmla="*/ 4344 w 8575"/>
              <a:gd name="T67" fmla="*/ 4318 h 4444"/>
              <a:gd name="T68" fmla="*/ 4375 w 8575"/>
              <a:gd name="T69" fmla="*/ 4209 h 4444"/>
              <a:gd name="T70" fmla="*/ 4375 w 8575"/>
              <a:gd name="T71" fmla="*/ 4195 h 4444"/>
              <a:gd name="T72" fmla="*/ 4303 w 8575"/>
              <a:gd name="T73" fmla="*/ 3942 h 4444"/>
              <a:gd name="T74" fmla="*/ 4291 w 8575"/>
              <a:gd name="T75" fmla="*/ 3883 h 4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75" h="4444">
                <a:moveTo>
                  <a:pt x="8574" y="3883"/>
                </a:moveTo>
                <a:lnTo>
                  <a:pt x="8574" y="841"/>
                </a:lnTo>
                <a:lnTo>
                  <a:pt x="8574" y="841"/>
                </a:lnTo>
                <a:cubicBezTo>
                  <a:pt x="8574" y="377"/>
                  <a:pt x="8197" y="0"/>
                  <a:pt x="7732" y="0"/>
                </a:cubicBezTo>
                <a:lnTo>
                  <a:pt x="0" y="0"/>
                </a:lnTo>
                <a:lnTo>
                  <a:pt x="0" y="1808"/>
                </a:lnTo>
                <a:lnTo>
                  <a:pt x="0" y="1808"/>
                </a:lnTo>
                <a:cubicBezTo>
                  <a:pt x="17" y="1808"/>
                  <a:pt x="35" y="1804"/>
                  <a:pt x="52" y="1797"/>
                </a:cubicBezTo>
                <a:lnTo>
                  <a:pt x="52" y="1797"/>
                </a:lnTo>
                <a:cubicBezTo>
                  <a:pt x="145" y="1751"/>
                  <a:pt x="239" y="1724"/>
                  <a:pt x="304" y="1724"/>
                </a:cubicBezTo>
                <a:lnTo>
                  <a:pt x="304" y="1724"/>
                </a:lnTo>
                <a:cubicBezTo>
                  <a:pt x="309" y="1724"/>
                  <a:pt x="314" y="1724"/>
                  <a:pt x="318" y="1724"/>
                </a:cubicBezTo>
                <a:lnTo>
                  <a:pt x="318" y="1724"/>
                </a:lnTo>
                <a:cubicBezTo>
                  <a:pt x="359" y="1726"/>
                  <a:pt x="397" y="1737"/>
                  <a:pt x="428" y="1755"/>
                </a:cubicBezTo>
                <a:lnTo>
                  <a:pt x="428" y="1755"/>
                </a:lnTo>
                <a:cubicBezTo>
                  <a:pt x="429" y="1756"/>
                  <a:pt x="429" y="1756"/>
                  <a:pt x="429" y="1756"/>
                </a:cubicBezTo>
                <a:lnTo>
                  <a:pt x="429" y="1756"/>
                </a:lnTo>
                <a:cubicBezTo>
                  <a:pt x="431" y="1757"/>
                  <a:pt x="434" y="1759"/>
                  <a:pt x="436" y="1761"/>
                </a:cubicBezTo>
                <a:lnTo>
                  <a:pt x="436" y="1761"/>
                </a:lnTo>
                <a:cubicBezTo>
                  <a:pt x="437" y="1761"/>
                  <a:pt x="439" y="1762"/>
                  <a:pt x="440" y="1762"/>
                </a:cubicBezTo>
                <a:lnTo>
                  <a:pt x="440" y="1762"/>
                </a:lnTo>
                <a:cubicBezTo>
                  <a:pt x="441" y="1763"/>
                  <a:pt x="443" y="1765"/>
                  <a:pt x="445" y="1766"/>
                </a:cubicBezTo>
                <a:lnTo>
                  <a:pt x="445" y="1766"/>
                </a:lnTo>
                <a:cubicBezTo>
                  <a:pt x="447" y="1767"/>
                  <a:pt x="448" y="1769"/>
                  <a:pt x="451" y="1770"/>
                </a:cubicBezTo>
                <a:lnTo>
                  <a:pt x="451" y="1770"/>
                </a:lnTo>
                <a:cubicBezTo>
                  <a:pt x="452" y="1771"/>
                  <a:pt x="452" y="1772"/>
                  <a:pt x="453" y="1772"/>
                </a:cubicBezTo>
                <a:lnTo>
                  <a:pt x="453" y="1772"/>
                </a:lnTo>
                <a:cubicBezTo>
                  <a:pt x="466" y="1783"/>
                  <a:pt x="477" y="1794"/>
                  <a:pt x="488" y="1807"/>
                </a:cubicBezTo>
                <a:lnTo>
                  <a:pt x="488" y="1807"/>
                </a:lnTo>
                <a:cubicBezTo>
                  <a:pt x="529" y="1858"/>
                  <a:pt x="552" y="1932"/>
                  <a:pt x="552" y="2014"/>
                </a:cubicBezTo>
                <a:lnTo>
                  <a:pt x="552" y="2014"/>
                </a:lnTo>
                <a:cubicBezTo>
                  <a:pt x="552" y="2108"/>
                  <a:pt x="525" y="2184"/>
                  <a:pt x="477" y="2235"/>
                </a:cubicBezTo>
                <a:lnTo>
                  <a:pt x="477" y="2235"/>
                </a:lnTo>
                <a:cubicBezTo>
                  <a:pt x="451" y="2262"/>
                  <a:pt x="419" y="2281"/>
                  <a:pt x="383" y="2293"/>
                </a:cubicBezTo>
                <a:lnTo>
                  <a:pt x="383" y="2293"/>
                </a:lnTo>
                <a:cubicBezTo>
                  <a:pt x="359" y="2301"/>
                  <a:pt x="332" y="2305"/>
                  <a:pt x="304" y="2305"/>
                </a:cubicBezTo>
                <a:lnTo>
                  <a:pt x="304" y="2305"/>
                </a:lnTo>
                <a:cubicBezTo>
                  <a:pt x="241" y="2305"/>
                  <a:pt x="147" y="2276"/>
                  <a:pt x="52" y="2228"/>
                </a:cubicBezTo>
                <a:lnTo>
                  <a:pt x="52" y="2228"/>
                </a:lnTo>
                <a:cubicBezTo>
                  <a:pt x="36" y="2219"/>
                  <a:pt x="17" y="2216"/>
                  <a:pt x="0" y="2216"/>
                </a:cubicBezTo>
                <a:lnTo>
                  <a:pt x="0" y="3883"/>
                </a:lnTo>
                <a:lnTo>
                  <a:pt x="3884" y="3883"/>
                </a:lnTo>
                <a:lnTo>
                  <a:pt x="3884" y="3883"/>
                </a:lnTo>
                <a:cubicBezTo>
                  <a:pt x="3885" y="3904"/>
                  <a:pt x="3881" y="3924"/>
                  <a:pt x="3872" y="3943"/>
                </a:cubicBezTo>
                <a:lnTo>
                  <a:pt x="3872" y="3943"/>
                </a:lnTo>
                <a:cubicBezTo>
                  <a:pt x="3823" y="4037"/>
                  <a:pt x="3794" y="4131"/>
                  <a:pt x="3794" y="4195"/>
                </a:cubicBezTo>
                <a:lnTo>
                  <a:pt x="3794" y="4195"/>
                </a:lnTo>
                <a:cubicBezTo>
                  <a:pt x="3794" y="4223"/>
                  <a:pt x="3799" y="4249"/>
                  <a:pt x="3806" y="4274"/>
                </a:cubicBezTo>
                <a:lnTo>
                  <a:pt x="3806" y="4274"/>
                </a:lnTo>
                <a:cubicBezTo>
                  <a:pt x="3818" y="4310"/>
                  <a:pt x="3837" y="4341"/>
                  <a:pt x="3864" y="4367"/>
                </a:cubicBezTo>
                <a:lnTo>
                  <a:pt x="3864" y="4367"/>
                </a:lnTo>
                <a:cubicBezTo>
                  <a:pt x="3915" y="4416"/>
                  <a:pt x="3991" y="4443"/>
                  <a:pt x="4085" y="4443"/>
                </a:cubicBezTo>
                <a:lnTo>
                  <a:pt x="4085" y="4443"/>
                </a:lnTo>
                <a:cubicBezTo>
                  <a:pt x="4168" y="4443"/>
                  <a:pt x="4241" y="4420"/>
                  <a:pt x="4292" y="4378"/>
                </a:cubicBezTo>
                <a:lnTo>
                  <a:pt x="4292" y="4378"/>
                </a:lnTo>
                <a:cubicBezTo>
                  <a:pt x="4306" y="4368"/>
                  <a:pt x="4317" y="4356"/>
                  <a:pt x="4327" y="4343"/>
                </a:cubicBezTo>
                <a:lnTo>
                  <a:pt x="4327" y="4343"/>
                </a:lnTo>
                <a:cubicBezTo>
                  <a:pt x="4328" y="4343"/>
                  <a:pt x="4328" y="4342"/>
                  <a:pt x="4329" y="4341"/>
                </a:cubicBezTo>
                <a:lnTo>
                  <a:pt x="4329" y="4341"/>
                </a:lnTo>
                <a:cubicBezTo>
                  <a:pt x="4330" y="4339"/>
                  <a:pt x="4332" y="4337"/>
                  <a:pt x="4333" y="4335"/>
                </a:cubicBezTo>
                <a:lnTo>
                  <a:pt x="4333" y="4335"/>
                </a:lnTo>
                <a:cubicBezTo>
                  <a:pt x="4334" y="4334"/>
                  <a:pt x="4336" y="4332"/>
                  <a:pt x="4337" y="4330"/>
                </a:cubicBezTo>
                <a:lnTo>
                  <a:pt x="4337" y="4330"/>
                </a:lnTo>
                <a:cubicBezTo>
                  <a:pt x="4338" y="4329"/>
                  <a:pt x="4338" y="4328"/>
                  <a:pt x="4339" y="4327"/>
                </a:cubicBezTo>
                <a:lnTo>
                  <a:pt x="4339" y="4327"/>
                </a:lnTo>
                <a:cubicBezTo>
                  <a:pt x="4341" y="4324"/>
                  <a:pt x="4342" y="4322"/>
                  <a:pt x="4344" y="4319"/>
                </a:cubicBezTo>
                <a:lnTo>
                  <a:pt x="4344" y="4319"/>
                </a:lnTo>
                <a:cubicBezTo>
                  <a:pt x="4344" y="4319"/>
                  <a:pt x="4344" y="4319"/>
                  <a:pt x="4344" y="4318"/>
                </a:cubicBezTo>
                <a:lnTo>
                  <a:pt x="4344" y="4318"/>
                </a:lnTo>
                <a:cubicBezTo>
                  <a:pt x="4363" y="4286"/>
                  <a:pt x="4374" y="4250"/>
                  <a:pt x="4375" y="4209"/>
                </a:cubicBezTo>
                <a:lnTo>
                  <a:pt x="4375" y="4209"/>
                </a:lnTo>
                <a:cubicBezTo>
                  <a:pt x="4375" y="4204"/>
                  <a:pt x="4375" y="4199"/>
                  <a:pt x="4375" y="4195"/>
                </a:cubicBezTo>
                <a:lnTo>
                  <a:pt x="4375" y="4195"/>
                </a:lnTo>
                <a:cubicBezTo>
                  <a:pt x="4375" y="4129"/>
                  <a:pt x="4349" y="4035"/>
                  <a:pt x="4303" y="3942"/>
                </a:cubicBezTo>
                <a:lnTo>
                  <a:pt x="4303" y="3942"/>
                </a:lnTo>
                <a:cubicBezTo>
                  <a:pt x="4294" y="3923"/>
                  <a:pt x="4290" y="3903"/>
                  <a:pt x="4291" y="3883"/>
                </a:cubicBezTo>
                <a:lnTo>
                  <a:pt x="8574" y="3883"/>
                </a:lnTo>
              </a:path>
            </a:pathLst>
          </a:custGeom>
          <a:solidFill>
            <a:schemeClr val="accent4">
              <a:lumMod val="75000"/>
            </a:schemeClr>
          </a:solidFill>
          <a:ln>
            <a:noFill/>
          </a:ln>
          <a:effectLst/>
        </p:spPr>
        <p:txBody>
          <a:bodyPr wrap="none" anchor="ctr"/>
          <a:lstStyle/>
          <a:p>
            <a:endParaRPr lang="en-GB" sz="1600" dirty="0">
              <a:latin typeface="+mj-lt"/>
            </a:endParaRPr>
          </a:p>
        </p:txBody>
      </p:sp>
      <p:sp>
        <p:nvSpPr>
          <p:cNvPr id="33" name="Freeform 3">
            <a:extLst>
              <a:ext uri="{FF2B5EF4-FFF2-40B4-BE49-F238E27FC236}">
                <a16:creationId xmlns:a16="http://schemas.microsoft.com/office/drawing/2014/main" xmlns="" id="{139958D2-F32A-4492-9DA8-72B39E026FC8}"/>
              </a:ext>
            </a:extLst>
          </p:cNvPr>
          <p:cNvSpPr>
            <a:spLocks noChangeArrowheads="1"/>
          </p:cNvSpPr>
          <p:nvPr/>
        </p:nvSpPr>
        <p:spPr bwMode="auto">
          <a:xfrm>
            <a:off x="3714561" y="2419528"/>
            <a:ext cx="3744465" cy="1227481"/>
          </a:xfrm>
          <a:custGeom>
            <a:avLst/>
            <a:gdLst>
              <a:gd name="T0" fmla="*/ 8881 w 9130"/>
              <a:gd name="T1" fmla="*/ 2305 h 3884"/>
              <a:gd name="T2" fmla="*/ 8960 w 9130"/>
              <a:gd name="T3" fmla="*/ 2293 h 3884"/>
              <a:gd name="T4" fmla="*/ 9054 w 9130"/>
              <a:gd name="T5" fmla="*/ 2235 h 3884"/>
              <a:gd name="T6" fmla="*/ 9129 w 9130"/>
              <a:gd name="T7" fmla="*/ 2014 h 3884"/>
              <a:gd name="T8" fmla="*/ 9065 w 9130"/>
              <a:gd name="T9" fmla="*/ 1807 h 3884"/>
              <a:gd name="T10" fmla="*/ 9030 w 9130"/>
              <a:gd name="T11" fmla="*/ 1772 h 3884"/>
              <a:gd name="T12" fmla="*/ 9028 w 9130"/>
              <a:gd name="T13" fmla="*/ 1770 h 3884"/>
              <a:gd name="T14" fmla="*/ 9022 w 9130"/>
              <a:gd name="T15" fmla="*/ 1766 h 3884"/>
              <a:gd name="T16" fmla="*/ 9017 w 9130"/>
              <a:gd name="T17" fmla="*/ 1762 h 3884"/>
              <a:gd name="T18" fmla="*/ 9013 w 9130"/>
              <a:gd name="T19" fmla="*/ 1761 h 3884"/>
              <a:gd name="T20" fmla="*/ 9006 w 9130"/>
              <a:gd name="T21" fmla="*/ 1756 h 3884"/>
              <a:gd name="T22" fmla="*/ 9005 w 9130"/>
              <a:gd name="T23" fmla="*/ 1755 h 3884"/>
              <a:gd name="T24" fmla="*/ 8895 w 9130"/>
              <a:gd name="T25" fmla="*/ 1724 h 3884"/>
              <a:gd name="T26" fmla="*/ 8881 w 9130"/>
              <a:gd name="T27" fmla="*/ 1724 h 3884"/>
              <a:gd name="T28" fmla="*/ 8629 w 9130"/>
              <a:gd name="T29" fmla="*/ 1797 h 3884"/>
              <a:gd name="T30" fmla="*/ 8577 w 9130"/>
              <a:gd name="T31" fmla="*/ 1808 h 3884"/>
              <a:gd name="T32" fmla="*/ 8575 w 9130"/>
              <a:gd name="T33" fmla="*/ 0 h 3884"/>
              <a:gd name="T34" fmla="*/ 842 w 9130"/>
              <a:gd name="T35" fmla="*/ 0 h 3884"/>
              <a:gd name="T36" fmla="*/ 0 w 9130"/>
              <a:gd name="T37" fmla="*/ 3883 h 3884"/>
              <a:gd name="T38" fmla="*/ 3721 w 9130"/>
              <a:gd name="T39" fmla="*/ 3883 h 3884"/>
              <a:gd name="T40" fmla="*/ 3709 w 9130"/>
              <a:gd name="T41" fmla="*/ 3828 h 3884"/>
              <a:gd name="T42" fmla="*/ 3636 w 9130"/>
              <a:gd name="T43" fmla="*/ 3576 h 3884"/>
              <a:gd name="T44" fmla="*/ 3636 w 9130"/>
              <a:gd name="T45" fmla="*/ 3562 h 3884"/>
              <a:gd name="T46" fmla="*/ 3668 w 9130"/>
              <a:gd name="T47" fmla="*/ 3452 h 3884"/>
              <a:gd name="T48" fmla="*/ 3668 w 9130"/>
              <a:gd name="T49" fmla="*/ 3451 h 3884"/>
              <a:gd name="T50" fmla="*/ 3673 w 9130"/>
              <a:gd name="T51" fmla="*/ 3443 h 3884"/>
              <a:gd name="T52" fmla="*/ 3675 w 9130"/>
              <a:gd name="T53" fmla="*/ 3440 h 3884"/>
              <a:gd name="T54" fmla="*/ 3679 w 9130"/>
              <a:gd name="T55" fmla="*/ 3435 h 3884"/>
              <a:gd name="T56" fmla="*/ 3683 w 9130"/>
              <a:gd name="T57" fmla="*/ 3429 h 3884"/>
              <a:gd name="T58" fmla="*/ 3685 w 9130"/>
              <a:gd name="T59" fmla="*/ 3427 h 3884"/>
              <a:gd name="T60" fmla="*/ 3720 w 9130"/>
              <a:gd name="T61" fmla="*/ 3392 h 3884"/>
              <a:gd name="T62" fmla="*/ 3927 w 9130"/>
              <a:gd name="T63" fmla="*/ 3328 h 3884"/>
              <a:gd name="T64" fmla="*/ 4147 w 9130"/>
              <a:gd name="T65" fmla="*/ 3403 h 3884"/>
              <a:gd name="T66" fmla="*/ 4206 w 9130"/>
              <a:gd name="T67" fmla="*/ 3497 h 3884"/>
              <a:gd name="T68" fmla="*/ 4217 w 9130"/>
              <a:gd name="T69" fmla="*/ 3576 h 3884"/>
              <a:gd name="T70" fmla="*/ 4140 w 9130"/>
              <a:gd name="T71" fmla="*/ 3828 h 3884"/>
              <a:gd name="T72" fmla="*/ 8575 w 9130"/>
              <a:gd name="T73" fmla="*/ 3883 h 3884"/>
              <a:gd name="T74" fmla="*/ 8575 w 9130"/>
              <a:gd name="T75" fmla="*/ 2216 h 3884"/>
              <a:gd name="T76" fmla="*/ 8577 w 9130"/>
              <a:gd name="T77" fmla="*/ 2216 h 3884"/>
              <a:gd name="T78" fmla="*/ 8629 w 9130"/>
              <a:gd name="T79" fmla="*/ 2228 h 3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130" h="3884">
                <a:moveTo>
                  <a:pt x="8881" y="2305"/>
                </a:moveTo>
                <a:lnTo>
                  <a:pt x="8881" y="2305"/>
                </a:lnTo>
                <a:cubicBezTo>
                  <a:pt x="8909" y="2305"/>
                  <a:pt x="8936" y="2301"/>
                  <a:pt x="8960" y="2293"/>
                </a:cubicBezTo>
                <a:lnTo>
                  <a:pt x="8960" y="2293"/>
                </a:lnTo>
                <a:cubicBezTo>
                  <a:pt x="8996" y="2281"/>
                  <a:pt x="9028" y="2262"/>
                  <a:pt x="9054" y="2235"/>
                </a:cubicBezTo>
                <a:lnTo>
                  <a:pt x="9054" y="2235"/>
                </a:lnTo>
                <a:cubicBezTo>
                  <a:pt x="9102" y="2184"/>
                  <a:pt x="9129" y="2108"/>
                  <a:pt x="9129" y="2014"/>
                </a:cubicBezTo>
                <a:lnTo>
                  <a:pt x="9129" y="2014"/>
                </a:lnTo>
                <a:cubicBezTo>
                  <a:pt x="9129" y="1932"/>
                  <a:pt x="9106" y="1858"/>
                  <a:pt x="9065" y="1807"/>
                </a:cubicBezTo>
                <a:lnTo>
                  <a:pt x="9065" y="1807"/>
                </a:lnTo>
                <a:cubicBezTo>
                  <a:pt x="9054" y="1794"/>
                  <a:pt x="9043" y="1783"/>
                  <a:pt x="9030" y="1772"/>
                </a:cubicBezTo>
                <a:lnTo>
                  <a:pt x="9030" y="1772"/>
                </a:lnTo>
                <a:cubicBezTo>
                  <a:pt x="9029" y="1772"/>
                  <a:pt x="9029" y="1771"/>
                  <a:pt x="9028" y="1770"/>
                </a:cubicBezTo>
                <a:lnTo>
                  <a:pt x="9028" y="1770"/>
                </a:lnTo>
                <a:cubicBezTo>
                  <a:pt x="9025" y="1769"/>
                  <a:pt x="9024" y="1767"/>
                  <a:pt x="9022" y="1766"/>
                </a:cubicBezTo>
                <a:lnTo>
                  <a:pt x="9022" y="1766"/>
                </a:lnTo>
                <a:cubicBezTo>
                  <a:pt x="9020" y="1765"/>
                  <a:pt x="9019" y="1763"/>
                  <a:pt x="9017" y="1762"/>
                </a:cubicBezTo>
                <a:lnTo>
                  <a:pt x="9017" y="1762"/>
                </a:lnTo>
                <a:cubicBezTo>
                  <a:pt x="9016" y="1762"/>
                  <a:pt x="9014" y="1761"/>
                  <a:pt x="9013" y="1761"/>
                </a:cubicBezTo>
                <a:lnTo>
                  <a:pt x="9013" y="1761"/>
                </a:lnTo>
                <a:cubicBezTo>
                  <a:pt x="9011" y="1759"/>
                  <a:pt x="9008" y="1757"/>
                  <a:pt x="9006" y="1756"/>
                </a:cubicBezTo>
                <a:lnTo>
                  <a:pt x="9006" y="1756"/>
                </a:lnTo>
                <a:cubicBezTo>
                  <a:pt x="9006" y="1756"/>
                  <a:pt x="9006" y="1756"/>
                  <a:pt x="9005" y="1755"/>
                </a:cubicBezTo>
                <a:lnTo>
                  <a:pt x="9005" y="1755"/>
                </a:lnTo>
                <a:cubicBezTo>
                  <a:pt x="8974" y="1737"/>
                  <a:pt x="8936" y="1726"/>
                  <a:pt x="8895" y="1724"/>
                </a:cubicBezTo>
                <a:lnTo>
                  <a:pt x="8895" y="1724"/>
                </a:lnTo>
                <a:cubicBezTo>
                  <a:pt x="8891" y="1724"/>
                  <a:pt x="8886" y="1724"/>
                  <a:pt x="8881" y="1724"/>
                </a:cubicBezTo>
                <a:lnTo>
                  <a:pt x="8881" y="1724"/>
                </a:lnTo>
                <a:cubicBezTo>
                  <a:pt x="8816" y="1724"/>
                  <a:pt x="8722" y="1751"/>
                  <a:pt x="8629" y="1797"/>
                </a:cubicBezTo>
                <a:lnTo>
                  <a:pt x="8629" y="1797"/>
                </a:lnTo>
                <a:cubicBezTo>
                  <a:pt x="8612" y="1804"/>
                  <a:pt x="8594" y="1808"/>
                  <a:pt x="8577" y="1808"/>
                </a:cubicBezTo>
                <a:lnTo>
                  <a:pt x="8577" y="1808"/>
                </a:lnTo>
                <a:cubicBezTo>
                  <a:pt x="8577" y="1808"/>
                  <a:pt x="8576" y="1808"/>
                  <a:pt x="8575" y="1808"/>
                </a:cubicBezTo>
                <a:lnTo>
                  <a:pt x="8575" y="0"/>
                </a:lnTo>
                <a:lnTo>
                  <a:pt x="842" y="0"/>
                </a:lnTo>
                <a:lnTo>
                  <a:pt x="842" y="0"/>
                </a:lnTo>
                <a:cubicBezTo>
                  <a:pt x="377" y="0"/>
                  <a:pt x="0" y="377"/>
                  <a:pt x="0" y="841"/>
                </a:cubicBezTo>
                <a:lnTo>
                  <a:pt x="0" y="3883"/>
                </a:lnTo>
                <a:lnTo>
                  <a:pt x="3721" y="3883"/>
                </a:lnTo>
                <a:lnTo>
                  <a:pt x="3721" y="3883"/>
                </a:lnTo>
                <a:cubicBezTo>
                  <a:pt x="3721" y="3864"/>
                  <a:pt x="3718" y="3846"/>
                  <a:pt x="3709" y="3828"/>
                </a:cubicBezTo>
                <a:lnTo>
                  <a:pt x="3709" y="3828"/>
                </a:lnTo>
                <a:cubicBezTo>
                  <a:pt x="3663" y="3736"/>
                  <a:pt x="3636" y="3641"/>
                  <a:pt x="3636" y="3576"/>
                </a:cubicBezTo>
                <a:lnTo>
                  <a:pt x="3636" y="3576"/>
                </a:lnTo>
                <a:cubicBezTo>
                  <a:pt x="3636" y="3571"/>
                  <a:pt x="3636" y="3566"/>
                  <a:pt x="3636" y="3562"/>
                </a:cubicBezTo>
                <a:lnTo>
                  <a:pt x="3636" y="3562"/>
                </a:lnTo>
                <a:cubicBezTo>
                  <a:pt x="3638" y="3520"/>
                  <a:pt x="3649" y="3484"/>
                  <a:pt x="3668" y="3452"/>
                </a:cubicBezTo>
                <a:lnTo>
                  <a:pt x="3668" y="3452"/>
                </a:lnTo>
                <a:lnTo>
                  <a:pt x="3668" y="3451"/>
                </a:lnTo>
                <a:lnTo>
                  <a:pt x="3668" y="3451"/>
                </a:lnTo>
                <a:cubicBezTo>
                  <a:pt x="3669" y="3449"/>
                  <a:pt x="3671" y="3446"/>
                  <a:pt x="3673" y="3443"/>
                </a:cubicBezTo>
                <a:lnTo>
                  <a:pt x="3673" y="3443"/>
                </a:lnTo>
                <a:cubicBezTo>
                  <a:pt x="3674" y="3443"/>
                  <a:pt x="3674" y="3441"/>
                  <a:pt x="3675" y="3440"/>
                </a:cubicBezTo>
                <a:lnTo>
                  <a:pt x="3675" y="3440"/>
                </a:lnTo>
                <a:cubicBezTo>
                  <a:pt x="3676" y="3438"/>
                  <a:pt x="3677" y="3437"/>
                  <a:pt x="3679" y="3435"/>
                </a:cubicBezTo>
                <a:lnTo>
                  <a:pt x="3679" y="3435"/>
                </a:lnTo>
                <a:cubicBezTo>
                  <a:pt x="3680" y="3433"/>
                  <a:pt x="3681" y="3431"/>
                  <a:pt x="3683" y="3429"/>
                </a:cubicBezTo>
                <a:lnTo>
                  <a:pt x="3683" y="3429"/>
                </a:lnTo>
                <a:cubicBezTo>
                  <a:pt x="3683" y="3428"/>
                  <a:pt x="3684" y="3428"/>
                  <a:pt x="3685" y="3427"/>
                </a:cubicBezTo>
                <a:lnTo>
                  <a:pt x="3685" y="3427"/>
                </a:lnTo>
                <a:cubicBezTo>
                  <a:pt x="3694" y="3415"/>
                  <a:pt x="3707" y="3402"/>
                  <a:pt x="3720" y="3392"/>
                </a:cubicBezTo>
                <a:lnTo>
                  <a:pt x="3720" y="3392"/>
                </a:lnTo>
                <a:cubicBezTo>
                  <a:pt x="3771" y="3350"/>
                  <a:pt x="3845" y="3328"/>
                  <a:pt x="3927" y="3328"/>
                </a:cubicBezTo>
                <a:lnTo>
                  <a:pt x="3927" y="3328"/>
                </a:lnTo>
                <a:cubicBezTo>
                  <a:pt x="4020" y="3328"/>
                  <a:pt x="4097" y="3355"/>
                  <a:pt x="4147" y="3403"/>
                </a:cubicBezTo>
                <a:lnTo>
                  <a:pt x="4147" y="3403"/>
                </a:lnTo>
                <a:cubicBezTo>
                  <a:pt x="4174" y="3429"/>
                  <a:pt x="4194" y="3460"/>
                  <a:pt x="4206" y="3497"/>
                </a:cubicBezTo>
                <a:lnTo>
                  <a:pt x="4206" y="3497"/>
                </a:lnTo>
                <a:cubicBezTo>
                  <a:pt x="4213" y="3521"/>
                  <a:pt x="4217" y="3547"/>
                  <a:pt x="4217" y="3576"/>
                </a:cubicBezTo>
                <a:lnTo>
                  <a:pt x="4217" y="3576"/>
                </a:lnTo>
                <a:cubicBezTo>
                  <a:pt x="4217" y="3640"/>
                  <a:pt x="4188" y="3733"/>
                  <a:pt x="4140" y="3828"/>
                </a:cubicBezTo>
                <a:lnTo>
                  <a:pt x="4140" y="3828"/>
                </a:lnTo>
                <a:cubicBezTo>
                  <a:pt x="4131" y="3845"/>
                  <a:pt x="4127" y="3864"/>
                  <a:pt x="4128" y="3883"/>
                </a:cubicBezTo>
                <a:lnTo>
                  <a:pt x="8575" y="3883"/>
                </a:lnTo>
                <a:lnTo>
                  <a:pt x="8575" y="2216"/>
                </a:lnTo>
                <a:lnTo>
                  <a:pt x="8575" y="2216"/>
                </a:lnTo>
                <a:cubicBezTo>
                  <a:pt x="8576" y="2216"/>
                  <a:pt x="8577" y="2216"/>
                  <a:pt x="8577" y="2216"/>
                </a:cubicBezTo>
                <a:lnTo>
                  <a:pt x="8577" y="2216"/>
                </a:lnTo>
                <a:cubicBezTo>
                  <a:pt x="8594" y="2216"/>
                  <a:pt x="8613" y="2219"/>
                  <a:pt x="8629" y="2228"/>
                </a:cubicBezTo>
                <a:lnTo>
                  <a:pt x="8629" y="2228"/>
                </a:lnTo>
                <a:cubicBezTo>
                  <a:pt x="8724" y="2276"/>
                  <a:pt x="8818" y="2305"/>
                  <a:pt x="8881" y="2305"/>
                </a:cubicBezTo>
              </a:path>
            </a:pathLst>
          </a:custGeom>
          <a:solidFill>
            <a:schemeClr val="accent4"/>
          </a:solidFill>
          <a:ln>
            <a:noFill/>
          </a:ln>
          <a:effectLst/>
        </p:spPr>
        <p:txBody>
          <a:bodyPr wrap="none" anchor="ctr"/>
          <a:lstStyle/>
          <a:p>
            <a:endParaRPr lang="en-GB" sz="2449" dirty="0">
              <a:latin typeface="+mj-lt"/>
            </a:endParaRPr>
          </a:p>
        </p:txBody>
      </p:sp>
      <p:sp>
        <p:nvSpPr>
          <p:cNvPr id="39" name="Freeform 4">
            <a:extLst>
              <a:ext uri="{FF2B5EF4-FFF2-40B4-BE49-F238E27FC236}">
                <a16:creationId xmlns:a16="http://schemas.microsoft.com/office/drawing/2014/main" xmlns="" id="{266BD81C-01FA-40BB-9DF0-32026480A188}"/>
              </a:ext>
            </a:extLst>
          </p:cNvPr>
          <p:cNvSpPr>
            <a:spLocks noChangeArrowheads="1"/>
          </p:cNvSpPr>
          <p:nvPr/>
        </p:nvSpPr>
        <p:spPr bwMode="auto">
          <a:xfrm>
            <a:off x="3718512" y="3469902"/>
            <a:ext cx="3518351" cy="1403035"/>
          </a:xfrm>
          <a:custGeom>
            <a:avLst/>
            <a:gdLst>
              <a:gd name="T0" fmla="*/ 8513 w 8576"/>
              <a:gd name="T1" fmla="*/ 2816 h 4440"/>
              <a:gd name="T2" fmla="*/ 8261 w 8576"/>
              <a:gd name="T3" fmla="*/ 2889 h 4440"/>
              <a:gd name="T4" fmla="*/ 8247 w 8576"/>
              <a:gd name="T5" fmla="*/ 2889 h 4440"/>
              <a:gd name="T6" fmla="*/ 8137 w 8576"/>
              <a:gd name="T7" fmla="*/ 2858 h 4440"/>
              <a:gd name="T8" fmla="*/ 8136 w 8576"/>
              <a:gd name="T9" fmla="*/ 2857 h 4440"/>
              <a:gd name="T10" fmla="*/ 8128 w 8576"/>
              <a:gd name="T11" fmla="*/ 2852 h 4440"/>
              <a:gd name="T12" fmla="*/ 8125 w 8576"/>
              <a:gd name="T13" fmla="*/ 2851 h 4440"/>
              <a:gd name="T14" fmla="*/ 8120 w 8576"/>
              <a:gd name="T15" fmla="*/ 2847 h 4440"/>
              <a:gd name="T16" fmla="*/ 8114 w 8576"/>
              <a:gd name="T17" fmla="*/ 2843 h 4440"/>
              <a:gd name="T18" fmla="*/ 8112 w 8576"/>
              <a:gd name="T19" fmla="*/ 2841 h 4440"/>
              <a:gd name="T20" fmla="*/ 8077 w 8576"/>
              <a:gd name="T21" fmla="*/ 2806 h 4440"/>
              <a:gd name="T22" fmla="*/ 8013 w 8576"/>
              <a:gd name="T23" fmla="*/ 2599 h 4440"/>
              <a:gd name="T24" fmla="*/ 8089 w 8576"/>
              <a:gd name="T25" fmla="*/ 2378 h 4440"/>
              <a:gd name="T26" fmla="*/ 8182 w 8576"/>
              <a:gd name="T27" fmla="*/ 2320 h 4440"/>
              <a:gd name="T28" fmla="*/ 8261 w 8576"/>
              <a:gd name="T29" fmla="*/ 2308 h 4440"/>
              <a:gd name="T30" fmla="*/ 8512 w 8576"/>
              <a:gd name="T31" fmla="*/ 2385 h 4440"/>
              <a:gd name="T32" fmla="*/ 8575 w 8576"/>
              <a:gd name="T33" fmla="*/ 555 h 4440"/>
              <a:gd name="T34" fmla="*/ 4128 w 8576"/>
              <a:gd name="T35" fmla="*/ 555 h 4440"/>
              <a:gd name="T36" fmla="*/ 4140 w 8576"/>
              <a:gd name="T37" fmla="*/ 500 h 4440"/>
              <a:gd name="T38" fmla="*/ 4217 w 8576"/>
              <a:gd name="T39" fmla="*/ 248 h 4440"/>
              <a:gd name="T40" fmla="*/ 4206 w 8576"/>
              <a:gd name="T41" fmla="*/ 169 h 4440"/>
              <a:gd name="T42" fmla="*/ 4147 w 8576"/>
              <a:gd name="T43" fmla="*/ 75 h 4440"/>
              <a:gd name="T44" fmla="*/ 3927 w 8576"/>
              <a:gd name="T45" fmla="*/ 0 h 4440"/>
              <a:gd name="T46" fmla="*/ 3720 w 8576"/>
              <a:gd name="T47" fmla="*/ 64 h 4440"/>
              <a:gd name="T48" fmla="*/ 3685 w 8576"/>
              <a:gd name="T49" fmla="*/ 99 h 4440"/>
              <a:gd name="T50" fmla="*/ 3683 w 8576"/>
              <a:gd name="T51" fmla="*/ 101 h 4440"/>
              <a:gd name="T52" fmla="*/ 3679 w 8576"/>
              <a:gd name="T53" fmla="*/ 107 h 4440"/>
              <a:gd name="T54" fmla="*/ 3675 w 8576"/>
              <a:gd name="T55" fmla="*/ 112 h 4440"/>
              <a:gd name="T56" fmla="*/ 3673 w 8576"/>
              <a:gd name="T57" fmla="*/ 115 h 4440"/>
              <a:gd name="T58" fmla="*/ 3668 w 8576"/>
              <a:gd name="T59" fmla="*/ 123 h 4440"/>
              <a:gd name="T60" fmla="*/ 3668 w 8576"/>
              <a:gd name="T61" fmla="*/ 124 h 4440"/>
              <a:gd name="T62" fmla="*/ 3636 w 8576"/>
              <a:gd name="T63" fmla="*/ 234 h 4440"/>
              <a:gd name="T64" fmla="*/ 3636 w 8576"/>
              <a:gd name="T65" fmla="*/ 248 h 4440"/>
              <a:gd name="T66" fmla="*/ 3709 w 8576"/>
              <a:gd name="T67" fmla="*/ 500 h 4440"/>
              <a:gd name="T68" fmla="*/ 0 w 8576"/>
              <a:gd name="T69" fmla="*/ 555 h 4440"/>
              <a:gd name="T70" fmla="*/ 0 w 8576"/>
              <a:gd name="T71" fmla="*/ 3598 h 4440"/>
              <a:gd name="T72" fmla="*/ 8575 w 8576"/>
              <a:gd name="T73" fmla="*/ 4439 h 4440"/>
              <a:gd name="T74" fmla="*/ 8575 w 8576"/>
              <a:gd name="T75" fmla="*/ 2805 h 4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76" h="4440">
                <a:moveTo>
                  <a:pt x="8513" y="2816"/>
                </a:moveTo>
                <a:lnTo>
                  <a:pt x="8513" y="2816"/>
                </a:lnTo>
                <a:cubicBezTo>
                  <a:pt x="8420" y="2862"/>
                  <a:pt x="8326" y="2889"/>
                  <a:pt x="8261" y="2889"/>
                </a:cubicBezTo>
                <a:lnTo>
                  <a:pt x="8261" y="2889"/>
                </a:lnTo>
                <a:cubicBezTo>
                  <a:pt x="8256" y="2889"/>
                  <a:pt x="8251" y="2889"/>
                  <a:pt x="8247" y="2889"/>
                </a:cubicBezTo>
                <a:lnTo>
                  <a:pt x="8247" y="2889"/>
                </a:lnTo>
                <a:cubicBezTo>
                  <a:pt x="8205" y="2887"/>
                  <a:pt x="8169" y="2876"/>
                  <a:pt x="8137" y="2858"/>
                </a:cubicBezTo>
                <a:lnTo>
                  <a:pt x="8137" y="2858"/>
                </a:lnTo>
                <a:cubicBezTo>
                  <a:pt x="8137" y="2857"/>
                  <a:pt x="8136" y="2857"/>
                  <a:pt x="8136" y="2857"/>
                </a:cubicBezTo>
                <a:lnTo>
                  <a:pt x="8136" y="2857"/>
                </a:lnTo>
                <a:cubicBezTo>
                  <a:pt x="8134" y="2856"/>
                  <a:pt x="8131" y="2854"/>
                  <a:pt x="8128" y="2852"/>
                </a:cubicBezTo>
                <a:lnTo>
                  <a:pt x="8128" y="2852"/>
                </a:lnTo>
                <a:cubicBezTo>
                  <a:pt x="8128" y="2852"/>
                  <a:pt x="8126" y="2851"/>
                  <a:pt x="8125" y="2851"/>
                </a:cubicBezTo>
                <a:lnTo>
                  <a:pt x="8125" y="2851"/>
                </a:lnTo>
                <a:cubicBezTo>
                  <a:pt x="8123" y="2849"/>
                  <a:pt x="8122" y="2848"/>
                  <a:pt x="8120" y="2847"/>
                </a:cubicBezTo>
                <a:lnTo>
                  <a:pt x="8120" y="2847"/>
                </a:lnTo>
                <a:cubicBezTo>
                  <a:pt x="8118" y="2846"/>
                  <a:pt x="8116" y="2844"/>
                  <a:pt x="8114" y="2843"/>
                </a:cubicBezTo>
                <a:lnTo>
                  <a:pt x="8114" y="2843"/>
                </a:lnTo>
                <a:cubicBezTo>
                  <a:pt x="8113" y="2842"/>
                  <a:pt x="8113" y="2841"/>
                  <a:pt x="8112" y="2841"/>
                </a:cubicBezTo>
                <a:lnTo>
                  <a:pt x="8112" y="2841"/>
                </a:lnTo>
                <a:cubicBezTo>
                  <a:pt x="8100" y="2830"/>
                  <a:pt x="8087" y="2819"/>
                  <a:pt x="8077" y="2806"/>
                </a:cubicBezTo>
                <a:lnTo>
                  <a:pt x="8077" y="2806"/>
                </a:lnTo>
                <a:cubicBezTo>
                  <a:pt x="8035" y="2755"/>
                  <a:pt x="8013" y="2681"/>
                  <a:pt x="8013" y="2599"/>
                </a:cubicBezTo>
                <a:lnTo>
                  <a:pt x="8013" y="2599"/>
                </a:lnTo>
                <a:cubicBezTo>
                  <a:pt x="8013" y="2505"/>
                  <a:pt x="8040" y="2429"/>
                  <a:pt x="8089" y="2378"/>
                </a:cubicBezTo>
                <a:lnTo>
                  <a:pt x="8089" y="2378"/>
                </a:lnTo>
                <a:cubicBezTo>
                  <a:pt x="8114" y="2351"/>
                  <a:pt x="8145" y="2331"/>
                  <a:pt x="8182" y="2320"/>
                </a:cubicBezTo>
                <a:lnTo>
                  <a:pt x="8182" y="2320"/>
                </a:lnTo>
                <a:cubicBezTo>
                  <a:pt x="8206" y="2312"/>
                  <a:pt x="8232" y="2308"/>
                  <a:pt x="8261" y="2308"/>
                </a:cubicBezTo>
                <a:lnTo>
                  <a:pt x="8261" y="2308"/>
                </a:lnTo>
                <a:cubicBezTo>
                  <a:pt x="8325" y="2308"/>
                  <a:pt x="8419" y="2337"/>
                  <a:pt x="8512" y="2385"/>
                </a:cubicBezTo>
                <a:lnTo>
                  <a:pt x="8512" y="2385"/>
                </a:lnTo>
                <a:cubicBezTo>
                  <a:pt x="8532" y="2396"/>
                  <a:pt x="8554" y="2399"/>
                  <a:pt x="8575" y="2397"/>
                </a:cubicBezTo>
                <a:lnTo>
                  <a:pt x="8575" y="555"/>
                </a:lnTo>
                <a:lnTo>
                  <a:pt x="4128" y="555"/>
                </a:lnTo>
                <a:lnTo>
                  <a:pt x="4128" y="555"/>
                </a:lnTo>
                <a:cubicBezTo>
                  <a:pt x="4127" y="536"/>
                  <a:pt x="4131" y="517"/>
                  <a:pt x="4140" y="500"/>
                </a:cubicBezTo>
                <a:lnTo>
                  <a:pt x="4140" y="500"/>
                </a:lnTo>
                <a:cubicBezTo>
                  <a:pt x="4188" y="405"/>
                  <a:pt x="4217" y="312"/>
                  <a:pt x="4217" y="248"/>
                </a:cubicBezTo>
                <a:lnTo>
                  <a:pt x="4217" y="248"/>
                </a:lnTo>
                <a:cubicBezTo>
                  <a:pt x="4217" y="219"/>
                  <a:pt x="4213" y="193"/>
                  <a:pt x="4206" y="169"/>
                </a:cubicBezTo>
                <a:lnTo>
                  <a:pt x="4206" y="169"/>
                </a:lnTo>
                <a:cubicBezTo>
                  <a:pt x="4194" y="132"/>
                  <a:pt x="4174" y="101"/>
                  <a:pt x="4147" y="75"/>
                </a:cubicBezTo>
                <a:lnTo>
                  <a:pt x="4147" y="75"/>
                </a:lnTo>
                <a:cubicBezTo>
                  <a:pt x="4097" y="27"/>
                  <a:pt x="4020" y="0"/>
                  <a:pt x="3927" y="0"/>
                </a:cubicBezTo>
                <a:lnTo>
                  <a:pt x="3927" y="0"/>
                </a:lnTo>
                <a:cubicBezTo>
                  <a:pt x="3845" y="0"/>
                  <a:pt x="3771" y="22"/>
                  <a:pt x="3720" y="64"/>
                </a:cubicBezTo>
                <a:lnTo>
                  <a:pt x="3720" y="64"/>
                </a:lnTo>
                <a:cubicBezTo>
                  <a:pt x="3707" y="74"/>
                  <a:pt x="3694" y="87"/>
                  <a:pt x="3685" y="99"/>
                </a:cubicBezTo>
                <a:lnTo>
                  <a:pt x="3685" y="99"/>
                </a:lnTo>
                <a:cubicBezTo>
                  <a:pt x="3684" y="100"/>
                  <a:pt x="3683" y="100"/>
                  <a:pt x="3683" y="101"/>
                </a:cubicBezTo>
                <a:lnTo>
                  <a:pt x="3683" y="101"/>
                </a:lnTo>
                <a:cubicBezTo>
                  <a:pt x="3681" y="103"/>
                  <a:pt x="3680" y="105"/>
                  <a:pt x="3679" y="107"/>
                </a:cubicBezTo>
                <a:lnTo>
                  <a:pt x="3679" y="107"/>
                </a:lnTo>
                <a:cubicBezTo>
                  <a:pt x="3677" y="109"/>
                  <a:pt x="3676" y="110"/>
                  <a:pt x="3675" y="112"/>
                </a:cubicBezTo>
                <a:lnTo>
                  <a:pt x="3675" y="112"/>
                </a:lnTo>
                <a:cubicBezTo>
                  <a:pt x="3674" y="113"/>
                  <a:pt x="3674" y="115"/>
                  <a:pt x="3673" y="115"/>
                </a:cubicBezTo>
                <a:lnTo>
                  <a:pt x="3673" y="115"/>
                </a:lnTo>
                <a:cubicBezTo>
                  <a:pt x="3671" y="118"/>
                  <a:pt x="3669" y="121"/>
                  <a:pt x="3668" y="123"/>
                </a:cubicBezTo>
                <a:lnTo>
                  <a:pt x="3668" y="123"/>
                </a:lnTo>
                <a:lnTo>
                  <a:pt x="3668" y="124"/>
                </a:lnTo>
                <a:lnTo>
                  <a:pt x="3668" y="124"/>
                </a:lnTo>
                <a:cubicBezTo>
                  <a:pt x="3649" y="156"/>
                  <a:pt x="3638" y="192"/>
                  <a:pt x="3636" y="234"/>
                </a:cubicBezTo>
                <a:lnTo>
                  <a:pt x="3636" y="234"/>
                </a:lnTo>
                <a:cubicBezTo>
                  <a:pt x="3636" y="238"/>
                  <a:pt x="3636" y="243"/>
                  <a:pt x="3636" y="248"/>
                </a:cubicBezTo>
                <a:lnTo>
                  <a:pt x="3636" y="248"/>
                </a:lnTo>
                <a:cubicBezTo>
                  <a:pt x="3636" y="313"/>
                  <a:pt x="3663" y="408"/>
                  <a:pt x="3709" y="500"/>
                </a:cubicBezTo>
                <a:lnTo>
                  <a:pt x="3709" y="500"/>
                </a:lnTo>
                <a:cubicBezTo>
                  <a:pt x="3718" y="518"/>
                  <a:pt x="3721" y="536"/>
                  <a:pt x="3721" y="555"/>
                </a:cubicBezTo>
                <a:lnTo>
                  <a:pt x="0" y="555"/>
                </a:lnTo>
                <a:lnTo>
                  <a:pt x="0" y="3598"/>
                </a:lnTo>
                <a:lnTo>
                  <a:pt x="0" y="3598"/>
                </a:lnTo>
                <a:cubicBezTo>
                  <a:pt x="0" y="4062"/>
                  <a:pt x="377" y="4439"/>
                  <a:pt x="842" y="4439"/>
                </a:cubicBezTo>
                <a:lnTo>
                  <a:pt x="8575" y="4439"/>
                </a:lnTo>
                <a:lnTo>
                  <a:pt x="8575" y="2805"/>
                </a:lnTo>
                <a:lnTo>
                  <a:pt x="8575" y="2805"/>
                </a:lnTo>
                <a:cubicBezTo>
                  <a:pt x="8554" y="2803"/>
                  <a:pt x="8533" y="2807"/>
                  <a:pt x="8513" y="2816"/>
                </a:cubicBezTo>
              </a:path>
            </a:pathLst>
          </a:custGeom>
          <a:solidFill>
            <a:srgbClr val="C00000"/>
          </a:solidFill>
          <a:ln>
            <a:noFill/>
          </a:ln>
          <a:effectLst/>
        </p:spPr>
        <p:txBody>
          <a:bodyPr wrap="none" anchor="ctr"/>
          <a:lstStyle/>
          <a:p>
            <a:endParaRPr lang="en-GB" sz="2449" dirty="0">
              <a:latin typeface="+mj-lt"/>
            </a:endParaRPr>
          </a:p>
        </p:txBody>
      </p:sp>
      <p:sp>
        <p:nvSpPr>
          <p:cNvPr id="45" name="Freeform 5">
            <a:extLst>
              <a:ext uri="{FF2B5EF4-FFF2-40B4-BE49-F238E27FC236}">
                <a16:creationId xmlns:a16="http://schemas.microsoft.com/office/drawing/2014/main" xmlns="" id="{6358A5F9-AE82-4DEE-A1E2-58E214155C4E}"/>
              </a:ext>
            </a:extLst>
          </p:cNvPr>
          <p:cNvSpPr>
            <a:spLocks noChangeArrowheads="1"/>
          </p:cNvSpPr>
          <p:nvPr/>
        </p:nvSpPr>
        <p:spPr bwMode="auto">
          <a:xfrm>
            <a:off x="7005320" y="3646233"/>
            <a:ext cx="3748083" cy="1227481"/>
          </a:xfrm>
          <a:custGeom>
            <a:avLst/>
            <a:gdLst>
              <a:gd name="T0" fmla="*/ 4855 w 9139"/>
              <a:gd name="T1" fmla="*/ 0 h 3885"/>
              <a:gd name="T2" fmla="*/ 4867 w 9139"/>
              <a:gd name="T3" fmla="*/ 59 h 3885"/>
              <a:gd name="T4" fmla="*/ 4939 w 9139"/>
              <a:gd name="T5" fmla="*/ 312 h 3885"/>
              <a:gd name="T6" fmla="*/ 4939 w 9139"/>
              <a:gd name="T7" fmla="*/ 326 h 3885"/>
              <a:gd name="T8" fmla="*/ 4908 w 9139"/>
              <a:gd name="T9" fmla="*/ 435 h 3885"/>
              <a:gd name="T10" fmla="*/ 4908 w 9139"/>
              <a:gd name="T11" fmla="*/ 436 h 3885"/>
              <a:gd name="T12" fmla="*/ 4903 w 9139"/>
              <a:gd name="T13" fmla="*/ 444 h 3885"/>
              <a:gd name="T14" fmla="*/ 4901 w 9139"/>
              <a:gd name="T15" fmla="*/ 447 h 3885"/>
              <a:gd name="T16" fmla="*/ 4897 w 9139"/>
              <a:gd name="T17" fmla="*/ 452 h 3885"/>
              <a:gd name="T18" fmla="*/ 4893 w 9139"/>
              <a:gd name="T19" fmla="*/ 458 h 3885"/>
              <a:gd name="T20" fmla="*/ 4891 w 9139"/>
              <a:gd name="T21" fmla="*/ 460 h 3885"/>
              <a:gd name="T22" fmla="*/ 4856 w 9139"/>
              <a:gd name="T23" fmla="*/ 495 h 3885"/>
              <a:gd name="T24" fmla="*/ 4649 w 9139"/>
              <a:gd name="T25" fmla="*/ 560 h 3885"/>
              <a:gd name="T26" fmla="*/ 4428 w 9139"/>
              <a:gd name="T27" fmla="*/ 484 h 3885"/>
              <a:gd name="T28" fmla="*/ 4370 w 9139"/>
              <a:gd name="T29" fmla="*/ 391 h 3885"/>
              <a:gd name="T30" fmla="*/ 4358 w 9139"/>
              <a:gd name="T31" fmla="*/ 312 h 3885"/>
              <a:gd name="T32" fmla="*/ 4436 w 9139"/>
              <a:gd name="T33" fmla="*/ 60 h 3885"/>
              <a:gd name="T34" fmla="*/ 564 w 9139"/>
              <a:gd name="T35" fmla="*/ 0 h 3885"/>
              <a:gd name="T36" fmla="*/ 564 w 9139"/>
              <a:gd name="T37" fmla="*/ 1842 h 3885"/>
              <a:gd name="T38" fmla="*/ 562 w 9139"/>
              <a:gd name="T39" fmla="*/ 1842 h 3885"/>
              <a:gd name="T40" fmla="*/ 499 w 9139"/>
              <a:gd name="T41" fmla="*/ 1830 h 3885"/>
              <a:gd name="T42" fmla="*/ 248 w 9139"/>
              <a:gd name="T43" fmla="*/ 1753 h 3885"/>
              <a:gd name="T44" fmla="*/ 169 w 9139"/>
              <a:gd name="T45" fmla="*/ 1765 h 3885"/>
              <a:gd name="T46" fmla="*/ 76 w 9139"/>
              <a:gd name="T47" fmla="*/ 1823 h 3885"/>
              <a:gd name="T48" fmla="*/ 0 w 9139"/>
              <a:gd name="T49" fmla="*/ 2044 h 3885"/>
              <a:gd name="T50" fmla="*/ 64 w 9139"/>
              <a:gd name="T51" fmla="*/ 2251 h 3885"/>
              <a:gd name="T52" fmla="*/ 99 w 9139"/>
              <a:gd name="T53" fmla="*/ 2286 h 3885"/>
              <a:gd name="T54" fmla="*/ 101 w 9139"/>
              <a:gd name="T55" fmla="*/ 2288 h 3885"/>
              <a:gd name="T56" fmla="*/ 107 w 9139"/>
              <a:gd name="T57" fmla="*/ 2292 h 3885"/>
              <a:gd name="T58" fmla="*/ 112 w 9139"/>
              <a:gd name="T59" fmla="*/ 2296 h 3885"/>
              <a:gd name="T60" fmla="*/ 115 w 9139"/>
              <a:gd name="T61" fmla="*/ 2297 h 3885"/>
              <a:gd name="T62" fmla="*/ 123 w 9139"/>
              <a:gd name="T63" fmla="*/ 2302 h 3885"/>
              <a:gd name="T64" fmla="*/ 124 w 9139"/>
              <a:gd name="T65" fmla="*/ 2303 h 3885"/>
              <a:gd name="T66" fmla="*/ 234 w 9139"/>
              <a:gd name="T67" fmla="*/ 2334 h 3885"/>
              <a:gd name="T68" fmla="*/ 248 w 9139"/>
              <a:gd name="T69" fmla="*/ 2334 h 3885"/>
              <a:gd name="T70" fmla="*/ 500 w 9139"/>
              <a:gd name="T71" fmla="*/ 2261 h 3885"/>
              <a:gd name="T72" fmla="*/ 562 w 9139"/>
              <a:gd name="T73" fmla="*/ 2250 h 3885"/>
              <a:gd name="T74" fmla="*/ 564 w 9139"/>
              <a:gd name="T75" fmla="*/ 3884 h 3885"/>
              <a:gd name="T76" fmla="*/ 8296 w 9139"/>
              <a:gd name="T77" fmla="*/ 3884 h 3885"/>
              <a:gd name="T78" fmla="*/ 9138 w 9139"/>
              <a:gd name="T79" fmla="*/ 0 h 3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139" h="3885">
                <a:moveTo>
                  <a:pt x="4855" y="0"/>
                </a:moveTo>
                <a:lnTo>
                  <a:pt x="4855" y="0"/>
                </a:lnTo>
                <a:cubicBezTo>
                  <a:pt x="4854" y="20"/>
                  <a:pt x="4858" y="40"/>
                  <a:pt x="4867" y="59"/>
                </a:cubicBezTo>
                <a:lnTo>
                  <a:pt x="4867" y="59"/>
                </a:lnTo>
                <a:cubicBezTo>
                  <a:pt x="4913" y="152"/>
                  <a:pt x="4939" y="246"/>
                  <a:pt x="4939" y="312"/>
                </a:cubicBezTo>
                <a:lnTo>
                  <a:pt x="4939" y="312"/>
                </a:lnTo>
                <a:cubicBezTo>
                  <a:pt x="4939" y="316"/>
                  <a:pt x="4939" y="321"/>
                  <a:pt x="4939" y="326"/>
                </a:cubicBezTo>
                <a:lnTo>
                  <a:pt x="4939" y="326"/>
                </a:lnTo>
                <a:cubicBezTo>
                  <a:pt x="4938" y="367"/>
                  <a:pt x="4927" y="403"/>
                  <a:pt x="4908" y="435"/>
                </a:cubicBezTo>
                <a:lnTo>
                  <a:pt x="4908" y="435"/>
                </a:lnTo>
                <a:cubicBezTo>
                  <a:pt x="4908" y="436"/>
                  <a:pt x="4908" y="436"/>
                  <a:pt x="4908" y="436"/>
                </a:cubicBezTo>
                <a:lnTo>
                  <a:pt x="4908" y="436"/>
                </a:lnTo>
                <a:cubicBezTo>
                  <a:pt x="4906" y="439"/>
                  <a:pt x="4905" y="441"/>
                  <a:pt x="4903" y="444"/>
                </a:cubicBezTo>
                <a:lnTo>
                  <a:pt x="4903" y="444"/>
                </a:lnTo>
                <a:cubicBezTo>
                  <a:pt x="4902" y="445"/>
                  <a:pt x="4902" y="446"/>
                  <a:pt x="4901" y="447"/>
                </a:cubicBezTo>
                <a:lnTo>
                  <a:pt x="4901" y="447"/>
                </a:lnTo>
                <a:cubicBezTo>
                  <a:pt x="4900" y="449"/>
                  <a:pt x="4898" y="451"/>
                  <a:pt x="4897" y="452"/>
                </a:cubicBezTo>
                <a:lnTo>
                  <a:pt x="4897" y="452"/>
                </a:lnTo>
                <a:cubicBezTo>
                  <a:pt x="4896" y="454"/>
                  <a:pt x="4894" y="456"/>
                  <a:pt x="4893" y="458"/>
                </a:cubicBezTo>
                <a:lnTo>
                  <a:pt x="4893" y="458"/>
                </a:lnTo>
                <a:cubicBezTo>
                  <a:pt x="4892" y="459"/>
                  <a:pt x="4892" y="460"/>
                  <a:pt x="4891" y="460"/>
                </a:cubicBezTo>
                <a:lnTo>
                  <a:pt x="4891" y="460"/>
                </a:lnTo>
                <a:cubicBezTo>
                  <a:pt x="4881" y="473"/>
                  <a:pt x="4870" y="485"/>
                  <a:pt x="4856" y="495"/>
                </a:cubicBezTo>
                <a:lnTo>
                  <a:pt x="4856" y="495"/>
                </a:lnTo>
                <a:cubicBezTo>
                  <a:pt x="4805" y="537"/>
                  <a:pt x="4732" y="560"/>
                  <a:pt x="4649" y="560"/>
                </a:cubicBezTo>
                <a:lnTo>
                  <a:pt x="4649" y="560"/>
                </a:lnTo>
                <a:cubicBezTo>
                  <a:pt x="4555" y="560"/>
                  <a:pt x="4479" y="533"/>
                  <a:pt x="4428" y="484"/>
                </a:cubicBezTo>
                <a:lnTo>
                  <a:pt x="4428" y="484"/>
                </a:lnTo>
                <a:cubicBezTo>
                  <a:pt x="4401" y="458"/>
                  <a:pt x="4382" y="427"/>
                  <a:pt x="4370" y="391"/>
                </a:cubicBezTo>
                <a:lnTo>
                  <a:pt x="4370" y="391"/>
                </a:lnTo>
                <a:cubicBezTo>
                  <a:pt x="4363" y="366"/>
                  <a:pt x="4358" y="340"/>
                  <a:pt x="4358" y="312"/>
                </a:cubicBezTo>
                <a:lnTo>
                  <a:pt x="4358" y="312"/>
                </a:lnTo>
                <a:cubicBezTo>
                  <a:pt x="4358" y="248"/>
                  <a:pt x="4387" y="154"/>
                  <a:pt x="4436" y="60"/>
                </a:cubicBezTo>
                <a:lnTo>
                  <a:pt x="4436" y="60"/>
                </a:lnTo>
                <a:cubicBezTo>
                  <a:pt x="4445" y="41"/>
                  <a:pt x="4449" y="21"/>
                  <a:pt x="4448" y="0"/>
                </a:cubicBezTo>
                <a:lnTo>
                  <a:pt x="564" y="0"/>
                </a:lnTo>
                <a:lnTo>
                  <a:pt x="564" y="1842"/>
                </a:lnTo>
                <a:lnTo>
                  <a:pt x="564" y="1842"/>
                </a:lnTo>
                <a:cubicBezTo>
                  <a:pt x="564" y="1842"/>
                  <a:pt x="563" y="1842"/>
                  <a:pt x="562" y="1842"/>
                </a:cubicBezTo>
                <a:lnTo>
                  <a:pt x="562" y="1842"/>
                </a:lnTo>
                <a:cubicBezTo>
                  <a:pt x="541" y="1844"/>
                  <a:pt x="519" y="1841"/>
                  <a:pt x="499" y="1830"/>
                </a:cubicBezTo>
                <a:lnTo>
                  <a:pt x="499" y="1830"/>
                </a:lnTo>
                <a:cubicBezTo>
                  <a:pt x="406" y="1782"/>
                  <a:pt x="312" y="1753"/>
                  <a:pt x="248" y="1753"/>
                </a:cubicBezTo>
                <a:lnTo>
                  <a:pt x="248" y="1753"/>
                </a:lnTo>
                <a:cubicBezTo>
                  <a:pt x="219" y="1753"/>
                  <a:pt x="193" y="1757"/>
                  <a:pt x="169" y="1765"/>
                </a:cubicBezTo>
                <a:lnTo>
                  <a:pt x="169" y="1765"/>
                </a:lnTo>
                <a:cubicBezTo>
                  <a:pt x="132" y="1776"/>
                  <a:pt x="101" y="1796"/>
                  <a:pt x="76" y="1823"/>
                </a:cubicBezTo>
                <a:lnTo>
                  <a:pt x="76" y="1823"/>
                </a:lnTo>
                <a:cubicBezTo>
                  <a:pt x="27" y="1874"/>
                  <a:pt x="0" y="1950"/>
                  <a:pt x="0" y="2044"/>
                </a:cubicBezTo>
                <a:lnTo>
                  <a:pt x="0" y="2044"/>
                </a:lnTo>
                <a:cubicBezTo>
                  <a:pt x="0" y="2126"/>
                  <a:pt x="22" y="2200"/>
                  <a:pt x="64" y="2251"/>
                </a:cubicBezTo>
                <a:lnTo>
                  <a:pt x="64" y="2251"/>
                </a:lnTo>
                <a:cubicBezTo>
                  <a:pt x="74" y="2264"/>
                  <a:pt x="87" y="2275"/>
                  <a:pt x="99" y="2286"/>
                </a:cubicBezTo>
                <a:lnTo>
                  <a:pt x="99" y="2286"/>
                </a:lnTo>
                <a:cubicBezTo>
                  <a:pt x="100" y="2286"/>
                  <a:pt x="100" y="2287"/>
                  <a:pt x="101" y="2288"/>
                </a:cubicBezTo>
                <a:lnTo>
                  <a:pt x="101" y="2288"/>
                </a:lnTo>
                <a:cubicBezTo>
                  <a:pt x="103" y="2289"/>
                  <a:pt x="105" y="2291"/>
                  <a:pt x="107" y="2292"/>
                </a:cubicBezTo>
                <a:lnTo>
                  <a:pt x="107" y="2292"/>
                </a:lnTo>
                <a:cubicBezTo>
                  <a:pt x="109" y="2293"/>
                  <a:pt x="110" y="2294"/>
                  <a:pt x="112" y="2296"/>
                </a:cubicBezTo>
                <a:lnTo>
                  <a:pt x="112" y="2296"/>
                </a:lnTo>
                <a:cubicBezTo>
                  <a:pt x="113" y="2296"/>
                  <a:pt x="115" y="2297"/>
                  <a:pt x="115" y="2297"/>
                </a:cubicBezTo>
                <a:lnTo>
                  <a:pt x="115" y="2297"/>
                </a:lnTo>
                <a:cubicBezTo>
                  <a:pt x="118" y="2299"/>
                  <a:pt x="121" y="2301"/>
                  <a:pt x="123" y="2302"/>
                </a:cubicBezTo>
                <a:lnTo>
                  <a:pt x="123" y="2302"/>
                </a:lnTo>
                <a:cubicBezTo>
                  <a:pt x="123" y="2302"/>
                  <a:pt x="124" y="2302"/>
                  <a:pt x="124" y="2303"/>
                </a:cubicBezTo>
                <a:lnTo>
                  <a:pt x="124" y="2303"/>
                </a:lnTo>
                <a:cubicBezTo>
                  <a:pt x="156" y="2321"/>
                  <a:pt x="192" y="2332"/>
                  <a:pt x="234" y="2334"/>
                </a:cubicBezTo>
                <a:lnTo>
                  <a:pt x="234" y="2334"/>
                </a:lnTo>
                <a:cubicBezTo>
                  <a:pt x="238" y="2334"/>
                  <a:pt x="243" y="2334"/>
                  <a:pt x="248" y="2334"/>
                </a:cubicBezTo>
                <a:lnTo>
                  <a:pt x="248" y="2334"/>
                </a:lnTo>
                <a:cubicBezTo>
                  <a:pt x="313" y="2334"/>
                  <a:pt x="407" y="2307"/>
                  <a:pt x="500" y="2261"/>
                </a:cubicBezTo>
                <a:lnTo>
                  <a:pt x="500" y="2261"/>
                </a:lnTo>
                <a:cubicBezTo>
                  <a:pt x="520" y="2252"/>
                  <a:pt x="541" y="2248"/>
                  <a:pt x="562" y="2250"/>
                </a:cubicBezTo>
                <a:lnTo>
                  <a:pt x="562" y="2250"/>
                </a:lnTo>
                <a:cubicBezTo>
                  <a:pt x="563" y="2250"/>
                  <a:pt x="564" y="2250"/>
                  <a:pt x="564" y="2250"/>
                </a:cubicBezTo>
                <a:lnTo>
                  <a:pt x="564" y="3884"/>
                </a:lnTo>
                <a:lnTo>
                  <a:pt x="8296" y="3884"/>
                </a:lnTo>
                <a:lnTo>
                  <a:pt x="8296" y="3884"/>
                </a:lnTo>
                <a:cubicBezTo>
                  <a:pt x="8761" y="3884"/>
                  <a:pt x="9138" y="3507"/>
                  <a:pt x="9138" y="3043"/>
                </a:cubicBezTo>
                <a:lnTo>
                  <a:pt x="9138" y="0"/>
                </a:lnTo>
                <a:lnTo>
                  <a:pt x="4855" y="0"/>
                </a:lnTo>
              </a:path>
            </a:pathLst>
          </a:custGeom>
          <a:solidFill>
            <a:schemeClr val="accent3"/>
          </a:solidFill>
          <a:ln>
            <a:noFill/>
          </a:ln>
          <a:effectLst/>
        </p:spPr>
        <p:txBody>
          <a:bodyPr wrap="none" anchor="ctr"/>
          <a:lstStyle/>
          <a:p>
            <a:endParaRPr lang="en-GB" sz="1600" dirty="0">
              <a:latin typeface="+mj-lt"/>
            </a:endParaRPr>
          </a:p>
        </p:txBody>
      </p:sp>
      <p:sp>
        <p:nvSpPr>
          <p:cNvPr id="51" name="TextBox 10">
            <a:extLst>
              <a:ext uri="{FF2B5EF4-FFF2-40B4-BE49-F238E27FC236}">
                <a16:creationId xmlns:a16="http://schemas.microsoft.com/office/drawing/2014/main" xmlns="" id="{08204C54-08A6-4036-84A4-496D285422AB}"/>
              </a:ext>
            </a:extLst>
          </p:cNvPr>
          <p:cNvSpPr txBox="1"/>
          <p:nvPr/>
        </p:nvSpPr>
        <p:spPr>
          <a:xfrm>
            <a:off x="5442991" y="2455024"/>
            <a:ext cx="1057084" cy="300339"/>
          </a:xfrm>
          <a:prstGeom prst="rect">
            <a:avLst/>
          </a:prstGeom>
          <a:noFill/>
        </p:spPr>
        <p:txBody>
          <a:bodyPr wrap="none" rtlCol="0" anchor="b">
            <a:spAutoFit/>
          </a:bodyPr>
          <a:lstStyle/>
          <a:p>
            <a:pPr>
              <a:lnSpc>
                <a:spcPts val="1620"/>
              </a:lnSpc>
            </a:pPr>
            <a:r>
              <a:rPr lang="en-GB" sz="1600" b="1" spc="-11">
                <a:solidFill>
                  <a:schemeClr val="bg1"/>
                </a:solidFill>
                <a:latin typeface="+mj-lt"/>
                <a:ea typeface="Source Sans Pro" panose="020B0503030403020204" pitchFamily="34" charset="0"/>
              </a:rPr>
              <a:t>Bandera amarilla</a:t>
            </a:r>
            <a:endParaRPr lang="en-GB" sz="1600" b="1" spc="-11" dirty="0">
              <a:solidFill>
                <a:schemeClr val="bg1"/>
              </a:solidFill>
              <a:latin typeface="+mj-lt"/>
              <a:ea typeface="Source Sans Pro" panose="020B0503030403020204" pitchFamily="34" charset="0"/>
            </a:endParaRPr>
          </a:p>
        </p:txBody>
      </p:sp>
      <p:sp>
        <p:nvSpPr>
          <p:cNvPr id="53" name="TextBox 12">
            <a:extLst>
              <a:ext uri="{FF2B5EF4-FFF2-40B4-BE49-F238E27FC236}">
                <a16:creationId xmlns:a16="http://schemas.microsoft.com/office/drawing/2014/main" xmlns="" id="{1FAACF7F-4D4D-412B-9859-687FD19F1867}"/>
              </a:ext>
            </a:extLst>
          </p:cNvPr>
          <p:cNvSpPr txBox="1"/>
          <p:nvPr/>
        </p:nvSpPr>
        <p:spPr>
          <a:xfrm>
            <a:off x="5442991" y="3662022"/>
            <a:ext cx="852221" cy="300339"/>
          </a:xfrm>
          <a:prstGeom prst="rect">
            <a:avLst/>
          </a:prstGeom>
          <a:noFill/>
        </p:spPr>
        <p:txBody>
          <a:bodyPr wrap="none" rtlCol="0" anchor="b">
            <a:spAutoFit/>
          </a:bodyPr>
          <a:lstStyle/>
          <a:p>
            <a:pPr>
              <a:lnSpc>
                <a:spcPts val="1620"/>
              </a:lnSpc>
            </a:pPr>
            <a:r>
              <a:rPr lang="en-GB" sz="1600" b="1" spc="-11">
                <a:solidFill>
                  <a:schemeClr val="bg1"/>
                </a:solidFill>
                <a:latin typeface="+mj-lt"/>
                <a:ea typeface="Source Sans Pro" panose="020B0503030403020204" pitchFamily="34" charset="0"/>
              </a:rPr>
              <a:t>Bandera Roja</a:t>
            </a:r>
            <a:endParaRPr lang="en-GB" sz="1600" b="1" spc="-11" dirty="0">
              <a:solidFill>
                <a:schemeClr val="bg1"/>
              </a:solidFill>
              <a:latin typeface="+mj-lt"/>
              <a:ea typeface="Source Sans Pro" panose="020B0503030403020204" pitchFamily="34" charset="0"/>
            </a:endParaRPr>
          </a:p>
        </p:txBody>
      </p:sp>
      <p:sp>
        <p:nvSpPr>
          <p:cNvPr id="55" name="TextBox 14">
            <a:extLst>
              <a:ext uri="{FF2B5EF4-FFF2-40B4-BE49-F238E27FC236}">
                <a16:creationId xmlns:a16="http://schemas.microsoft.com/office/drawing/2014/main" xmlns="" id="{4B8EE6F9-291E-4632-A020-5CC6712AF9BD}"/>
              </a:ext>
            </a:extLst>
          </p:cNvPr>
          <p:cNvSpPr txBox="1"/>
          <p:nvPr/>
        </p:nvSpPr>
        <p:spPr>
          <a:xfrm>
            <a:off x="7811098" y="2455024"/>
            <a:ext cx="915956" cy="300339"/>
          </a:xfrm>
          <a:prstGeom prst="rect">
            <a:avLst/>
          </a:prstGeom>
          <a:noFill/>
        </p:spPr>
        <p:txBody>
          <a:bodyPr wrap="none" rtlCol="0" anchor="b">
            <a:spAutoFit/>
          </a:bodyPr>
          <a:lstStyle/>
          <a:p>
            <a:pPr>
              <a:lnSpc>
                <a:spcPts val="1620"/>
              </a:lnSpc>
            </a:pPr>
            <a:r>
              <a:rPr lang="en-GB" sz="1600" b="1" spc="-11">
                <a:solidFill>
                  <a:schemeClr val="bg1"/>
                </a:solidFill>
                <a:latin typeface="+mj-lt"/>
                <a:ea typeface="Source Sans Pro" panose="020B0503030403020204" pitchFamily="34" charset="0"/>
              </a:rPr>
              <a:t>Estrella de Oro</a:t>
            </a:r>
            <a:endParaRPr lang="en-GB" sz="1600" b="1" spc="-11" dirty="0">
              <a:solidFill>
                <a:schemeClr val="bg1"/>
              </a:solidFill>
              <a:latin typeface="+mj-lt"/>
              <a:ea typeface="Source Sans Pro" panose="020B0503030403020204" pitchFamily="34" charset="0"/>
            </a:endParaRPr>
          </a:p>
        </p:txBody>
      </p:sp>
      <p:sp>
        <p:nvSpPr>
          <p:cNvPr id="57" name="TextBox 16">
            <a:extLst>
              <a:ext uri="{FF2B5EF4-FFF2-40B4-BE49-F238E27FC236}">
                <a16:creationId xmlns:a16="http://schemas.microsoft.com/office/drawing/2014/main" xmlns="" id="{C94BE0CE-DF8A-4092-8AFB-C67302644BD8}"/>
              </a:ext>
            </a:extLst>
          </p:cNvPr>
          <p:cNvSpPr txBox="1"/>
          <p:nvPr/>
        </p:nvSpPr>
        <p:spPr>
          <a:xfrm>
            <a:off x="7811098" y="3662022"/>
            <a:ext cx="943207" cy="300339"/>
          </a:xfrm>
          <a:prstGeom prst="rect">
            <a:avLst/>
          </a:prstGeom>
          <a:noFill/>
        </p:spPr>
        <p:txBody>
          <a:bodyPr wrap="none" rtlCol="0" anchor="b">
            <a:spAutoFit/>
          </a:bodyPr>
          <a:lstStyle/>
          <a:p>
            <a:pPr>
              <a:lnSpc>
                <a:spcPts val="1620"/>
              </a:lnSpc>
            </a:pPr>
            <a:r>
              <a:rPr lang="en-GB" sz="1600" b="1" spc="-11">
                <a:solidFill>
                  <a:schemeClr val="bg1"/>
                </a:solidFill>
                <a:latin typeface="+mj-lt"/>
                <a:ea typeface="Source Sans Pro" panose="020B0503030403020204" pitchFamily="34" charset="0"/>
              </a:rPr>
              <a:t>Disciplina</a:t>
            </a:r>
            <a:endParaRPr lang="en-GB" sz="1600" b="1" spc="-11" dirty="0">
              <a:solidFill>
                <a:schemeClr val="bg1"/>
              </a:solidFill>
              <a:latin typeface="+mj-lt"/>
              <a:ea typeface="Source Sans Pro" panose="020B0503030403020204" pitchFamily="34" charset="0"/>
            </a:endParaRPr>
          </a:p>
        </p:txBody>
      </p:sp>
      <p:sp>
        <p:nvSpPr>
          <p:cNvPr id="58" name="TextBox 84">
            <a:extLst>
              <a:ext uri="{FF2B5EF4-FFF2-40B4-BE49-F238E27FC236}">
                <a16:creationId xmlns:a16="http://schemas.microsoft.com/office/drawing/2014/main" xmlns="" id="{69D6EB75-F084-43F8-ADDE-2988F165164F}"/>
              </a:ext>
            </a:extLst>
          </p:cNvPr>
          <p:cNvSpPr txBox="1"/>
          <p:nvPr/>
        </p:nvSpPr>
        <p:spPr>
          <a:xfrm>
            <a:off x="4726742" y="1788291"/>
            <a:ext cx="5012340" cy="646331"/>
          </a:xfrm>
          <a:prstGeom prst="rect">
            <a:avLst/>
          </a:prstGeom>
          <a:noFill/>
        </p:spPr>
        <p:txBody>
          <a:bodyPr wrap="square" rtlCol="0">
            <a:spAutoFit/>
          </a:bodyPr>
          <a:lstStyle/>
          <a:p>
            <a:pPr algn="ctr"/>
            <a:r>
              <a:rPr lang="en-GB" b="1">
                <a:solidFill>
                  <a:schemeClr val="tx2"/>
                </a:solidFill>
                <a:latin typeface="+mj-lt"/>
                <a:ea typeface="Roboto" charset="0"/>
                <a:cs typeface="Roboto" charset="0"/>
              </a:rPr>
              <a:t>Importante</a:t>
            </a:r>
            <a:br>
              <a:rPr lang="en-GB" b="1">
                <a:solidFill>
                  <a:schemeClr val="tx2"/>
                </a:solidFill>
                <a:latin typeface="+mj-lt"/>
                <a:ea typeface="Roboto" charset="0"/>
                <a:cs typeface="Roboto" charset="0"/>
              </a:rPr>
            </a:br>
            <a:r>
              <a:rPr lang="en-GB">
                <a:solidFill>
                  <a:schemeClr val="tx2"/>
                </a:solidFill>
                <a:latin typeface="+mj-lt"/>
                <a:ea typeface="Roboto" charset="0"/>
                <a:cs typeface="Roboto" charset="0"/>
              </a:rPr>
              <a:t>Disfrutar de</a:t>
            </a:r>
            <a:endParaRPr lang="en-GB" b="1" dirty="0">
              <a:solidFill>
                <a:schemeClr val="tx2"/>
              </a:solidFill>
              <a:latin typeface="+mj-lt"/>
              <a:ea typeface="Roboto" charset="0"/>
              <a:cs typeface="Roboto" charset="0"/>
            </a:endParaRPr>
          </a:p>
        </p:txBody>
      </p:sp>
      <p:sp>
        <p:nvSpPr>
          <p:cNvPr id="59" name="TextBox 84">
            <a:extLst>
              <a:ext uri="{FF2B5EF4-FFF2-40B4-BE49-F238E27FC236}">
                <a16:creationId xmlns:a16="http://schemas.microsoft.com/office/drawing/2014/main" xmlns="" id="{E1C7C62C-74EE-4970-9900-5755FF1E9752}"/>
              </a:ext>
            </a:extLst>
          </p:cNvPr>
          <p:cNvSpPr txBox="1"/>
          <p:nvPr/>
        </p:nvSpPr>
        <p:spPr>
          <a:xfrm>
            <a:off x="4748798" y="4918962"/>
            <a:ext cx="5012340" cy="646331"/>
          </a:xfrm>
          <a:prstGeom prst="rect">
            <a:avLst/>
          </a:prstGeom>
          <a:noFill/>
        </p:spPr>
        <p:txBody>
          <a:bodyPr wrap="square" rtlCol="0">
            <a:spAutoFit/>
          </a:bodyPr>
          <a:lstStyle/>
          <a:p>
            <a:pPr algn="ctr"/>
            <a:r>
              <a:rPr lang="en-GB">
                <a:solidFill>
                  <a:schemeClr val="tx2"/>
                </a:solidFill>
                <a:latin typeface="+mj-lt"/>
                <a:ea typeface="Roboto" charset="0"/>
                <a:cs typeface="Roboto" charset="0"/>
              </a:rPr>
              <a:t>Despreciado</a:t>
            </a:r>
            <a:br>
              <a:rPr lang="en-GB">
                <a:solidFill>
                  <a:schemeClr val="tx2"/>
                </a:solidFill>
                <a:latin typeface="+mj-lt"/>
                <a:ea typeface="Roboto" charset="0"/>
                <a:cs typeface="Roboto" charset="0"/>
              </a:rPr>
            </a:br>
            <a:r>
              <a:rPr lang="en-GB" b="1">
                <a:solidFill>
                  <a:schemeClr val="tx2"/>
                </a:solidFill>
                <a:latin typeface="+mj-lt"/>
                <a:ea typeface="Roboto" charset="0"/>
                <a:cs typeface="Roboto" charset="0"/>
              </a:rPr>
              <a:t>Sin importancia</a:t>
            </a:r>
            <a:endParaRPr lang="en-GB" b="1" dirty="0">
              <a:solidFill>
                <a:schemeClr val="tx2"/>
              </a:solidFill>
              <a:latin typeface="+mj-lt"/>
              <a:ea typeface="Roboto" charset="0"/>
              <a:cs typeface="Roboto" charset="0"/>
            </a:endParaRPr>
          </a:p>
        </p:txBody>
      </p:sp>
      <p:sp>
        <p:nvSpPr>
          <p:cNvPr id="60" name="TextBox 84">
            <a:extLst>
              <a:ext uri="{FF2B5EF4-FFF2-40B4-BE49-F238E27FC236}">
                <a16:creationId xmlns:a16="http://schemas.microsoft.com/office/drawing/2014/main" xmlns="" id="{61107CB6-14FC-4155-A8F5-50AA0D1DADF3}"/>
              </a:ext>
            </a:extLst>
          </p:cNvPr>
          <p:cNvSpPr txBox="1"/>
          <p:nvPr/>
        </p:nvSpPr>
        <p:spPr>
          <a:xfrm rot="16200000">
            <a:off x="1973086" y="3474916"/>
            <a:ext cx="3096415" cy="369332"/>
          </a:xfrm>
          <a:prstGeom prst="rect">
            <a:avLst/>
          </a:prstGeom>
          <a:noFill/>
        </p:spPr>
        <p:txBody>
          <a:bodyPr wrap="square" rtlCol="0">
            <a:spAutoFit/>
          </a:bodyPr>
          <a:lstStyle/>
          <a:p>
            <a:pPr algn="ctr"/>
            <a:r>
              <a:rPr lang="en-GB">
                <a:solidFill>
                  <a:schemeClr val="tx2"/>
                </a:solidFill>
                <a:latin typeface="+mj-lt"/>
                <a:ea typeface="Roboto" charset="0"/>
                <a:cs typeface="Roboto" charset="0"/>
              </a:rPr>
              <a:t>Incapaz</a:t>
            </a:r>
            <a:endParaRPr lang="en-GB" b="1" dirty="0">
              <a:solidFill>
                <a:schemeClr val="tx2"/>
              </a:solidFill>
              <a:latin typeface="+mj-lt"/>
              <a:ea typeface="Roboto" charset="0"/>
              <a:cs typeface="Roboto" charset="0"/>
            </a:endParaRPr>
          </a:p>
        </p:txBody>
      </p:sp>
      <p:sp>
        <p:nvSpPr>
          <p:cNvPr id="61" name="TextBox 84">
            <a:extLst>
              <a:ext uri="{FF2B5EF4-FFF2-40B4-BE49-F238E27FC236}">
                <a16:creationId xmlns:a16="http://schemas.microsoft.com/office/drawing/2014/main" xmlns="" id="{06B1490A-4DB4-4D57-A9F0-64E64651572D}"/>
              </a:ext>
            </a:extLst>
          </p:cNvPr>
          <p:cNvSpPr txBox="1"/>
          <p:nvPr/>
        </p:nvSpPr>
        <p:spPr>
          <a:xfrm rot="5400000">
            <a:off x="9404024" y="3458739"/>
            <a:ext cx="3096415" cy="369332"/>
          </a:xfrm>
          <a:prstGeom prst="rect">
            <a:avLst/>
          </a:prstGeom>
          <a:noFill/>
        </p:spPr>
        <p:txBody>
          <a:bodyPr wrap="square" rtlCol="0">
            <a:spAutoFit/>
          </a:bodyPr>
          <a:lstStyle/>
          <a:p>
            <a:pPr algn="ctr"/>
            <a:r>
              <a:rPr lang="en-GB">
                <a:solidFill>
                  <a:schemeClr val="tx2"/>
                </a:solidFill>
                <a:latin typeface="+mj-lt"/>
                <a:ea typeface="Roboto" charset="0"/>
                <a:cs typeface="Roboto" charset="0"/>
              </a:rPr>
              <a:t>Capaz</a:t>
            </a:r>
            <a:endParaRPr lang="en-GB" b="1" dirty="0">
              <a:solidFill>
                <a:schemeClr val="tx2"/>
              </a:solidFill>
              <a:latin typeface="+mj-lt"/>
              <a:ea typeface="Roboto" charset="0"/>
              <a:cs typeface="Roboto" charset="0"/>
            </a:endParaRPr>
          </a:p>
        </p:txBody>
      </p:sp>
      <p:sp>
        <p:nvSpPr>
          <p:cNvPr id="6" name="Ellipse 5">
            <a:extLst>
              <a:ext uri="{FF2B5EF4-FFF2-40B4-BE49-F238E27FC236}">
                <a16:creationId xmlns:a16="http://schemas.microsoft.com/office/drawing/2014/main" xmlns="" id="{48E142DF-162A-44B5-8C7D-A7131E58B9A0}"/>
              </a:ext>
            </a:extLst>
          </p:cNvPr>
          <p:cNvSpPr/>
          <p:nvPr/>
        </p:nvSpPr>
        <p:spPr>
          <a:xfrm>
            <a:off x="6773428" y="5680943"/>
            <a:ext cx="876637" cy="837397"/>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TextBox 84">
            <a:extLst>
              <a:ext uri="{FF2B5EF4-FFF2-40B4-BE49-F238E27FC236}">
                <a16:creationId xmlns:a16="http://schemas.microsoft.com/office/drawing/2014/main" xmlns="" id="{707B9D45-C092-4BE1-B4DD-E2FE3191DB62}"/>
              </a:ext>
            </a:extLst>
          </p:cNvPr>
          <p:cNvSpPr txBox="1"/>
          <p:nvPr/>
        </p:nvSpPr>
        <p:spPr>
          <a:xfrm>
            <a:off x="5352965" y="5913042"/>
            <a:ext cx="5012340" cy="369332"/>
          </a:xfrm>
          <a:prstGeom prst="rect">
            <a:avLst/>
          </a:prstGeom>
          <a:noFill/>
        </p:spPr>
        <p:txBody>
          <a:bodyPr wrap="square" rtlCol="0">
            <a:spAutoFit/>
          </a:bodyPr>
          <a:lstStyle/>
          <a:p>
            <a:r>
              <a:rPr lang="en-GB" b="1">
                <a:solidFill>
                  <a:schemeClr val="tx2"/>
                </a:solidFill>
                <a:latin typeface="+mj-lt"/>
                <a:ea typeface="Roboto" charset="0"/>
                <a:cs typeface="Roboto" charset="0"/>
              </a:rPr>
              <a:t>Agujero negro</a:t>
            </a:r>
            <a:endParaRPr lang="en-GB" b="1" dirty="0">
              <a:solidFill>
                <a:schemeClr val="tx2"/>
              </a:solidFill>
              <a:latin typeface="+mj-lt"/>
              <a:ea typeface="Roboto" charset="0"/>
              <a:cs typeface="Roboto" charset="0"/>
            </a:endParaRPr>
          </a:p>
        </p:txBody>
      </p:sp>
      <p:sp>
        <p:nvSpPr>
          <p:cNvPr id="63" name="Freeform 114">
            <a:extLst>
              <a:ext uri="{FF2B5EF4-FFF2-40B4-BE49-F238E27FC236}">
                <a16:creationId xmlns:a16="http://schemas.microsoft.com/office/drawing/2014/main" xmlns="" id="{A8A950DE-F177-4870-B95D-8448EDDFC379}"/>
              </a:ext>
            </a:extLst>
          </p:cNvPr>
          <p:cNvSpPr>
            <a:spLocks noChangeArrowheads="1"/>
          </p:cNvSpPr>
          <p:nvPr/>
        </p:nvSpPr>
        <p:spPr bwMode="auto">
          <a:xfrm>
            <a:off x="4040532" y="3928737"/>
            <a:ext cx="935514" cy="792099"/>
          </a:xfrm>
          <a:custGeom>
            <a:avLst/>
            <a:gdLst>
              <a:gd name="T0" fmla="*/ 443 w 462"/>
              <a:gd name="T1" fmla="*/ 301 h 488"/>
              <a:gd name="T2" fmla="*/ 443 w 462"/>
              <a:gd name="T3" fmla="*/ 301 h 488"/>
              <a:gd name="T4" fmla="*/ 408 w 462"/>
              <a:gd name="T5" fmla="*/ 266 h 488"/>
              <a:gd name="T6" fmla="*/ 408 w 462"/>
              <a:gd name="T7" fmla="*/ 221 h 488"/>
              <a:gd name="T8" fmla="*/ 443 w 462"/>
              <a:gd name="T9" fmla="*/ 186 h 488"/>
              <a:gd name="T10" fmla="*/ 443 w 462"/>
              <a:gd name="T11" fmla="*/ 160 h 488"/>
              <a:gd name="T12" fmla="*/ 381 w 462"/>
              <a:gd name="T13" fmla="*/ 151 h 488"/>
              <a:gd name="T14" fmla="*/ 364 w 462"/>
              <a:gd name="T15" fmla="*/ 124 h 488"/>
              <a:gd name="T16" fmla="*/ 390 w 462"/>
              <a:gd name="T17" fmla="*/ 36 h 488"/>
              <a:gd name="T18" fmla="*/ 381 w 462"/>
              <a:gd name="T19" fmla="*/ 27 h 488"/>
              <a:gd name="T20" fmla="*/ 311 w 462"/>
              <a:gd name="T21" fmla="*/ 71 h 488"/>
              <a:gd name="T22" fmla="*/ 267 w 462"/>
              <a:gd name="T23" fmla="*/ 53 h 488"/>
              <a:gd name="T24" fmla="*/ 248 w 462"/>
              <a:gd name="T25" fmla="*/ 17 h 488"/>
              <a:gd name="T26" fmla="*/ 213 w 462"/>
              <a:gd name="T27" fmla="*/ 17 h 488"/>
              <a:gd name="T28" fmla="*/ 195 w 462"/>
              <a:gd name="T29" fmla="*/ 53 h 488"/>
              <a:gd name="T30" fmla="*/ 151 w 462"/>
              <a:gd name="T31" fmla="*/ 71 h 488"/>
              <a:gd name="T32" fmla="*/ 116 w 462"/>
              <a:gd name="T33" fmla="*/ 53 h 488"/>
              <a:gd name="T34" fmla="*/ 89 w 462"/>
              <a:gd name="T35" fmla="*/ 71 h 488"/>
              <a:gd name="T36" fmla="*/ 89 w 462"/>
              <a:gd name="T37" fmla="*/ 106 h 488"/>
              <a:gd name="T38" fmla="*/ 63 w 462"/>
              <a:gd name="T39" fmla="*/ 142 h 488"/>
              <a:gd name="T40" fmla="*/ 18 w 462"/>
              <a:gd name="T41" fmla="*/ 160 h 488"/>
              <a:gd name="T42" fmla="*/ 18 w 462"/>
              <a:gd name="T43" fmla="*/ 186 h 488"/>
              <a:gd name="T44" fmla="*/ 63 w 462"/>
              <a:gd name="T45" fmla="*/ 221 h 488"/>
              <a:gd name="T46" fmla="*/ 63 w 462"/>
              <a:gd name="T47" fmla="*/ 266 h 488"/>
              <a:gd name="T48" fmla="*/ 18 w 462"/>
              <a:gd name="T49" fmla="*/ 301 h 488"/>
              <a:gd name="T50" fmla="*/ 27 w 462"/>
              <a:gd name="T51" fmla="*/ 319 h 488"/>
              <a:gd name="T52" fmla="*/ 71 w 462"/>
              <a:gd name="T53" fmla="*/ 328 h 488"/>
              <a:gd name="T54" fmla="*/ 98 w 462"/>
              <a:gd name="T55" fmla="*/ 364 h 488"/>
              <a:gd name="T56" fmla="*/ 71 w 462"/>
              <a:gd name="T57" fmla="*/ 443 h 488"/>
              <a:gd name="T58" fmla="*/ 89 w 462"/>
              <a:gd name="T59" fmla="*/ 461 h 488"/>
              <a:gd name="T60" fmla="*/ 142 w 462"/>
              <a:gd name="T61" fmla="*/ 425 h 488"/>
              <a:gd name="T62" fmla="*/ 186 w 462"/>
              <a:gd name="T63" fmla="*/ 434 h 488"/>
              <a:gd name="T64" fmla="*/ 213 w 462"/>
              <a:gd name="T65" fmla="*/ 470 h 488"/>
              <a:gd name="T66" fmla="*/ 248 w 462"/>
              <a:gd name="T67" fmla="*/ 470 h 488"/>
              <a:gd name="T68" fmla="*/ 267 w 462"/>
              <a:gd name="T69" fmla="*/ 425 h 488"/>
              <a:gd name="T70" fmla="*/ 311 w 462"/>
              <a:gd name="T71" fmla="*/ 408 h 488"/>
              <a:gd name="T72" fmla="*/ 355 w 462"/>
              <a:gd name="T73" fmla="*/ 434 h 488"/>
              <a:gd name="T74" fmla="*/ 373 w 462"/>
              <a:gd name="T75" fmla="*/ 417 h 488"/>
              <a:gd name="T76" fmla="*/ 373 w 462"/>
              <a:gd name="T77" fmla="*/ 372 h 488"/>
              <a:gd name="T78" fmla="*/ 399 w 462"/>
              <a:gd name="T79" fmla="*/ 337 h 488"/>
              <a:gd name="T80" fmla="*/ 443 w 462"/>
              <a:gd name="T81" fmla="*/ 328 h 488"/>
              <a:gd name="T82" fmla="*/ 443 w 462"/>
              <a:gd name="T83" fmla="*/ 301 h 488"/>
              <a:gd name="T84" fmla="*/ 257 w 462"/>
              <a:gd name="T85" fmla="*/ 346 h 488"/>
              <a:gd name="T86" fmla="*/ 257 w 462"/>
              <a:gd name="T87" fmla="*/ 346 h 488"/>
              <a:gd name="T88" fmla="*/ 204 w 462"/>
              <a:gd name="T89" fmla="*/ 346 h 488"/>
              <a:gd name="T90" fmla="*/ 204 w 462"/>
              <a:gd name="T91" fmla="*/ 292 h 488"/>
              <a:gd name="T92" fmla="*/ 257 w 462"/>
              <a:gd name="T93" fmla="*/ 292 h 488"/>
              <a:gd name="T94" fmla="*/ 257 w 462"/>
              <a:gd name="T95" fmla="*/ 346 h 488"/>
              <a:gd name="T96" fmla="*/ 257 w 462"/>
              <a:gd name="T97" fmla="*/ 266 h 488"/>
              <a:gd name="T98" fmla="*/ 257 w 462"/>
              <a:gd name="T99" fmla="*/ 266 h 488"/>
              <a:gd name="T100" fmla="*/ 204 w 462"/>
              <a:gd name="T101" fmla="*/ 266 h 488"/>
              <a:gd name="T102" fmla="*/ 204 w 462"/>
              <a:gd name="T103" fmla="*/ 133 h 488"/>
              <a:gd name="T104" fmla="*/ 257 w 462"/>
              <a:gd name="T105" fmla="*/ 133 h 488"/>
              <a:gd name="T106" fmla="*/ 257 w 462"/>
              <a:gd name="T107" fmla="*/ 266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2" h="488">
                <a:moveTo>
                  <a:pt x="443" y="301"/>
                </a:moveTo>
                <a:lnTo>
                  <a:pt x="443" y="301"/>
                </a:lnTo>
                <a:cubicBezTo>
                  <a:pt x="408" y="266"/>
                  <a:pt x="408" y="266"/>
                  <a:pt x="408" y="266"/>
                </a:cubicBezTo>
                <a:cubicBezTo>
                  <a:pt x="390" y="248"/>
                  <a:pt x="390" y="230"/>
                  <a:pt x="408" y="221"/>
                </a:cubicBezTo>
                <a:cubicBezTo>
                  <a:pt x="443" y="186"/>
                  <a:pt x="443" y="186"/>
                  <a:pt x="443" y="186"/>
                </a:cubicBezTo>
                <a:cubicBezTo>
                  <a:pt x="461" y="168"/>
                  <a:pt x="452" y="160"/>
                  <a:pt x="443" y="160"/>
                </a:cubicBezTo>
                <a:cubicBezTo>
                  <a:pt x="381" y="151"/>
                  <a:pt x="381" y="151"/>
                  <a:pt x="381" y="151"/>
                </a:cubicBezTo>
                <a:cubicBezTo>
                  <a:pt x="364" y="151"/>
                  <a:pt x="355" y="142"/>
                  <a:pt x="364" y="124"/>
                </a:cubicBezTo>
                <a:cubicBezTo>
                  <a:pt x="390" y="36"/>
                  <a:pt x="390" y="36"/>
                  <a:pt x="390" y="36"/>
                </a:cubicBezTo>
                <a:cubicBezTo>
                  <a:pt x="399" y="27"/>
                  <a:pt x="390" y="17"/>
                  <a:pt x="381" y="27"/>
                </a:cubicBezTo>
                <a:cubicBezTo>
                  <a:pt x="311" y="71"/>
                  <a:pt x="311" y="71"/>
                  <a:pt x="311" y="71"/>
                </a:cubicBezTo>
                <a:cubicBezTo>
                  <a:pt x="292" y="80"/>
                  <a:pt x="275" y="71"/>
                  <a:pt x="267" y="53"/>
                </a:cubicBezTo>
                <a:cubicBezTo>
                  <a:pt x="248" y="17"/>
                  <a:pt x="248" y="17"/>
                  <a:pt x="248" y="17"/>
                </a:cubicBezTo>
                <a:cubicBezTo>
                  <a:pt x="239" y="0"/>
                  <a:pt x="222" y="0"/>
                  <a:pt x="213" y="17"/>
                </a:cubicBezTo>
                <a:cubicBezTo>
                  <a:pt x="195" y="53"/>
                  <a:pt x="195" y="53"/>
                  <a:pt x="195" y="53"/>
                </a:cubicBezTo>
                <a:cubicBezTo>
                  <a:pt x="186" y="71"/>
                  <a:pt x="169" y="71"/>
                  <a:pt x="151" y="71"/>
                </a:cubicBezTo>
                <a:cubicBezTo>
                  <a:pt x="116" y="53"/>
                  <a:pt x="116" y="53"/>
                  <a:pt x="116" y="53"/>
                </a:cubicBezTo>
                <a:cubicBezTo>
                  <a:pt x="98" y="45"/>
                  <a:pt x="80" y="53"/>
                  <a:pt x="89" y="71"/>
                </a:cubicBezTo>
                <a:cubicBezTo>
                  <a:pt x="89" y="106"/>
                  <a:pt x="89" y="106"/>
                  <a:pt x="89" y="106"/>
                </a:cubicBezTo>
                <a:cubicBezTo>
                  <a:pt x="89" y="124"/>
                  <a:pt x="80" y="142"/>
                  <a:pt x="63" y="142"/>
                </a:cubicBezTo>
                <a:cubicBezTo>
                  <a:pt x="18" y="160"/>
                  <a:pt x="18" y="160"/>
                  <a:pt x="18" y="160"/>
                </a:cubicBezTo>
                <a:cubicBezTo>
                  <a:pt x="9" y="160"/>
                  <a:pt x="0" y="168"/>
                  <a:pt x="18" y="186"/>
                </a:cubicBezTo>
                <a:cubicBezTo>
                  <a:pt x="63" y="221"/>
                  <a:pt x="63" y="221"/>
                  <a:pt x="63" y="221"/>
                </a:cubicBezTo>
                <a:cubicBezTo>
                  <a:pt x="71" y="230"/>
                  <a:pt x="71" y="248"/>
                  <a:pt x="63" y="266"/>
                </a:cubicBezTo>
                <a:cubicBezTo>
                  <a:pt x="18" y="301"/>
                  <a:pt x="18" y="301"/>
                  <a:pt x="18" y="301"/>
                </a:cubicBezTo>
                <a:cubicBezTo>
                  <a:pt x="0" y="311"/>
                  <a:pt x="9" y="319"/>
                  <a:pt x="27" y="319"/>
                </a:cubicBezTo>
                <a:cubicBezTo>
                  <a:pt x="71" y="328"/>
                  <a:pt x="71" y="328"/>
                  <a:pt x="71" y="328"/>
                </a:cubicBezTo>
                <a:cubicBezTo>
                  <a:pt x="89" y="328"/>
                  <a:pt x="98" y="346"/>
                  <a:pt x="98" y="364"/>
                </a:cubicBezTo>
                <a:cubicBezTo>
                  <a:pt x="71" y="443"/>
                  <a:pt x="71" y="443"/>
                  <a:pt x="71" y="443"/>
                </a:cubicBezTo>
                <a:cubicBezTo>
                  <a:pt x="63" y="461"/>
                  <a:pt x="71" y="461"/>
                  <a:pt x="89" y="461"/>
                </a:cubicBezTo>
                <a:cubicBezTo>
                  <a:pt x="142" y="425"/>
                  <a:pt x="142" y="425"/>
                  <a:pt x="142" y="425"/>
                </a:cubicBezTo>
                <a:cubicBezTo>
                  <a:pt x="160" y="417"/>
                  <a:pt x="177" y="417"/>
                  <a:pt x="186" y="434"/>
                </a:cubicBezTo>
                <a:cubicBezTo>
                  <a:pt x="213" y="470"/>
                  <a:pt x="213" y="470"/>
                  <a:pt x="213" y="470"/>
                </a:cubicBezTo>
                <a:cubicBezTo>
                  <a:pt x="222" y="487"/>
                  <a:pt x="239" y="478"/>
                  <a:pt x="248" y="470"/>
                </a:cubicBezTo>
                <a:cubicBezTo>
                  <a:pt x="267" y="425"/>
                  <a:pt x="267" y="425"/>
                  <a:pt x="267" y="425"/>
                </a:cubicBezTo>
                <a:cubicBezTo>
                  <a:pt x="275" y="408"/>
                  <a:pt x="292" y="408"/>
                  <a:pt x="311" y="408"/>
                </a:cubicBezTo>
                <a:cubicBezTo>
                  <a:pt x="355" y="434"/>
                  <a:pt x="355" y="434"/>
                  <a:pt x="355" y="434"/>
                </a:cubicBezTo>
                <a:cubicBezTo>
                  <a:pt x="364" y="443"/>
                  <a:pt x="381" y="434"/>
                  <a:pt x="373" y="417"/>
                </a:cubicBezTo>
                <a:cubicBezTo>
                  <a:pt x="373" y="372"/>
                  <a:pt x="373" y="372"/>
                  <a:pt x="373" y="372"/>
                </a:cubicBezTo>
                <a:cubicBezTo>
                  <a:pt x="373" y="364"/>
                  <a:pt x="390" y="346"/>
                  <a:pt x="399" y="337"/>
                </a:cubicBezTo>
                <a:cubicBezTo>
                  <a:pt x="443" y="328"/>
                  <a:pt x="443" y="328"/>
                  <a:pt x="443" y="328"/>
                </a:cubicBezTo>
                <a:cubicBezTo>
                  <a:pt x="452" y="319"/>
                  <a:pt x="461" y="311"/>
                  <a:pt x="443" y="301"/>
                </a:cubicBezTo>
                <a:close/>
                <a:moveTo>
                  <a:pt x="257" y="346"/>
                </a:moveTo>
                <a:lnTo>
                  <a:pt x="257" y="346"/>
                </a:lnTo>
                <a:cubicBezTo>
                  <a:pt x="204" y="346"/>
                  <a:pt x="204" y="346"/>
                  <a:pt x="204" y="346"/>
                </a:cubicBezTo>
                <a:cubicBezTo>
                  <a:pt x="204" y="292"/>
                  <a:pt x="204" y="292"/>
                  <a:pt x="204" y="292"/>
                </a:cubicBezTo>
                <a:cubicBezTo>
                  <a:pt x="257" y="292"/>
                  <a:pt x="257" y="292"/>
                  <a:pt x="257" y="292"/>
                </a:cubicBezTo>
                <a:lnTo>
                  <a:pt x="257" y="346"/>
                </a:lnTo>
                <a:close/>
                <a:moveTo>
                  <a:pt x="257" y="266"/>
                </a:moveTo>
                <a:lnTo>
                  <a:pt x="257" y="266"/>
                </a:lnTo>
                <a:cubicBezTo>
                  <a:pt x="204" y="266"/>
                  <a:pt x="204" y="266"/>
                  <a:pt x="204" y="266"/>
                </a:cubicBezTo>
                <a:cubicBezTo>
                  <a:pt x="204" y="133"/>
                  <a:pt x="204" y="133"/>
                  <a:pt x="204" y="133"/>
                </a:cubicBezTo>
                <a:cubicBezTo>
                  <a:pt x="257" y="133"/>
                  <a:pt x="257" y="133"/>
                  <a:pt x="257" y="133"/>
                </a:cubicBezTo>
                <a:lnTo>
                  <a:pt x="257" y="266"/>
                </a:lnTo>
                <a:close/>
              </a:path>
            </a:pathLst>
          </a:custGeom>
          <a:solidFill>
            <a:schemeClr val="bg1"/>
          </a:solidFill>
          <a:ln>
            <a:noFill/>
          </a:ln>
          <a:effectLst/>
        </p:spPr>
        <p:txBody>
          <a:bodyPr wrap="none" lIns="91424" tIns="45712" rIns="91424" bIns="45712" anchor="ctr"/>
          <a:lstStyle/>
          <a:p>
            <a:pPr defTabSz="1218987" fontAlgn="auto">
              <a:spcBef>
                <a:spcPts val="0"/>
              </a:spcBef>
              <a:spcAft>
                <a:spcPts val="0"/>
              </a:spcAft>
              <a:defRPr/>
            </a:pPr>
            <a:endParaRPr lang="en-GB" sz="1600" dirty="0">
              <a:latin typeface="+mn-lt"/>
              <a:ea typeface="+mn-ea"/>
            </a:endParaRPr>
          </a:p>
        </p:txBody>
      </p:sp>
      <p:sp>
        <p:nvSpPr>
          <p:cNvPr id="64" name="Freeform 102">
            <a:extLst>
              <a:ext uri="{FF2B5EF4-FFF2-40B4-BE49-F238E27FC236}">
                <a16:creationId xmlns:a16="http://schemas.microsoft.com/office/drawing/2014/main" xmlns="" id="{321D3145-CBB3-4E33-B29D-88569C7CC047}"/>
              </a:ext>
            </a:extLst>
          </p:cNvPr>
          <p:cNvSpPr>
            <a:spLocks noChangeArrowheads="1"/>
          </p:cNvSpPr>
          <p:nvPr/>
        </p:nvSpPr>
        <p:spPr bwMode="auto">
          <a:xfrm>
            <a:off x="9412139" y="3948351"/>
            <a:ext cx="923883" cy="716614"/>
          </a:xfrm>
          <a:custGeom>
            <a:avLst/>
            <a:gdLst>
              <a:gd name="T0" fmla="*/ 80 w 498"/>
              <a:gd name="T1" fmla="*/ 151 h 445"/>
              <a:gd name="T2" fmla="*/ 80 w 498"/>
              <a:gd name="T3" fmla="*/ 151 h 445"/>
              <a:gd name="T4" fmla="*/ 142 w 498"/>
              <a:gd name="T5" fmla="*/ 169 h 445"/>
              <a:gd name="T6" fmla="*/ 151 w 498"/>
              <a:gd name="T7" fmla="*/ 169 h 445"/>
              <a:gd name="T8" fmla="*/ 195 w 498"/>
              <a:gd name="T9" fmla="*/ 134 h 445"/>
              <a:gd name="T10" fmla="*/ 195 w 498"/>
              <a:gd name="T11" fmla="*/ 125 h 445"/>
              <a:gd name="T12" fmla="*/ 178 w 498"/>
              <a:gd name="T13" fmla="*/ 107 h 445"/>
              <a:gd name="T14" fmla="*/ 275 w 498"/>
              <a:gd name="T15" fmla="*/ 10 h 445"/>
              <a:gd name="T16" fmla="*/ 195 w 498"/>
              <a:gd name="T17" fmla="*/ 0 h 445"/>
              <a:gd name="T18" fmla="*/ 107 w 498"/>
              <a:gd name="T19" fmla="*/ 54 h 445"/>
              <a:gd name="T20" fmla="*/ 72 w 498"/>
              <a:gd name="T21" fmla="*/ 81 h 445"/>
              <a:gd name="T22" fmla="*/ 53 w 498"/>
              <a:gd name="T23" fmla="*/ 116 h 445"/>
              <a:gd name="T24" fmla="*/ 18 w 498"/>
              <a:gd name="T25" fmla="*/ 125 h 445"/>
              <a:gd name="T26" fmla="*/ 0 w 498"/>
              <a:gd name="T27" fmla="*/ 143 h 445"/>
              <a:gd name="T28" fmla="*/ 0 w 498"/>
              <a:gd name="T29" fmla="*/ 151 h 445"/>
              <a:gd name="T30" fmla="*/ 36 w 498"/>
              <a:gd name="T31" fmla="*/ 187 h 445"/>
              <a:gd name="T32" fmla="*/ 53 w 498"/>
              <a:gd name="T33" fmla="*/ 196 h 445"/>
              <a:gd name="T34" fmla="*/ 72 w 498"/>
              <a:gd name="T35" fmla="*/ 178 h 445"/>
              <a:gd name="T36" fmla="*/ 80 w 498"/>
              <a:gd name="T37" fmla="*/ 151 h 445"/>
              <a:gd name="T38" fmla="*/ 222 w 498"/>
              <a:gd name="T39" fmla="*/ 160 h 445"/>
              <a:gd name="T40" fmla="*/ 222 w 498"/>
              <a:gd name="T41" fmla="*/ 160 h 445"/>
              <a:gd name="T42" fmla="*/ 213 w 498"/>
              <a:gd name="T43" fmla="*/ 160 h 445"/>
              <a:gd name="T44" fmla="*/ 178 w 498"/>
              <a:gd name="T45" fmla="*/ 187 h 445"/>
              <a:gd name="T46" fmla="*/ 169 w 498"/>
              <a:gd name="T47" fmla="*/ 204 h 445"/>
              <a:gd name="T48" fmla="*/ 381 w 498"/>
              <a:gd name="T49" fmla="*/ 435 h 445"/>
              <a:gd name="T50" fmla="*/ 399 w 498"/>
              <a:gd name="T51" fmla="*/ 435 h 445"/>
              <a:gd name="T52" fmla="*/ 426 w 498"/>
              <a:gd name="T53" fmla="*/ 417 h 445"/>
              <a:gd name="T54" fmla="*/ 426 w 498"/>
              <a:gd name="T55" fmla="*/ 400 h 445"/>
              <a:gd name="T56" fmla="*/ 222 w 498"/>
              <a:gd name="T57" fmla="*/ 160 h 445"/>
              <a:gd name="T58" fmla="*/ 497 w 498"/>
              <a:gd name="T59" fmla="*/ 63 h 445"/>
              <a:gd name="T60" fmla="*/ 497 w 498"/>
              <a:gd name="T61" fmla="*/ 63 h 445"/>
              <a:gd name="T62" fmla="*/ 479 w 498"/>
              <a:gd name="T63" fmla="*/ 54 h 445"/>
              <a:gd name="T64" fmla="*/ 461 w 498"/>
              <a:gd name="T65" fmla="*/ 89 h 445"/>
              <a:gd name="T66" fmla="*/ 408 w 498"/>
              <a:gd name="T67" fmla="*/ 107 h 445"/>
              <a:gd name="T68" fmla="*/ 399 w 498"/>
              <a:gd name="T69" fmla="*/ 63 h 445"/>
              <a:gd name="T70" fmla="*/ 417 w 498"/>
              <a:gd name="T71" fmla="*/ 19 h 445"/>
              <a:gd name="T72" fmla="*/ 408 w 498"/>
              <a:gd name="T73" fmla="*/ 10 h 445"/>
              <a:gd name="T74" fmla="*/ 337 w 498"/>
              <a:gd name="T75" fmla="*/ 72 h 445"/>
              <a:gd name="T76" fmla="*/ 319 w 498"/>
              <a:gd name="T77" fmla="*/ 151 h 445"/>
              <a:gd name="T78" fmla="*/ 284 w 498"/>
              <a:gd name="T79" fmla="*/ 187 h 445"/>
              <a:gd name="T80" fmla="*/ 319 w 498"/>
              <a:gd name="T81" fmla="*/ 231 h 445"/>
              <a:gd name="T82" fmla="*/ 364 w 498"/>
              <a:gd name="T83" fmla="*/ 187 h 445"/>
              <a:gd name="T84" fmla="*/ 408 w 498"/>
              <a:gd name="T85" fmla="*/ 178 h 445"/>
              <a:gd name="T86" fmla="*/ 488 w 498"/>
              <a:gd name="T87" fmla="*/ 143 h 445"/>
              <a:gd name="T88" fmla="*/ 497 w 498"/>
              <a:gd name="T89" fmla="*/ 63 h 445"/>
              <a:gd name="T90" fmla="*/ 72 w 498"/>
              <a:gd name="T91" fmla="*/ 400 h 445"/>
              <a:gd name="T92" fmla="*/ 72 w 498"/>
              <a:gd name="T93" fmla="*/ 400 h 445"/>
              <a:gd name="T94" fmla="*/ 72 w 498"/>
              <a:gd name="T95" fmla="*/ 417 h 445"/>
              <a:gd name="T96" fmla="*/ 89 w 498"/>
              <a:gd name="T97" fmla="*/ 444 h 445"/>
              <a:gd name="T98" fmla="*/ 107 w 498"/>
              <a:gd name="T99" fmla="*/ 435 h 445"/>
              <a:gd name="T100" fmla="*/ 231 w 498"/>
              <a:gd name="T101" fmla="*/ 320 h 445"/>
              <a:gd name="T102" fmla="*/ 195 w 498"/>
              <a:gd name="T103" fmla="*/ 275 h 445"/>
              <a:gd name="T104" fmla="*/ 72 w 498"/>
              <a:gd name="T105" fmla="*/ 40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8" h="445">
                <a:moveTo>
                  <a:pt x="80" y="151"/>
                </a:moveTo>
                <a:lnTo>
                  <a:pt x="80" y="151"/>
                </a:lnTo>
                <a:cubicBezTo>
                  <a:pt x="97" y="134"/>
                  <a:pt x="116" y="143"/>
                  <a:pt x="142" y="169"/>
                </a:cubicBezTo>
                <a:cubicBezTo>
                  <a:pt x="151" y="178"/>
                  <a:pt x="151" y="169"/>
                  <a:pt x="151" y="169"/>
                </a:cubicBezTo>
                <a:cubicBezTo>
                  <a:pt x="160" y="169"/>
                  <a:pt x="186" y="134"/>
                  <a:pt x="195" y="134"/>
                </a:cubicBezTo>
                <a:cubicBezTo>
                  <a:pt x="195" y="134"/>
                  <a:pt x="195" y="134"/>
                  <a:pt x="195" y="125"/>
                </a:cubicBezTo>
                <a:cubicBezTo>
                  <a:pt x="186" y="125"/>
                  <a:pt x="178" y="116"/>
                  <a:pt x="178" y="107"/>
                </a:cubicBezTo>
                <a:cubicBezTo>
                  <a:pt x="133" y="45"/>
                  <a:pt x="301" y="10"/>
                  <a:pt x="275" y="10"/>
                </a:cubicBezTo>
                <a:cubicBezTo>
                  <a:pt x="257" y="0"/>
                  <a:pt x="204" y="0"/>
                  <a:pt x="195" y="0"/>
                </a:cubicBezTo>
                <a:cubicBezTo>
                  <a:pt x="169" y="10"/>
                  <a:pt x="125" y="36"/>
                  <a:pt x="107" y="54"/>
                </a:cubicBezTo>
                <a:cubicBezTo>
                  <a:pt x="80" y="72"/>
                  <a:pt x="72" y="81"/>
                  <a:pt x="72" y="81"/>
                </a:cubicBezTo>
                <a:cubicBezTo>
                  <a:pt x="62" y="89"/>
                  <a:pt x="72" y="107"/>
                  <a:pt x="53" y="116"/>
                </a:cubicBezTo>
                <a:cubicBezTo>
                  <a:pt x="36" y="125"/>
                  <a:pt x="27" y="116"/>
                  <a:pt x="18" y="125"/>
                </a:cubicBezTo>
                <a:cubicBezTo>
                  <a:pt x="18" y="134"/>
                  <a:pt x="9" y="134"/>
                  <a:pt x="0" y="143"/>
                </a:cubicBezTo>
                <a:lnTo>
                  <a:pt x="0" y="151"/>
                </a:lnTo>
                <a:lnTo>
                  <a:pt x="36" y="187"/>
                </a:lnTo>
                <a:cubicBezTo>
                  <a:pt x="36" y="196"/>
                  <a:pt x="44" y="196"/>
                  <a:pt x="53" y="196"/>
                </a:cubicBezTo>
                <a:cubicBezTo>
                  <a:pt x="53" y="187"/>
                  <a:pt x="62" y="178"/>
                  <a:pt x="72" y="178"/>
                </a:cubicBezTo>
                <a:cubicBezTo>
                  <a:pt x="72" y="178"/>
                  <a:pt x="72" y="151"/>
                  <a:pt x="80" y="151"/>
                </a:cubicBezTo>
                <a:close/>
                <a:moveTo>
                  <a:pt x="222" y="160"/>
                </a:moveTo>
                <a:lnTo>
                  <a:pt x="222" y="160"/>
                </a:lnTo>
                <a:cubicBezTo>
                  <a:pt x="213" y="160"/>
                  <a:pt x="213" y="160"/>
                  <a:pt x="213" y="160"/>
                </a:cubicBezTo>
                <a:cubicBezTo>
                  <a:pt x="178" y="187"/>
                  <a:pt x="178" y="187"/>
                  <a:pt x="178" y="187"/>
                </a:cubicBezTo>
                <a:cubicBezTo>
                  <a:pt x="169" y="196"/>
                  <a:pt x="169" y="196"/>
                  <a:pt x="169" y="204"/>
                </a:cubicBezTo>
                <a:cubicBezTo>
                  <a:pt x="381" y="435"/>
                  <a:pt x="381" y="435"/>
                  <a:pt x="381" y="435"/>
                </a:cubicBezTo>
                <a:cubicBezTo>
                  <a:pt x="381" y="444"/>
                  <a:pt x="391" y="444"/>
                  <a:pt x="399" y="435"/>
                </a:cubicBezTo>
                <a:cubicBezTo>
                  <a:pt x="426" y="417"/>
                  <a:pt x="426" y="417"/>
                  <a:pt x="426" y="417"/>
                </a:cubicBezTo>
                <a:cubicBezTo>
                  <a:pt x="426" y="408"/>
                  <a:pt x="426" y="400"/>
                  <a:pt x="426" y="400"/>
                </a:cubicBezTo>
                <a:lnTo>
                  <a:pt x="222" y="160"/>
                </a:lnTo>
                <a:close/>
                <a:moveTo>
                  <a:pt x="497" y="63"/>
                </a:moveTo>
                <a:lnTo>
                  <a:pt x="497" y="63"/>
                </a:lnTo>
                <a:cubicBezTo>
                  <a:pt x="488" y="45"/>
                  <a:pt x="488" y="54"/>
                  <a:pt x="479" y="54"/>
                </a:cubicBezTo>
                <a:cubicBezTo>
                  <a:pt x="479" y="63"/>
                  <a:pt x="461" y="81"/>
                  <a:pt x="461" y="89"/>
                </a:cubicBezTo>
                <a:cubicBezTo>
                  <a:pt x="452" y="107"/>
                  <a:pt x="435" y="125"/>
                  <a:pt x="408" y="107"/>
                </a:cubicBezTo>
                <a:cubicBezTo>
                  <a:pt x="381" y="81"/>
                  <a:pt x="391" y="72"/>
                  <a:pt x="399" y="63"/>
                </a:cubicBezTo>
                <a:cubicBezTo>
                  <a:pt x="399" y="54"/>
                  <a:pt x="417" y="28"/>
                  <a:pt x="417" y="19"/>
                </a:cubicBezTo>
                <a:cubicBezTo>
                  <a:pt x="426" y="19"/>
                  <a:pt x="417" y="10"/>
                  <a:pt x="408" y="10"/>
                </a:cubicBezTo>
                <a:cubicBezTo>
                  <a:pt x="399" y="19"/>
                  <a:pt x="346" y="36"/>
                  <a:pt x="337" y="72"/>
                </a:cubicBezTo>
                <a:cubicBezTo>
                  <a:pt x="328" y="98"/>
                  <a:pt x="346" y="125"/>
                  <a:pt x="319" y="151"/>
                </a:cubicBezTo>
                <a:cubicBezTo>
                  <a:pt x="284" y="187"/>
                  <a:pt x="284" y="187"/>
                  <a:pt x="284" y="187"/>
                </a:cubicBezTo>
                <a:cubicBezTo>
                  <a:pt x="319" y="231"/>
                  <a:pt x="319" y="231"/>
                  <a:pt x="319" y="231"/>
                </a:cubicBezTo>
                <a:cubicBezTo>
                  <a:pt x="364" y="187"/>
                  <a:pt x="364" y="187"/>
                  <a:pt x="364" y="187"/>
                </a:cubicBezTo>
                <a:cubicBezTo>
                  <a:pt x="372" y="178"/>
                  <a:pt x="391" y="169"/>
                  <a:pt x="408" y="178"/>
                </a:cubicBezTo>
                <a:cubicBezTo>
                  <a:pt x="452" y="187"/>
                  <a:pt x="470" y="169"/>
                  <a:pt x="488" y="143"/>
                </a:cubicBezTo>
                <a:cubicBezTo>
                  <a:pt x="497" y="116"/>
                  <a:pt x="497" y="72"/>
                  <a:pt x="497" y="63"/>
                </a:cubicBezTo>
                <a:close/>
                <a:moveTo>
                  <a:pt x="72" y="400"/>
                </a:moveTo>
                <a:lnTo>
                  <a:pt x="72" y="400"/>
                </a:lnTo>
                <a:cubicBezTo>
                  <a:pt x="62" y="408"/>
                  <a:pt x="62" y="417"/>
                  <a:pt x="72" y="417"/>
                </a:cubicBezTo>
                <a:cubicBezTo>
                  <a:pt x="89" y="444"/>
                  <a:pt x="89" y="444"/>
                  <a:pt x="89" y="444"/>
                </a:cubicBezTo>
                <a:cubicBezTo>
                  <a:pt x="97" y="444"/>
                  <a:pt x="107" y="444"/>
                  <a:pt x="107" y="435"/>
                </a:cubicBezTo>
                <a:cubicBezTo>
                  <a:pt x="231" y="320"/>
                  <a:pt x="231" y="320"/>
                  <a:pt x="231" y="320"/>
                </a:cubicBezTo>
                <a:cubicBezTo>
                  <a:pt x="195" y="275"/>
                  <a:pt x="195" y="275"/>
                  <a:pt x="195" y="275"/>
                </a:cubicBezTo>
                <a:lnTo>
                  <a:pt x="72" y="400"/>
                </a:lnTo>
                <a:close/>
              </a:path>
            </a:pathLst>
          </a:custGeom>
          <a:solidFill>
            <a:schemeClr val="bg1"/>
          </a:solidFill>
          <a:ln>
            <a:noFill/>
          </a:ln>
          <a:effectLst/>
        </p:spPr>
        <p:txBody>
          <a:bodyPr wrap="none" lIns="91424" tIns="45712" rIns="91424" bIns="45712" anchor="ctr"/>
          <a:lstStyle/>
          <a:p>
            <a:pPr defTabSz="1218987" fontAlgn="auto">
              <a:spcBef>
                <a:spcPts val="0"/>
              </a:spcBef>
              <a:spcAft>
                <a:spcPts val="0"/>
              </a:spcAft>
              <a:defRPr/>
            </a:pPr>
            <a:endParaRPr lang="en-GB" sz="1600" dirty="0">
              <a:latin typeface="+mn-lt"/>
              <a:ea typeface="+mn-ea"/>
            </a:endParaRPr>
          </a:p>
        </p:txBody>
      </p:sp>
      <p:sp>
        <p:nvSpPr>
          <p:cNvPr id="65" name="Freeform 137">
            <a:extLst>
              <a:ext uri="{FF2B5EF4-FFF2-40B4-BE49-F238E27FC236}">
                <a16:creationId xmlns:a16="http://schemas.microsoft.com/office/drawing/2014/main" xmlns="" id="{61E4FF1E-1E90-4EB0-A56F-3CAE05E425DC}"/>
              </a:ext>
            </a:extLst>
          </p:cNvPr>
          <p:cNvSpPr>
            <a:spLocks noChangeArrowheads="1"/>
          </p:cNvSpPr>
          <p:nvPr/>
        </p:nvSpPr>
        <p:spPr bwMode="auto">
          <a:xfrm>
            <a:off x="9461299" y="2698909"/>
            <a:ext cx="860131" cy="822929"/>
          </a:xfrm>
          <a:custGeom>
            <a:avLst/>
            <a:gdLst>
              <a:gd name="T0" fmla="*/ 569639 w 608"/>
              <a:gd name="T1" fmla="*/ 245256 h 581"/>
              <a:gd name="T2" fmla="*/ 569639 w 608"/>
              <a:gd name="T3" fmla="*/ 245256 h 581"/>
              <a:gd name="T4" fmla="*/ 569639 w 608"/>
              <a:gd name="T5" fmla="*/ 245256 h 581"/>
              <a:gd name="T6" fmla="*/ 427469 w 608"/>
              <a:gd name="T7" fmla="*/ 347206 h 581"/>
              <a:gd name="T8" fmla="*/ 481263 w 608"/>
              <a:gd name="T9" fmla="*/ 516481 h 581"/>
              <a:gd name="T10" fmla="*/ 481263 w 608"/>
              <a:gd name="T11" fmla="*/ 530908 h 581"/>
              <a:gd name="T12" fmla="*/ 454366 w 608"/>
              <a:gd name="T13" fmla="*/ 557838 h 581"/>
              <a:gd name="T14" fmla="*/ 440918 w 608"/>
              <a:gd name="T15" fmla="*/ 551106 h 581"/>
              <a:gd name="T16" fmla="*/ 440918 w 608"/>
              <a:gd name="T17" fmla="*/ 551106 h 581"/>
              <a:gd name="T18" fmla="*/ 292024 w 608"/>
              <a:gd name="T19" fmla="*/ 442423 h 581"/>
              <a:gd name="T20" fmla="*/ 142170 w 608"/>
              <a:gd name="T21" fmla="*/ 551106 h 581"/>
              <a:gd name="T22" fmla="*/ 142170 w 608"/>
              <a:gd name="T23" fmla="*/ 551106 h 581"/>
              <a:gd name="T24" fmla="*/ 128721 w 608"/>
              <a:gd name="T25" fmla="*/ 557838 h 581"/>
              <a:gd name="T26" fmla="*/ 101824 w 608"/>
              <a:gd name="T27" fmla="*/ 530908 h 581"/>
              <a:gd name="T28" fmla="*/ 101824 w 608"/>
              <a:gd name="T29" fmla="*/ 516481 h 581"/>
              <a:gd name="T30" fmla="*/ 155618 w 608"/>
              <a:gd name="T31" fmla="*/ 347206 h 581"/>
              <a:gd name="T32" fmla="*/ 13448 w 608"/>
              <a:gd name="T33" fmla="*/ 245256 h 581"/>
              <a:gd name="T34" fmla="*/ 13448 w 608"/>
              <a:gd name="T35" fmla="*/ 245256 h 581"/>
              <a:gd name="T36" fmla="*/ 0 w 608"/>
              <a:gd name="T37" fmla="*/ 217365 h 581"/>
              <a:gd name="T38" fmla="*/ 26897 w 608"/>
              <a:gd name="T39" fmla="*/ 190434 h 581"/>
              <a:gd name="T40" fmla="*/ 26897 w 608"/>
              <a:gd name="T41" fmla="*/ 190434 h 581"/>
              <a:gd name="T42" fmla="*/ 210373 w 608"/>
              <a:gd name="T43" fmla="*/ 190434 h 581"/>
              <a:gd name="T44" fmla="*/ 264166 w 608"/>
              <a:gd name="T45" fmla="*/ 21159 h 581"/>
              <a:gd name="T46" fmla="*/ 292024 w 608"/>
              <a:gd name="T47" fmla="*/ 0 h 581"/>
              <a:gd name="T48" fmla="*/ 318921 w 608"/>
              <a:gd name="T49" fmla="*/ 21159 h 581"/>
              <a:gd name="T50" fmla="*/ 372715 w 608"/>
              <a:gd name="T51" fmla="*/ 190434 h 581"/>
              <a:gd name="T52" fmla="*/ 556190 w 608"/>
              <a:gd name="T53" fmla="*/ 190434 h 581"/>
              <a:gd name="T54" fmla="*/ 556190 w 608"/>
              <a:gd name="T55" fmla="*/ 190434 h 581"/>
              <a:gd name="T56" fmla="*/ 583087 w 608"/>
              <a:gd name="T57" fmla="*/ 217365 h 581"/>
              <a:gd name="T58" fmla="*/ 569639 w 608"/>
              <a:gd name="T59" fmla="*/ 245256 h 58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08" h="581">
                <a:moveTo>
                  <a:pt x="593" y="255"/>
                </a:moveTo>
                <a:lnTo>
                  <a:pt x="593" y="255"/>
                </a:lnTo>
                <a:cubicBezTo>
                  <a:pt x="445" y="361"/>
                  <a:pt x="445" y="361"/>
                  <a:pt x="445" y="361"/>
                </a:cubicBezTo>
                <a:cubicBezTo>
                  <a:pt x="501" y="537"/>
                  <a:pt x="501" y="537"/>
                  <a:pt x="501" y="537"/>
                </a:cubicBezTo>
                <a:cubicBezTo>
                  <a:pt x="501" y="545"/>
                  <a:pt x="501" y="545"/>
                  <a:pt x="501" y="552"/>
                </a:cubicBezTo>
                <a:cubicBezTo>
                  <a:pt x="501" y="566"/>
                  <a:pt x="487" y="580"/>
                  <a:pt x="473" y="580"/>
                </a:cubicBezTo>
                <a:cubicBezTo>
                  <a:pt x="466" y="580"/>
                  <a:pt x="459" y="573"/>
                  <a:pt x="459" y="573"/>
                </a:cubicBezTo>
                <a:cubicBezTo>
                  <a:pt x="304" y="460"/>
                  <a:pt x="304" y="460"/>
                  <a:pt x="304" y="460"/>
                </a:cubicBezTo>
                <a:cubicBezTo>
                  <a:pt x="148" y="573"/>
                  <a:pt x="148" y="573"/>
                  <a:pt x="148" y="573"/>
                </a:cubicBezTo>
                <a:cubicBezTo>
                  <a:pt x="148" y="573"/>
                  <a:pt x="141" y="580"/>
                  <a:pt x="134" y="580"/>
                </a:cubicBezTo>
                <a:cubicBezTo>
                  <a:pt x="120" y="580"/>
                  <a:pt x="106" y="566"/>
                  <a:pt x="106" y="552"/>
                </a:cubicBezTo>
                <a:cubicBezTo>
                  <a:pt x="106" y="545"/>
                  <a:pt x="106" y="545"/>
                  <a:pt x="106" y="537"/>
                </a:cubicBezTo>
                <a:cubicBezTo>
                  <a:pt x="162" y="361"/>
                  <a:pt x="162" y="361"/>
                  <a:pt x="162" y="361"/>
                </a:cubicBezTo>
                <a:cubicBezTo>
                  <a:pt x="14" y="255"/>
                  <a:pt x="14" y="255"/>
                  <a:pt x="14" y="255"/>
                </a:cubicBezTo>
                <a:cubicBezTo>
                  <a:pt x="7" y="248"/>
                  <a:pt x="0" y="241"/>
                  <a:pt x="0" y="226"/>
                </a:cubicBezTo>
                <a:cubicBezTo>
                  <a:pt x="0" y="212"/>
                  <a:pt x="14" y="198"/>
                  <a:pt x="28" y="198"/>
                </a:cubicBezTo>
                <a:cubicBezTo>
                  <a:pt x="219" y="198"/>
                  <a:pt x="219" y="198"/>
                  <a:pt x="219" y="198"/>
                </a:cubicBezTo>
                <a:cubicBezTo>
                  <a:pt x="275" y="22"/>
                  <a:pt x="275" y="22"/>
                  <a:pt x="275" y="22"/>
                </a:cubicBezTo>
                <a:cubicBezTo>
                  <a:pt x="282" y="14"/>
                  <a:pt x="290" y="0"/>
                  <a:pt x="304" y="0"/>
                </a:cubicBezTo>
                <a:cubicBezTo>
                  <a:pt x="318" y="0"/>
                  <a:pt x="325" y="14"/>
                  <a:pt x="332" y="22"/>
                </a:cubicBezTo>
                <a:cubicBezTo>
                  <a:pt x="388" y="198"/>
                  <a:pt x="388" y="198"/>
                  <a:pt x="388" y="198"/>
                </a:cubicBezTo>
                <a:cubicBezTo>
                  <a:pt x="579" y="198"/>
                  <a:pt x="579" y="198"/>
                  <a:pt x="579" y="198"/>
                </a:cubicBezTo>
                <a:cubicBezTo>
                  <a:pt x="593" y="198"/>
                  <a:pt x="607" y="212"/>
                  <a:pt x="607" y="226"/>
                </a:cubicBezTo>
                <a:cubicBezTo>
                  <a:pt x="607" y="241"/>
                  <a:pt x="600" y="248"/>
                  <a:pt x="593" y="255"/>
                </a:cubicBezTo>
              </a:path>
            </a:pathLst>
          </a:custGeom>
          <a:solidFill>
            <a:schemeClr val="bg1"/>
          </a:solidFill>
          <a:ln>
            <a:noFill/>
          </a:ln>
          <a:effectLst/>
        </p:spPr>
        <p:txBody>
          <a:bodyPr wrap="none" anchor="ctr"/>
          <a:lstStyle/>
          <a:p>
            <a:endParaRPr lang="en-GB" sz="1600" dirty="0"/>
          </a:p>
        </p:txBody>
      </p:sp>
      <p:sp>
        <p:nvSpPr>
          <p:cNvPr id="66" name="Freeform 96">
            <a:extLst>
              <a:ext uri="{FF2B5EF4-FFF2-40B4-BE49-F238E27FC236}">
                <a16:creationId xmlns:a16="http://schemas.microsoft.com/office/drawing/2014/main" xmlns="" id="{65F19337-9242-46DD-A6ED-11A377373A4E}"/>
              </a:ext>
            </a:extLst>
          </p:cNvPr>
          <p:cNvSpPr>
            <a:spLocks noEditPoints="1"/>
          </p:cNvSpPr>
          <p:nvPr/>
        </p:nvSpPr>
        <p:spPr bwMode="auto">
          <a:xfrm>
            <a:off x="4192456" y="2640025"/>
            <a:ext cx="774975" cy="793865"/>
          </a:xfrm>
          <a:custGeom>
            <a:avLst/>
            <a:gdLst>
              <a:gd name="T0" fmla="*/ 64030 w 62"/>
              <a:gd name="T1" fmla="*/ 82434 h 55"/>
              <a:gd name="T2" fmla="*/ 64030 w 62"/>
              <a:gd name="T3" fmla="*/ 494606 h 55"/>
              <a:gd name="T4" fmla="*/ 54882 w 62"/>
              <a:gd name="T5" fmla="*/ 503765 h 55"/>
              <a:gd name="T6" fmla="*/ 27441 w 62"/>
              <a:gd name="T7" fmla="*/ 503765 h 55"/>
              <a:gd name="T8" fmla="*/ 18294 w 62"/>
              <a:gd name="T9" fmla="*/ 494606 h 55"/>
              <a:gd name="T10" fmla="*/ 18294 w 62"/>
              <a:gd name="T11" fmla="*/ 82434 h 55"/>
              <a:gd name="T12" fmla="*/ 0 w 62"/>
              <a:gd name="T13" fmla="*/ 45797 h 55"/>
              <a:gd name="T14" fmla="*/ 45735 w 62"/>
              <a:gd name="T15" fmla="*/ 0 h 55"/>
              <a:gd name="T16" fmla="*/ 82324 w 62"/>
              <a:gd name="T17" fmla="*/ 45797 h 55"/>
              <a:gd name="T18" fmla="*/ 64030 w 62"/>
              <a:gd name="T19" fmla="*/ 82434 h 55"/>
              <a:gd name="T20" fmla="*/ 567119 w 62"/>
              <a:gd name="T21" fmla="*/ 311418 h 55"/>
              <a:gd name="T22" fmla="*/ 548825 w 62"/>
              <a:gd name="T23" fmla="*/ 329737 h 55"/>
              <a:gd name="T24" fmla="*/ 548825 w 62"/>
              <a:gd name="T25" fmla="*/ 338896 h 55"/>
              <a:gd name="T26" fmla="*/ 429913 w 62"/>
              <a:gd name="T27" fmla="*/ 375534 h 55"/>
              <a:gd name="T28" fmla="*/ 375030 w 62"/>
              <a:gd name="T29" fmla="*/ 357215 h 55"/>
              <a:gd name="T30" fmla="*/ 365883 w 62"/>
              <a:gd name="T31" fmla="*/ 357215 h 55"/>
              <a:gd name="T32" fmla="*/ 265265 w 62"/>
              <a:gd name="T33" fmla="*/ 329737 h 55"/>
              <a:gd name="T34" fmla="*/ 118912 w 62"/>
              <a:gd name="T35" fmla="*/ 375534 h 55"/>
              <a:gd name="T36" fmla="*/ 100618 w 62"/>
              <a:gd name="T37" fmla="*/ 375534 h 55"/>
              <a:gd name="T38" fmla="*/ 91471 w 62"/>
              <a:gd name="T39" fmla="*/ 375534 h 55"/>
              <a:gd name="T40" fmla="*/ 82324 w 62"/>
              <a:gd name="T41" fmla="*/ 357215 h 55"/>
              <a:gd name="T42" fmla="*/ 82324 w 62"/>
              <a:gd name="T43" fmla="*/ 109912 h 55"/>
              <a:gd name="T44" fmla="*/ 91471 w 62"/>
              <a:gd name="T45" fmla="*/ 100753 h 55"/>
              <a:gd name="T46" fmla="*/ 256118 w 62"/>
              <a:gd name="T47" fmla="*/ 45797 h 55"/>
              <a:gd name="T48" fmla="*/ 393324 w 62"/>
              <a:gd name="T49" fmla="*/ 82434 h 55"/>
              <a:gd name="T50" fmla="*/ 420766 w 62"/>
              <a:gd name="T51" fmla="*/ 91594 h 55"/>
              <a:gd name="T52" fmla="*/ 521384 w 62"/>
              <a:gd name="T53" fmla="*/ 54956 h 55"/>
              <a:gd name="T54" fmla="*/ 530531 w 62"/>
              <a:gd name="T55" fmla="*/ 45797 h 55"/>
              <a:gd name="T56" fmla="*/ 557972 w 62"/>
              <a:gd name="T57" fmla="*/ 45797 h 55"/>
              <a:gd name="T58" fmla="*/ 567119 w 62"/>
              <a:gd name="T59" fmla="*/ 64116 h 55"/>
              <a:gd name="T60" fmla="*/ 567119 w 62"/>
              <a:gd name="T61" fmla="*/ 311418 h 55"/>
              <a:gd name="T62" fmla="*/ 246971 w 62"/>
              <a:gd name="T63" fmla="*/ 82434 h 55"/>
              <a:gd name="T64" fmla="*/ 128059 w 62"/>
              <a:gd name="T65" fmla="*/ 128231 h 55"/>
              <a:gd name="T66" fmla="*/ 128059 w 62"/>
              <a:gd name="T67" fmla="*/ 192347 h 55"/>
              <a:gd name="T68" fmla="*/ 246971 w 62"/>
              <a:gd name="T69" fmla="*/ 146550 h 55"/>
              <a:gd name="T70" fmla="*/ 246971 w 62"/>
              <a:gd name="T71" fmla="*/ 82434 h 55"/>
              <a:gd name="T72" fmla="*/ 246971 w 62"/>
              <a:gd name="T73" fmla="*/ 219825 h 55"/>
              <a:gd name="T74" fmla="*/ 128059 w 62"/>
              <a:gd name="T75" fmla="*/ 265622 h 55"/>
              <a:gd name="T76" fmla="*/ 128059 w 62"/>
              <a:gd name="T77" fmla="*/ 320578 h 55"/>
              <a:gd name="T78" fmla="*/ 246971 w 62"/>
              <a:gd name="T79" fmla="*/ 283940 h 55"/>
              <a:gd name="T80" fmla="*/ 246971 w 62"/>
              <a:gd name="T81" fmla="*/ 219825 h 55"/>
              <a:gd name="T82" fmla="*/ 521384 w 62"/>
              <a:gd name="T83" fmla="*/ 238143 h 55"/>
              <a:gd name="T84" fmla="*/ 393324 w 62"/>
              <a:gd name="T85" fmla="*/ 265622 h 55"/>
              <a:gd name="T86" fmla="*/ 393324 w 62"/>
              <a:gd name="T87" fmla="*/ 192347 h 55"/>
              <a:gd name="T88" fmla="*/ 384177 w 62"/>
              <a:gd name="T89" fmla="*/ 183187 h 55"/>
              <a:gd name="T90" fmla="*/ 265265 w 62"/>
              <a:gd name="T91" fmla="*/ 146550 h 55"/>
              <a:gd name="T92" fmla="*/ 246971 w 62"/>
              <a:gd name="T93" fmla="*/ 146550 h 55"/>
              <a:gd name="T94" fmla="*/ 246971 w 62"/>
              <a:gd name="T95" fmla="*/ 219825 h 55"/>
              <a:gd name="T96" fmla="*/ 256118 w 62"/>
              <a:gd name="T97" fmla="*/ 219825 h 55"/>
              <a:gd name="T98" fmla="*/ 384177 w 62"/>
              <a:gd name="T99" fmla="*/ 256462 h 55"/>
              <a:gd name="T100" fmla="*/ 393324 w 62"/>
              <a:gd name="T101" fmla="*/ 265622 h 55"/>
              <a:gd name="T102" fmla="*/ 393324 w 62"/>
              <a:gd name="T103" fmla="*/ 329737 h 55"/>
              <a:gd name="T104" fmla="*/ 429913 w 62"/>
              <a:gd name="T105" fmla="*/ 329737 h 55"/>
              <a:gd name="T106" fmla="*/ 521384 w 62"/>
              <a:gd name="T107" fmla="*/ 302259 h 55"/>
              <a:gd name="T108" fmla="*/ 521384 w 62"/>
              <a:gd name="T109" fmla="*/ 238143 h 55"/>
              <a:gd name="T110" fmla="*/ 521384 w 62"/>
              <a:gd name="T111" fmla="*/ 100753 h 55"/>
              <a:gd name="T112" fmla="*/ 420766 w 62"/>
              <a:gd name="T113" fmla="*/ 128231 h 55"/>
              <a:gd name="T114" fmla="*/ 393324 w 62"/>
              <a:gd name="T115" fmla="*/ 128231 h 55"/>
              <a:gd name="T116" fmla="*/ 393324 w 62"/>
              <a:gd name="T117" fmla="*/ 192347 h 55"/>
              <a:gd name="T118" fmla="*/ 521384 w 62"/>
              <a:gd name="T119" fmla="*/ 164869 h 55"/>
              <a:gd name="T120" fmla="*/ 521384 w 62"/>
              <a:gd name="T121" fmla="*/ 100753 h 5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2" h="55">
                <a:moveTo>
                  <a:pt x="7" y="9"/>
                </a:moveTo>
                <a:cubicBezTo>
                  <a:pt x="7" y="54"/>
                  <a:pt x="7" y="54"/>
                  <a:pt x="7" y="54"/>
                </a:cubicBezTo>
                <a:cubicBezTo>
                  <a:pt x="7" y="54"/>
                  <a:pt x="6" y="55"/>
                  <a:pt x="6" y="55"/>
                </a:cubicBezTo>
                <a:cubicBezTo>
                  <a:pt x="3" y="55"/>
                  <a:pt x="3" y="55"/>
                  <a:pt x="3" y="55"/>
                </a:cubicBezTo>
                <a:cubicBezTo>
                  <a:pt x="3" y="55"/>
                  <a:pt x="2" y="54"/>
                  <a:pt x="2" y="54"/>
                </a:cubicBezTo>
                <a:cubicBezTo>
                  <a:pt x="2" y="9"/>
                  <a:pt x="2" y="9"/>
                  <a:pt x="2" y="9"/>
                </a:cubicBezTo>
                <a:cubicBezTo>
                  <a:pt x="1" y="8"/>
                  <a:pt x="0" y="6"/>
                  <a:pt x="0" y="5"/>
                </a:cubicBezTo>
                <a:cubicBezTo>
                  <a:pt x="0" y="2"/>
                  <a:pt x="2" y="0"/>
                  <a:pt x="5" y="0"/>
                </a:cubicBezTo>
                <a:cubicBezTo>
                  <a:pt x="7" y="0"/>
                  <a:pt x="9" y="2"/>
                  <a:pt x="9" y="5"/>
                </a:cubicBezTo>
                <a:cubicBezTo>
                  <a:pt x="9" y="6"/>
                  <a:pt x="8" y="8"/>
                  <a:pt x="7" y="9"/>
                </a:cubicBezTo>
                <a:close/>
                <a:moveTo>
                  <a:pt x="62" y="34"/>
                </a:moveTo>
                <a:cubicBezTo>
                  <a:pt x="62" y="35"/>
                  <a:pt x="61" y="36"/>
                  <a:pt x="60" y="36"/>
                </a:cubicBezTo>
                <a:cubicBezTo>
                  <a:pt x="60" y="36"/>
                  <a:pt x="60" y="36"/>
                  <a:pt x="60" y="37"/>
                </a:cubicBezTo>
                <a:cubicBezTo>
                  <a:pt x="58" y="38"/>
                  <a:pt x="52" y="41"/>
                  <a:pt x="47" y="41"/>
                </a:cubicBezTo>
                <a:cubicBezTo>
                  <a:pt x="45" y="41"/>
                  <a:pt x="43" y="40"/>
                  <a:pt x="41" y="39"/>
                </a:cubicBezTo>
                <a:cubicBezTo>
                  <a:pt x="40" y="39"/>
                  <a:pt x="40" y="39"/>
                  <a:pt x="40" y="39"/>
                </a:cubicBezTo>
                <a:cubicBezTo>
                  <a:pt x="36" y="37"/>
                  <a:pt x="34" y="36"/>
                  <a:pt x="29" y="36"/>
                </a:cubicBezTo>
                <a:cubicBezTo>
                  <a:pt x="24" y="36"/>
                  <a:pt x="17" y="38"/>
                  <a:pt x="13" y="41"/>
                </a:cubicBezTo>
                <a:cubicBezTo>
                  <a:pt x="12" y="41"/>
                  <a:pt x="12" y="41"/>
                  <a:pt x="11" y="41"/>
                </a:cubicBezTo>
                <a:cubicBezTo>
                  <a:pt x="11" y="41"/>
                  <a:pt x="11" y="41"/>
                  <a:pt x="10" y="41"/>
                </a:cubicBezTo>
                <a:cubicBezTo>
                  <a:pt x="10" y="41"/>
                  <a:pt x="9" y="40"/>
                  <a:pt x="9" y="39"/>
                </a:cubicBezTo>
                <a:cubicBezTo>
                  <a:pt x="9" y="12"/>
                  <a:pt x="9" y="12"/>
                  <a:pt x="9" y="12"/>
                </a:cubicBezTo>
                <a:cubicBezTo>
                  <a:pt x="9" y="12"/>
                  <a:pt x="10" y="11"/>
                  <a:pt x="10" y="11"/>
                </a:cubicBezTo>
                <a:cubicBezTo>
                  <a:pt x="13" y="9"/>
                  <a:pt x="21" y="5"/>
                  <a:pt x="28" y="5"/>
                </a:cubicBezTo>
                <a:cubicBezTo>
                  <a:pt x="34" y="5"/>
                  <a:pt x="39" y="7"/>
                  <a:pt x="43" y="9"/>
                </a:cubicBezTo>
                <a:cubicBezTo>
                  <a:pt x="44" y="9"/>
                  <a:pt x="45" y="10"/>
                  <a:pt x="46" y="10"/>
                </a:cubicBezTo>
                <a:cubicBezTo>
                  <a:pt x="50" y="10"/>
                  <a:pt x="55" y="7"/>
                  <a:pt x="57" y="6"/>
                </a:cubicBezTo>
                <a:cubicBezTo>
                  <a:pt x="58" y="5"/>
                  <a:pt x="58" y="5"/>
                  <a:pt x="58" y="5"/>
                </a:cubicBezTo>
                <a:cubicBezTo>
                  <a:pt x="59" y="5"/>
                  <a:pt x="60" y="5"/>
                  <a:pt x="61" y="5"/>
                </a:cubicBezTo>
                <a:cubicBezTo>
                  <a:pt x="61" y="5"/>
                  <a:pt x="62" y="6"/>
                  <a:pt x="62" y="7"/>
                </a:cubicBezTo>
                <a:lnTo>
                  <a:pt x="62" y="34"/>
                </a:lnTo>
                <a:close/>
                <a:moveTo>
                  <a:pt x="27" y="9"/>
                </a:moveTo>
                <a:cubicBezTo>
                  <a:pt x="23" y="10"/>
                  <a:pt x="18" y="12"/>
                  <a:pt x="14" y="14"/>
                </a:cubicBezTo>
                <a:cubicBezTo>
                  <a:pt x="14" y="21"/>
                  <a:pt x="14" y="21"/>
                  <a:pt x="14" y="21"/>
                </a:cubicBezTo>
                <a:cubicBezTo>
                  <a:pt x="18" y="18"/>
                  <a:pt x="23" y="17"/>
                  <a:pt x="27" y="16"/>
                </a:cubicBezTo>
                <a:lnTo>
                  <a:pt x="27" y="9"/>
                </a:lnTo>
                <a:close/>
                <a:moveTo>
                  <a:pt x="27" y="24"/>
                </a:moveTo>
                <a:cubicBezTo>
                  <a:pt x="23" y="25"/>
                  <a:pt x="18" y="27"/>
                  <a:pt x="14" y="29"/>
                </a:cubicBezTo>
                <a:cubicBezTo>
                  <a:pt x="14" y="35"/>
                  <a:pt x="14" y="35"/>
                  <a:pt x="14" y="35"/>
                </a:cubicBezTo>
                <a:cubicBezTo>
                  <a:pt x="18" y="33"/>
                  <a:pt x="23" y="32"/>
                  <a:pt x="27" y="31"/>
                </a:cubicBezTo>
                <a:lnTo>
                  <a:pt x="27" y="24"/>
                </a:lnTo>
                <a:close/>
                <a:moveTo>
                  <a:pt x="57" y="26"/>
                </a:moveTo>
                <a:cubicBezTo>
                  <a:pt x="54" y="28"/>
                  <a:pt x="48" y="30"/>
                  <a:pt x="43" y="29"/>
                </a:cubicBezTo>
                <a:cubicBezTo>
                  <a:pt x="43" y="21"/>
                  <a:pt x="43" y="21"/>
                  <a:pt x="43" y="21"/>
                </a:cubicBezTo>
                <a:cubicBezTo>
                  <a:pt x="43" y="21"/>
                  <a:pt x="43" y="21"/>
                  <a:pt x="42" y="20"/>
                </a:cubicBezTo>
                <a:cubicBezTo>
                  <a:pt x="38" y="18"/>
                  <a:pt x="35" y="16"/>
                  <a:pt x="29" y="16"/>
                </a:cubicBezTo>
                <a:cubicBezTo>
                  <a:pt x="29" y="16"/>
                  <a:pt x="28" y="16"/>
                  <a:pt x="27" y="16"/>
                </a:cubicBezTo>
                <a:cubicBezTo>
                  <a:pt x="27" y="24"/>
                  <a:pt x="27" y="24"/>
                  <a:pt x="27" y="24"/>
                </a:cubicBezTo>
                <a:cubicBezTo>
                  <a:pt x="28" y="24"/>
                  <a:pt x="28" y="24"/>
                  <a:pt x="28" y="24"/>
                </a:cubicBezTo>
                <a:cubicBezTo>
                  <a:pt x="34" y="24"/>
                  <a:pt x="38" y="26"/>
                  <a:pt x="42" y="28"/>
                </a:cubicBezTo>
                <a:cubicBezTo>
                  <a:pt x="43" y="29"/>
                  <a:pt x="43" y="29"/>
                  <a:pt x="43" y="29"/>
                </a:cubicBezTo>
                <a:cubicBezTo>
                  <a:pt x="43" y="36"/>
                  <a:pt x="43" y="36"/>
                  <a:pt x="43" y="36"/>
                </a:cubicBezTo>
                <a:cubicBezTo>
                  <a:pt x="44" y="36"/>
                  <a:pt x="45" y="36"/>
                  <a:pt x="47" y="36"/>
                </a:cubicBezTo>
                <a:cubicBezTo>
                  <a:pt x="51" y="36"/>
                  <a:pt x="55" y="34"/>
                  <a:pt x="57" y="33"/>
                </a:cubicBezTo>
                <a:lnTo>
                  <a:pt x="57" y="26"/>
                </a:lnTo>
                <a:close/>
                <a:moveTo>
                  <a:pt x="57" y="11"/>
                </a:moveTo>
                <a:cubicBezTo>
                  <a:pt x="54" y="12"/>
                  <a:pt x="50" y="14"/>
                  <a:pt x="46" y="14"/>
                </a:cubicBezTo>
                <a:cubicBezTo>
                  <a:pt x="45" y="14"/>
                  <a:pt x="44" y="14"/>
                  <a:pt x="43" y="14"/>
                </a:cubicBezTo>
                <a:cubicBezTo>
                  <a:pt x="43" y="21"/>
                  <a:pt x="43" y="21"/>
                  <a:pt x="43" y="21"/>
                </a:cubicBezTo>
                <a:cubicBezTo>
                  <a:pt x="48" y="22"/>
                  <a:pt x="54" y="19"/>
                  <a:pt x="57" y="18"/>
                </a:cubicBezTo>
                <a:lnTo>
                  <a:pt x="57" y="11"/>
                </a:lnTo>
                <a:close/>
              </a:path>
            </a:pathLst>
          </a:custGeom>
          <a:solidFill>
            <a:schemeClr val="bg1"/>
          </a:solidFill>
          <a:ln>
            <a:noFill/>
          </a:ln>
        </p:spPr>
        <p:txBody>
          <a:bodyPr lIns="243797" tIns="121899" rIns="243797" bIns="121899"/>
          <a:lstStyle/>
          <a:p>
            <a:endParaRPr lang="en-GB" sz="1600" dirty="0"/>
          </a:p>
        </p:txBody>
      </p:sp>
      <p:sp>
        <p:nvSpPr>
          <p:cNvPr id="67" name="TextBox 9">
            <a:extLst>
              <a:ext uri="{FF2B5EF4-FFF2-40B4-BE49-F238E27FC236}">
                <a16:creationId xmlns:a16="http://schemas.microsoft.com/office/drawing/2014/main" xmlns="" id="{74113D67-6BC5-4D0E-A1D6-EA2C67828A58}"/>
              </a:ext>
            </a:extLst>
          </p:cNvPr>
          <p:cNvSpPr txBox="1"/>
          <p:nvPr/>
        </p:nvSpPr>
        <p:spPr>
          <a:xfrm>
            <a:off x="5409528" y="2745626"/>
            <a:ext cx="1547148" cy="819712"/>
          </a:xfrm>
          <a:prstGeom prst="rect">
            <a:avLst/>
          </a:prstGeom>
          <a:noFill/>
        </p:spPr>
        <p:txBody>
          <a:bodyPr wrap="square" rtlCol="0" anchor="t">
            <a:spAutoFit/>
          </a:bodyPr>
          <a:lstStyle/>
          <a:p>
            <a:pPr>
              <a:lnSpc>
                <a:spcPts val="1350"/>
              </a:lnSpc>
            </a:pPr>
            <a:r>
              <a:rPr lang="en-GB" sz="1600" spc="-11">
                <a:solidFill>
                  <a:schemeClr val="bg1"/>
                </a:solidFill>
                <a:latin typeface="+mj-lt"/>
                <a:ea typeface="Source Sans Pro" panose="020B0503030403020204" pitchFamily="34" charset="0"/>
              </a:rPr>
              <a:t>La persona disfruta con la tarea pero no es capaz.</a:t>
            </a:r>
            <a:endParaRPr lang="en-GB" sz="1600" spc="-11" dirty="0">
              <a:solidFill>
                <a:schemeClr val="bg1"/>
              </a:solidFill>
              <a:latin typeface="+mj-lt"/>
              <a:ea typeface="Source Sans Pro" panose="020B0503030403020204" pitchFamily="34" charset="0"/>
            </a:endParaRPr>
          </a:p>
        </p:txBody>
      </p:sp>
      <p:sp>
        <p:nvSpPr>
          <p:cNvPr id="68" name="TextBox 9">
            <a:extLst>
              <a:ext uri="{FF2B5EF4-FFF2-40B4-BE49-F238E27FC236}">
                <a16:creationId xmlns:a16="http://schemas.microsoft.com/office/drawing/2014/main" xmlns="" id="{A1084678-E8E1-4221-8881-379CE85403F5}"/>
              </a:ext>
            </a:extLst>
          </p:cNvPr>
          <p:cNvSpPr txBox="1"/>
          <p:nvPr/>
        </p:nvSpPr>
        <p:spPr>
          <a:xfrm>
            <a:off x="7830107" y="2745626"/>
            <a:ext cx="1547148" cy="640175"/>
          </a:xfrm>
          <a:prstGeom prst="rect">
            <a:avLst/>
          </a:prstGeom>
          <a:noFill/>
        </p:spPr>
        <p:txBody>
          <a:bodyPr wrap="square" rtlCol="0" anchor="t">
            <a:spAutoFit/>
          </a:bodyPr>
          <a:lstStyle/>
          <a:p>
            <a:pPr>
              <a:lnSpc>
                <a:spcPts val="1350"/>
              </a:lnSpc>
            </a:pPr>
            <a:r>
              <a:rPr lang="en-GB" sz="1600" spc="-11">
                <a:solidFill>
                  <a:schemeClr val="bg1"/>
                </a:solidFill>
                <a:latin typeface="+mj-lt"/>
                <a:ea typeface="Source Sans Pro" panose="020B0503030403020204" pitchFamily="34" charset="0"/>
              </a:rPr>
              <a:t>La persona disfruta con la tarea y es capaz</a:t>
            </a:r>
            <a:endParaRPr lang="en-GB" sz="1600" spc="-11" dirty="0">
              <a:solidFill>
                <a:schemeClr val="bg1"/>
              </a:solidFill>
              <a:latin typeface="+mj-lt"/>
              <a:ea typeface="Source Sans Pro" panose="020B0503030403020204" pitchFamily="34" charset="0"/>
            </a:endParaRPr>
          </a:p>
        </p:txBody>
      </p:sp>
      <p:sp>
        <p:nvSpPr>
          <p:cNvPr id="69" name="TextBox 9">
            <a:extLst>
              <a:ext uri="{FF2B5EF4-FFF2-40B4-BE49-F238E27FC236}">
                <a16:creationId xmlns:a16="http://schemas.microsoft.com/office/drawing/2014/main" xmlns="" id="{3F277828-85DD-4991-8B35-6E8192C9D454}"/>
              </a:ext>
            </a:extLst>
          </p:cNvPr>
          <p:cNvSpPr txBox="1"/>
          <p:nvPr/>
        </p:nvSpPr>
        <p:spPr>
          <a:xfrm>
            <a:off x="5403634" y="3957490"/>
            <a:ext cx="1547148" cy="819712"/>
          </a:xfrm>
          <a:prstGeom prst="rect">
            <a:avLst/>
          </a:prstGeom>
          <a:noFill/>
        </p:spPr>
        <p:txBody>
          <a:bodyPr wrap="square" rtlCol="0" anchor="t">
            <a:spAutoFit/>
          </a:bodyPr>
          <a:lstStyle/>
          <a:p>
            <a:pPr>
              <a:lnSpc>
                <a:spcPts val="1350"/>
              </a:lnSpc>
            </a:pPr>
            <a:r>
              <a:rPr lang="en-GB" sz="1600" spc="-11">
                <a:solidFill>
                  <a:schemeClr val="bg1"/>
                </a:solidFill>
                <a:latin typeface="+mj-lt"/>
                <a:ea typeface="Source Sans Pro" panose="020B0503030403020204" pitchFamily="34" charset="0"/>
              </a:rPr>
              <a:t>La persona no disfruta de la tarea y no es capaz.</a:t>
            </a:r>
            <a:endParaRPr lang="en-GB" sz="1600" spc="-11" dirty="0">
              <a:solidFill>
                <a:schemeClr val="bg1"/>
              </a:solidFill>
              <a:latin typeface="+mj-lt"/>
              <a:ea typeface="Source Sans Pro" panose="020B0503030403020204" pitchFamily="34" charset="0"/>
            </a:endParaRPr>
          </a:p>
        </p:txBody>
      </p:sp>
      <p:sp>
        <p:nvSpPr>
          <p:cNvPr id="70" name="TextBox 9">
            <a:extLst>
              <a:ext uri="{FF2B5EF4-FFF2-40B4-BE49-F238E27FC236}">
                <a16:creationId xmlns:a16="http://schemas.microsoft.com/office/drawing/2014/main" xmlns="" id="{1BD676A8-952E-4A20-B10D-00C7623E4AAE}"/>
              </a:ext>
            </a:extLst>
          </p:cNvPr>
          <p:cNvSpPr txBox="1"/>
          <p:nvPr/>
        </p:nvSpPr>
        <p:spPr>
          <a:xfrm>
            <a:off x="7824213" y="3957490"/>
            <a:ext cx="1547148" cy="819712"/>
          </a:xfrm>
          <a:prstGeom prst="rect">
            <a:avLst/>
          </a:prstGeom>
          <a:noFill/>
        </p:spPr>
        <p:txBody>
          <a:bodyPr wrap="square" rtlCol="0" anchor="t">
            <a:spAutoFit/>
          </a:bodyPr>
          <a:lstStyle/>
          <a:p>
            <a:pPr>
              <a:lnSpc>
                <a:spcPts val="1350"/>
              </a:lnSpc>
            </a:pPr>
            <a:r>
              <a:rPr lang="en-GB" sz="1600" spc="-11">
                <a:solidFill>
                  <a:schemeClr val="bg1"/>
                </a:solidFill>
                <a:latin typeface="+mj-lt"/>
                <a:ea typeface="Source Sans Pro" panose="020B0503030403020204" pitchFamily="34" charset="0"/>
              </a:rPr>
              <a:t>La persona no disfruta de la tarea pero es capaz</a:t>
            </a:r>
            <a:endParaRPr lang="en-GB" sz="1600" spc="-11" dirty="0">
              <a:solidFill>
                <a:schemeClr val="bg1"/>
              </a:solidFill>
              <a:latin typeface="+mj-lt"/>
              <a:ea typeface="Source Sans Pro" panose="020B0503030403020204" pitchFamily="34" charset="0"/>
            </a:endParaRPr>
          </a:p>
        </p:txBody>
      </p:sp>
    </p:spTree>
    <p:extLst>
      <p:ext uri="{BB962C8B-B14F-4D97-AF65-F5344CB8AC3E}">
        <p14:creationId xmlns:p14="http://schemas.microsoft.com/office/powerpoint/2010/main" val="28061357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55853" y="427392"/>
            <a:ext cx="9491713" cy="1021145"/>
          </a:xfrm>
        </p:spPr>
        <p:txBody>
          <a:bodyPr>
            <a:normAutofit lnSpcReduction="10000"/>
          </a:bodyPr>
          <a:lstStyle/>
          <a:p>
            <a:r>
              <a:rPr lang="en-GB" dirty="0">
                <a:solidFill>
                  <a:schemeClr val="bg1"/>
                </a:solidFill>
                <a:highlight>
                  <a:srgbClr val="E53292"/>
                </a:highlight>
              </a:rPr>
              <a:t>EJERCICIO </a:t>
            </a:r>
            <a:r>
              <a:rPr lang="en-GB" dirty="0"/>
              <a:t>   Aprender de la gestión de tareas en crisis (</a:t>
            </a:r>
            <a:r>
              <a:rPr lang="en-GB" dirty="0" err="1"/>
              <a:t>cont</a:t>
            </a:r>
            <a:r>
              <a:rPr lang="en-GB" dirty="0"/>
              <a: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2464090" cy="177514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latin typeface="+mj-lt"/>
                <a:sym typeface="Wingdings" panose="05000000000000000000" pitchFamily="2" charset="2"/>
              </a:rPr>
              <a:t>Todas las tareas se asignan a una de las cinco categorías junto con las personas asignadas. </a:t>
            </a:r>
            <a:endParaRPr lang="en-GB" sz="2200" b="1">
              <a:latin typeface="+mj-lt"/>
            </a:endParaRPr>
          </a:p>
        </p:txBody>
      </p:sp>
      <p:graphicFrame>
        <p:nvGraphicFramePr>
          <p:cNvPr id="5" name="Tabelle 6">
            <a:extLst>
              <a:ext uri="{FF2B5EF4-FFF2-40B4-BE49-F238E27FC236}">
                <a16:creationId xmlns:a16="http://schemas.microsoft.com/office/drawing/2014/main" xmlns="" id="{36F39707-5159-4AB1-9D9B-1342D44FFE39}"/>
              </a:ext>
            </a:extLst>
          </p:cNvPr>
          <p:cNvGraphicFramePr>
            <a:graphicFrameLocks noGrp="1"/>
          </p:cNvGraphicFramePr>
          <p:nvPr>
            <p:extLst>
              <p:ext uri="{D42A27DB-BD31-4B8C-83A1-F6EECF244321}">
                <p14:modId xmlns:p14="http://schemas.microsoft.com/office/powerpoint/2010/main" val="4093677302"/>
              </p:ext>
            </p:extLst>
          </p:nvPr>
        </p:nvGraphicFramePr>
        <p:xfrm>
          <a:off x="3526971" y="1888904"/>
          <a:ext cx="8114752" cy="4702628"/>
        </p:xfrm>
        <a:graphic>
          <a:graphicData uri="http://schemas.openxmlformats.org/drawingml/2006/table">
            <a:tbl>
              <a:tblPr firstRow="1" bandRow="1">
                <a:tableStyleId>{5C22544A-7EE6-4342-B048-85BDC9FD1C3A}</a:tableStyleId>
              </a:tblPr>
              <a:tblGrid>
                <a:gridCol w="1612352">
                  <a:extLst>
                    <a:ext uri="{9D8B030D-6E8A-4147-A177-3AD203B41FA5}">
                      <a16:colId xmlns:a16="http://schemas.microsoft.com/office/drawing/2014/main" xmlns="" val="2022976758"/>
                    </a:ext>
                  </a:extLst>
                </a:gridCol>
                <a:gridCol w="1625600">
                  <a:extLst>
                    <a:ext uri="{9D8B030D-6E8A-4147-A177-3AD203B41FA5}">
                      <a16:colId xmlns:a16="http://schemas.microsoft.com/office/drawing/2014/main" xmlns="" val="2451577881"/>
                    </a:ext>
                  </a:extLst>
                </a:gridCol>
                <a:gridCol w="1625600">
                  <a:extLst>
                    <a:ext uri="{9D8B030D-6E8A-4147-A177-3AD203B41FA5}">
                      <a16:colId xmlns:a16="http://schemas.microsoft.com/office/drawing/2014/main" xmlns="" val="4201759314"/>
                    </a:ext>
                  </a:extLst>
                </a:gridCol>
                <a:gridCol w="1625600">
                  <a:extLst>
                    <a:ext uri="{9D8B030D-6E8A-4147-A177-3AD203B41FA5}">
                      <a16:colId xmlns:a16="http://schemas.microsoft.com/office/drawing/2014/main" xmlns="" val="68182797"/>
                    </a:ext>
                  </a:extLst>
                </a:gridCol>
                <a:gridCol w="1625600">
                  <a:extLst>
                    <a:ext uri="{9D8B030D-6E8A-4147-A177-3AD203B41FA5}">
                      <a16:colId xmlns:a16="http://schemas.microsoft.com/office/drawing/2014/main" xmlns="" val="2747960739"/>
                    </a:ext>
                  </a:extLst>
                </a:gridCol>
              </a:tblGrid>
              <a:tr h="1071154">
                <a:tc>
                  <a:txBody>
                    <a:bodyPr/>
                    <a:lstStyle/>
                    <a:p>
                      <a:r>
                        <a:rPr lang="en-GB" dirty="0">
                          <a:solidFill>
                            <a:schemeClr val="bg1"/>
                          </a:solidFill>
                          <a:latin typeface="+mj-lt"/>
                        </a:rPr>
                        <a:t>Estrella de Oro</a:t>
                      </a:r>
                    </a:p>
                  </a:txBody>
                  <a:tcPr/>
                </a:tc>
                <a:tc>
                  <a:txBody>
                    <a:bodyPr/>
                    <a:lstStyle/>
                    <a:p>
                      <a:r>
                        <a:rPr lang="en-GB" dirty="0">
                          <a:solidFill>
                            <a:schemeClr val="bg1"/>
                          </a:solidFill>
                          <a:latin typeface="+mj-lt"/>
                        </a:rPr>
                        <a:t>Disciplina</a:t>
                      </a:r>
                    </a:p>
                  </a:txBody>
                  <a:tcPr/>
                </a:tc>
                <a:tc>
                  <a:txBody>
                    <a:bodyPr/>
                    <a:lstStyle/>
                    <a:p>
                      <a:r>
                        <a:rPr lang="en-GB" dirty="0">
                          <a:solidFill>
                            <a:schemeClr val="bg1"/>
                          </a:solidFill>
                          <a:latin typeface="+mj-lt"/>
                        </a:rPr>
                        <a:t>Bandera amarilla</a:t>
                      </a:r>
                    </a:p>
                  </a:txBody>
                  <a:tcPr/>
                </a:tc>
                <a:tc>
                  <a:txBody>
                    <a:bodyPr/>
                    <a:lstStyle/>
                    <a:p>
                      <a:r>
                        <a:rPr lang="en-GB" dirty="0">
                          <a:solidFill>
                            <a:schemeClr val="bg1"/>
                          </a:solidFill>
                          <a:latin typeface="+mj-lt"/>
                        </a:rPr>
                        <a:t>Bandera Roja</a:t>
                      </a:r>
                    </a:p>
                  </a:txBody>
                  <a:tcPr/>
                </a:tc>
                <a:tc>
                  <a:txBody>
                    <a:bodyPr/>
                    <a:lstStyle/>
                    <a:p>
                      <a:r>
                        <a:rPr lang="en-GB" dirty="0">
                          <a:solidFill>
                            <a:schemeClr val="bg1"/>
                          </a:solidFill>
                          <a:latin typeface="+mj-lt"/>
                        </a:rPr>
                        <a:t>Agujero negro</a:t>
                      </a:r>
                    </a:p>
                  </a:txBody>
                  <a:tcPr/>
                </a:tc>
                <a:extLst>
                  <a:ext uri="{0D108BD9-81ED-4DB2-BD59-A6C34878D82A}">
                    <a16:rowId xmlns:a16="http://schemas.microsoft.com/office/drawing/2014/main" xmlns="" val="112284020"/>
                  </a:ext>
                </a:extLst>
              </a:tr>
              <a:tr h="1071154">
                <a:tc>
                  <a:txBody>
                    <a:bodyPr/>
                    <a:lstStyle/>
                    <a:p>
                      <a:endParaRPr lang="en-GB" dirty="0"/>
                    </a:p>
                  </a:txBody>
                  <a:tcPr>
                    <a:solidFill>
                      <a:schemeClr val="bg1"/>
                    </a:solidFill>
                  </a:tcPr>
                </a:tc>
                <a:tc>
                  <a:txBody>
                    <a:bodyPr/>
                    <a:lstStyle/>
                    <a:p>
                      <a:endParaRPr lang="en-GB" dirty="0"/>
                    </a:p>
                  </a:txBody>
                  <a:tcPr>
                    <a:solidFill>
                      <a:schemeClr val="bg1"/>
                    </a:solidFill>
                  </a:tcPr>
                </a:tc>
                <a:tc>
                  <a:txBody>
                    <a:bodyPr/>
                    <a:lstStyle/>
                    <a:p>
                      <a:endParaRPr lang="en-GB" dirty="0"/>
                    </a:p>
                  </a:txBody>
                  <a:tcPr>
                    <a:solidFill>
                      <a:schemeClr val="bg1"/>
                    </a:solidFill>
                  </a:tcPr>
                </a:tc>
                <a:tc>
                  <a:txBody>
                    <a:bodyPr/>
                    <a:lstStyle/>
                    <a:p>
                      <a:endParaRPr lang="en-GB" dirty="0"/>
                    </a:p>
                  </a:txBody>
                  <a:tcPr>
                    <a:solidFill>
                      <a:schemeClr val="bg1"/>
                    </a:solidFill>
                  </a:tcPr>
                </a:tc>
                <a:tc>
                  <a:txBody>
                    <a:bodyPr/>
                    <a:lstStyle/>
                    <a:p>
                      <a:endParaRPr lang="en-GB" dirty="0"/>
                    </a:p>
                  </a:txBody>
                  <a:tcPr>
                    <a:solidFill>
                      <a:schemeClr val="bg1"/>
                    </a:solidFill>
                  </a:tcPr>
                </a:tc>
                <a:extLst>
                  <a:ext uri="{0D108BD9-81ED-4DB2-BD59-A6C34878D82A}">
                    <a16:rowId xmlns:a16="http://schemas.microsoft.com/office/drawing/2014/main" xmlns="" val="943842166"/>
                  </a:ext>
                </a:extLst>
              </a:tr>
              <a:tr h="1071154">
                <a:tc>
                  <a:txBody>
                    <a:bodyPr/>
                    <a:lstStyle/>
                    <a:p>
                      <a:r>
                        <a:rPr lang="en-GB" sz="1800" dirty="0">
                          <a:solidFill>
                            <a:srgbClr val="245473"/>
                          </a:solidFill>
                        </a:rPr>
                        <a:t>Tareas importantes asignadas a personas capaces que disfrutan haciéndolas</a:t>
                      </a:r>
                    </a:p>
                  </a:txBody>
                  <a:tcPr/>
                </a:tc>
                <a:tc>
                  <a:txBody>
                    <a:bodyPr/>
                    <a:lstStyle/>
                    <a:p>
                      <a:r>
                        <a:rPr lang="en-GB" sz="1800" dirty="0">
                          <a:solidFill>
                            <a:srgbClr val="245473"/>
                          </a:solidFill>
                        </a:rPr>
                        <a:t>Tareas importantes que hay que hacer y que se asignan a personas capaces, aunque no les guste hacerlas</a:t>
                      </a:r>
                    </a:p>
                  </a:txBody>
                  <a:tcPr/>
                </a:tc>
                <a:tc>
                  <a:txBody>
                    <a:bodyPr/>
                    <a:lstStyle/>
                    <a:p>
                      <a:r>
                        <a:rPr lang="en-GB" sz="1800" dirty="0">
                          <a:solidFill>
                            <a:srgbClr val="245473"/>
                          </a:solidFill>
                        </a:rPr>
                        <a:t>Tareas importantes encomendadas a personas entusiastas que carecen de capacidad para realizarlas</a:t>
                      </a:r>
                    </a:p>
                  </a:txBody>
                  <a:tcPr/>
                </a:tc>
                <a:tc>
                  <a:txBody>
                    <a:bodyPr/>
                    <a:lstStyle/>
                    <a:p>
                      <a:r>
                        <a:rPr lang="en-GB" sz="1800" dirty="0">
                          <a:solidFill>
                            <a:srgbClr val="245473"/>
                          </a:solidFill>
                        </a:rPr>
                        <a:t>Tareas importantes asignadas a personas incapaces que no quieren hacerlas</a:t>
                      </a:r>
                    </a:p>
                  </a:txBody>
                  <a:tcPr/>
                </a:tc>
                <a:tc>
                  <a:txBody>
                    <a:bodyPr/>
                    <a:lstStyle/>
                    <a:p>
                      <a:r>
                        <a:rPr lang="en-GB" sz="1800" dirty="0">
                          <a:solidFill>
                            <a:srgbClr val="245473"/>
                          </a:solidFill>
                        </a:rPr>
                        <a:t>Tareas sin importancia - agradables o no</a:t>
                      </a:r>
                    </a:p>
                  </a:txBody>
                  <a:tcPr/>
                </a:tc>
                <a:extLst>
                  <a:ext uri="{0D108BD9-81ED-4DB2-BD59-A6C34878D82A}">
                    <a16:rowId xmlns:a16="http://schemas.microsoft.com/office/drawing/2014/main" xmlns="" val="3613043749"/>
                  </a:ext>
                </a:extLst>
              </a:tr>
            </a:tbl>
          </a:graphicData>
        </a:graphic>
      </p:graphicFrame>
      <p:sp>
        <p:nvSpPr>
          <p:cNvPr id="30" name="Freeform 114">
            <a:extLst>
              <a:ext uri="{FF2B5EF4-FFF2-40B4-BE49-F238E27FC236}">
                <a16:creationId xmlns:a16="http://schemas.microsoft.com/office/drawing/2014/main" xmlns="" id="{F113582A-6EBE-4B9C-AAF4-FA7276C6BA2E}"/>
              </a:ext>
            </a:extLst>
          </p:cNvPr>
          <p:cNvSpPr>
            <a:spLocks noChangeArrowheads="1"/>
          </p:cNvSpPr>
          <p:nvPr/>
        </p:nvSpPr>
        <p:spPr bwMode="auto">
          <a:xfrm>
            <a:off x="8713547" y="3096028"/>
            <a:ext cx="935514" cy="792099"/>
          </a:xfrm>
          <a:custGeom>
            <a:avLst/>
            <a:gdLst>
              <a:gd name="T0" fmla="*/ 443 w 462"/>
              <a:gd name="T1" fmla="*/ 301 h 488"/>
              <a:gd name="T2" fmla="*/ 443 w 462"/>
              <a:gd name="T3" fmla="*/ 301 h 488"/>
              <a:gd name="T4" fmla="*/ 408 w 462"/>
              <a:gd name="T5" fmla="*/ 266 h 488"/>
              <a:gd name="T6" fmla="*/ 408 w 462"/>
              <a:gd name="T7" fmla="*/ 221 h 488"/>
              <a:gd name="T8" fmla="*/ 443 w 462"/>
              <a:gd name="T9" fmla="*/ 186 h 488"/>
              <a:gd name="T10" fmla="*/ 443 w 462"/>
              <a:gd name="T11" fmla="*/ 160 h 488"/>
              <a:gd name="T12" fmla="*/ 381 w 462"/>
              <a:gd name="T13" fmla="*/ 151 h 488"/>
              <a:gd name="T14" fmla="*/ 364 w 462"/>
              <a:gd name="T15" fmla="*/ 124 h 488"/>
              <a:gd name="T16" fmla="*/ 390 w 462"/>
              <a:gd name="T17" fmla="*/ 36 h 488"/>
              <a:gd name="T18" fmla="*/ 381 w 462"/>
              <a:gd name="T19" fmla="*/ 27 h 488"/>
              <a:gd name="T20" fmla="*/ 311 w 462"/>
              <a:gd name="T21" fmla="*/ 71 h 488"/>
              <a:gd name="T22" fmla="*/ 267 w 462"/>
              <a:gd name="T23" fmla="*/ 53 h 488"/>
              <a:gd name="T24" fmla="*/ 248 w 462"/>
              <a:gd name="T25" fmla="*/ 17 h 488"/>
              <a:gd name="T26" fmla="*/ 213 w 462"/>
              <a:gd name="T27" fmla="*/ 17 h 488"/>
              <a:gd name="T28" fmla="*/ 195 w 462"/>
              <a:gd name="T29" fmla="*/ 53 h 488"/>
              <a:gd name="T30" fmla="*/ 151 w 462"/>
              <a:gd name="T31" fmla="*/ 71 h 488"/>
              <a:gd name="T32" fmla="*/ 116 w 462"/>
              <a:gd name="T33" fmla="*/ 53 h 488"/>
              <a:gd name="T34" fmla="*/ 89 w 462"/>
              <a:gd name="T35" fmla="*/ 71 h 488"/>
              <a:gd name="T36" fmla="*/ 89 w 462"/>
              <a:gd name="T37" fmla="*/ 106 h 488"/>
              <a:gd name="T38" fmla="*/ 63 w 462"/>
              <a:gd name="T39" fmla="*/ 142 h 488"/>
              <a:gd name="T40" fmla="*/ 18 w 462"/>
              <a:gd name="T41" fmla="*/ 160 h 488"/>
              <a:gd name="T42" fmla="*/ 18 w 462"/>
              <a:gd name="T43" fmla="*/ 186 h 488"/>
              <a:gd name="T44" fmla="*/ 63 w 462"/>
              <a:gd name="T45" fmla="*/ 221 h 488"/>
              <a:gd name="T46" fmla="*/ 63 w 462"/>
              <a:gd name="T47" fmla="*/ 266 h 488"/>
              <a:gd name="T48" fmla="*/ 18 w 462"/>
              <a:gd name="T49" fmla="*/ 301 h 488"/>
              <a:gd name="T50" fmla="*/ 27 w 462"/>
              <a:gd name="T51" fmla="*/ 319 h 488"/>
              <a:gd name="T52" fmla="*/ 71 w 462"/>
              <a:gd name="T53" fmla="*/ 328 h 488"/>
              <a:gd name="T54" fmla="*/ 98 w 462"/>
              <a:gd name="T55" fmla="*/ 364 h 488"/>
              <a:gd name="T56" fmla="*/ 71 w 462"/>
              <a:gd name="T57" fmla="*/ 443 h 488"/>
              <a:gd name="T58" fmla="*/ 89 w 462"/>
              <a:gd name="T59" fmla="*/ 461 h 488"/>
              <a:gd name="T60" fmla="*/ 142 w 462"/>
              <a:gd name="T61" fmla="*/ 425 h 488"/>
              <a:gd name="T62" fmla="*/ 186 w 462"/>
              <a:gd name="T63" fmla="*/ 434 h 488"/>
              <a:gd name="T64" fmla="*/ 213 w 462"/>
              <a:gd name="T65" fmla="*/ 470 h 488"/>
              <a:gd name="T66" fmla="*/ 248 w 462"/>
              <a:gd name="T67" fmla="*/ 470 h 488"/>
              <a:gd name="T68" fmla="*/ 267 w 462"/>
              <a:gd name="T69" fmla="*/ 425 h 488"/>
              <a:gd name="T70" fmla="*/ 311 w 462"/>
              <a:gd name="T71" fmla="*/ 408 h 488"/>
              <a:gd name="T72" fmla="*/ 355 w 462"/>
              <a:gd name="T73" fmla="*/ 434 h 488"/>
              <a:gd name="T74" fmla="*/ 373 w 462"/>
              <a:gd name="T75" fmla="*/ 417 h 488"/>
              <a:gd name="T76" fmla="*/ 373 w 462"/>
              <a:gd name="T77" fmla="*/ 372 h 488"/>
              <a:gd name="T78" fmla="*/ 399 w 462"/>
              <a:gd name="T79" fmla="*/ 337 h 488"/>
              <a:gd name="T80" fmla="*/ 443 w 462"/>
              <a:gd name="T81" fmla="*/ 328 h 488"/>
              <a:gd name="T82" fmla="*/ 443 w 462"/>
              <a:gd name="T83" fmla="*/ 301 h 488"/>
              <a:gd name="T84" fmla="*/ 257 w 462"/>
              <a:gd name="T85" fmla="*/ 346 h 488"/>
              <a:gd name="T86" fmla="*/ 257 w 462"/>
              <a:gd name="T87" fmla="*/ 346 h 488"/>
              <a:gd name="T88" fmla="*/ 204 w 462"/>
              <a:gd name="T89" fmla="*/ 346 h 488"/>
              <a:gd name="T90" fmla="*/ 204 w 462"/>
              <a:gd name="T91" fmla="*/ 292 h 488"/>
              <a:gd name="T92" fmla="*/ 257 w 462"/>
              <a:gd name="T93" fmla="*/ 292 h 488"/>
              <a:gd name="T94" fmla="*/ 257 w 462"/>
              <a:gd name="T95" fmla="*/ 346 h 488"/>
              <a:gd name="T96" fmla="*/ 257 w 462"/>
              <a:gd name="T97" fmla="*/ 266 h 488"/>
              <a:gd name="T98" fmla="*/ 257 w 462"/>
              <a:gd name="T99" fmla="*/ 266 h 488"/>
              <a:gd name="T100" fmla="*/ 204 w 462"/>
              <a:gd name="T101" fmla="*/ 266 h 488"/>
              <a:gd name="T102" fmla="*/ 204 w 462"/>
              <a:gd name="T103" fmla="*/ 133 h 488"/>
              <a:gd name="T104" fmla="*/ 257 w 462"/>
              <a:gd name="T105" fmla="*/ 133 h 488"/>
              <a:gd name="T106" fmla="*/ 257 w 462"/>
              <a:gd name="T107" fmla="*/ 266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2" h="488">
                <a:moveTo>
                  <a:pt x="443" y="301"/>
                </a:moveTo>
                <a:lnTo>
                  <a:pt x="443" y="301"/>
                </a:lnTo>
                <a:cubicBezTo>
                  <a:pt x="408" y="266"/>
                  <a:pt x="408" y="266"/>
                  <a:pt x="408" y="266"/>
                </a:cubicBezTo>
                <a:cubicBezTo>
                  <a:pt x="390" y="248"/>
                  <a:pt x="390" y="230"/>
                  <a:pt x="408" y="221"/>
                </a:cubicBezTo>
                <a:cubicBezTo>
                  <a:pt x="443" y="186"/>
                  <a:pt x="443" y="186"/>
                  <a:pt x="443" y="186"/>
                </a:cubicBezTo>
                <a:cubicBezTo>
                  <a:pt x="461" y="168"/>
                  <a:pt x="452" y="160"/>
                  <a:pt x="443" y="160"/>
                </a:cubicBezTo>
                <a:cubicBezTo>
                  <a:pt x="381" y="151"/>
                  <a:pt x="381" y="151"/>
                  <a:pt x="381" y="151"/>
                </a:cubicBezTo>
                <a:cubicBezTo>
                  <a:pt x="364" y="151"/>
                  <a:pt x="355" y="142"/>
                  <a:pt x="364" y="124"/>
                </a:cubicBezTo>
                <a:cubicBezTo>
                  <a:pt x="390" y="36"/>
                  <a:pt x="390" y="36"/>
                  <a:pt x="390" y="36"/>
                </a:cubicBezTo>
                <a:cubicBezTo>
                  <a:pt x="399" y="27"/>
                  <a:pt x="390" y="17"/>
                  <a:pt x="381" y="27"/>
                </a:cubicBezTo>
                <a:cubicBezTo>
                  <a:pt x="311" y="71"/>
                  <a:pt x="311" y="71"/>
                  <a:pt x="311" y="71"/>
                </a:cubicBezTo>
                <a:cubicBezTo>
                  <a:pt x="292" y="80"/>
                  <a:pt x="275" y="71"/>
                  <a:pt x="267" y="53"/>
                </a:cubicBezTo>
                <a:cubicBezTo>
                  <a:pt x="248" y="17"/>
                  <a:pt x="248" y="17"/>
                  <a:pt x="248" y="17"/>
                </a:cubicBezTo>
                <a:cubicBezTo>
                  <a:pt x="239" y="0"/>
                  <a:pt x="222" y="0"/>
                  <a:pt x="213" y="17"/>
                </a:cubicBezTo>
                <a:cubicBezTo>
                  <a:pt x="195" y="53"/>
                  <a:pt x="195" y="53"/>
                  <a:pt x="195" y="53"/>
                </a:cubicBezTo>
                <a:cubicBezTo>
                  <a:pt x="186" y="71"/>
                  <a:pt x="169" y="71"/>
                  <a:pt x="151" y="71"/>
                </a:cubicBezTo>
                <a:cubicBezTo>
                  <a:pt x="116" y="53"/>
                  <a:pt x="116" y="53"/>
                  <a:pt x="116" y="53"/>
                </a:cubicBezTo>
                <a:cubicBezTo>
                  <a:pt x="98" y="45"/>
                  <a:pt x="80" y="53"/>
                  <a:pt x="89" y="71"/>
                </a:cubicBezTo>
                <a:cubicBezTo>
                  <a:pt x="89" y="106"/>
                  <a:pt x="89" y="106"/>
                  <a:pt x="89" y="106"/>
                </a:cubicBezTo>
                <a:cubicBezTo>
                  <a:pt x="89" y="124"/>
                  <a:pt x="80" y="142"/>
                  <a:pt x="63" y="142"/>
                </a:cubicBezTo>
                <a:cubicBezTo>
                  <a:pt x="18" y="160"/>
                  <a:pt x="18" y="160"/>
                  <a:pt x="18" y="160"/>
                </a:cubicBezTo>
                <a:cubicBezTo>
                  <a:pt x="9" y="160"/>
                  <a:pt x="0" y="168"/>
                  <a:pt x="18" y="186"/>
                </a:cubicBezTo>
                <a:cubicBezTo>
                  <a:pt x="63" y="221"/>
                  <a:pt x="63" y="221"/>
                  <a:pt x="63" y="221"/>
                </a:cubicBezTo>
                <a:cubicBezTo>
                  <a:pt x="71" y="230"/>
                  <a:pt x="71" y="248"/>
                  <a:pt x="63" y="266"/>
                </a:cubicBezTo>
                <a:cubicBezTo>
                  <a:pt x="18" y="301"/>
                  <a:pt x="18" y="301"/>
                  <a:pt x="18" y="301"/>
                </a:cubicBezTo>
                <a:cubicBezTo>
                  <a:pt x="0" y="311"/>
                  <a:pt x="9" y="319"/>
                  <a:pt x="27" y="319"/>
                </a:cubicBezTo>
                <a:cubicBezTo>
                  <a:pt x="71" y="328"/>
                  <a:pt x="71" y="328"/>
                  <a:pt x="71" y="328"/>
                </a:cubicBezTo>
                <a:cubicBezTo>
                  <a:pt x="89" y="328"/>
                  <a:pt x="98" y="346"/>
                  <a:pt x="98" y="364"/>
                </a:cubicBezTo>
                <a:cubicBezTo>
                  <a:pt x="71" y="443"/>
                  <a:pt x="71" y="443"/>
                  <a:pt x="71" y="443"/>
                </a:cubicBezTo>
                <a:cubicBezTo>
                  <a:pt x="63" y="461"/>
                  <a:pt x="71" y="461"/>
                  <a:pt x="89" y="461"/>
                </a:cubicBezTo>
                <a:cubicBezTo>
                  <a:pt x="142" y="425"/>
                  <a:pt x="142" y="425"/>
                  <a:pt x="142" y="425"/>
                </a:cubicBezTo>
                <a:cubicBezTo>
                  <a:pt x="160" y="417"/>
                  <a:pt x="177" y="417"/>
                  <a:pt x="186" y="434"/>
                </a:cubicBezTo>
                <a:cubicBezTo>
                  <a:pt x="213" y="470"/>
                  <a:pt x="213" y="470"/>
                  <a:pt x="213" y="470"/>
                </a:cubicBezTo>
                <a:cubicBezTo>
                  <a:pt x="222" y="487"/>
                  <a:pt x="239" y="478"/>
                  <a:pt x="248" y="470"/>
                </a:cubicBezTo>
                <a:cubicBezTo>
                  <a:pt x="267" y="425"/>
                  <a:pt x="267" y="425"/>
                  <a:pt x="267" y="425"/>
                </a:cubicBezTo>
                <a:cubicBezTo>
                  <a:pt x="275" y="408"/>
                  <a:pt x="292" y="408"/>
                  <a:pt x="311" y="408"/>
                </a:cubicBezTo>
                <a:cubicBezTo>
                  <a:pt x="355" y="434"/>
                  <a:pt x="355" y="434"/>
                  <a:pt x="355" y="434"/>
                </a:cubicBezTo>
                <a:cubicBezTo>
                  <a:pt x="364" y="443"/>
                  <a:pt x="381" y="434"/>
                  <a:pt x="373" y="417"/>
                </a:cubicBezTo>
                <a:cubicBezTo>
                  <a:pt x="373" y="372"/>
                  <a:pt x="373" y="372"/>
                  <a:pt x="373" y="372"/>
                </a:cubicBezTo>
                <a:cubicBezTo>
                  <a:pt x="373" y="364"/>
                  <a:pt x="390" y="346"/>
                  <a:pt x="399" y="337"/>
                </a:cubicBezTo>
                <a:cubicBezTo>
                  <a:pt x="443" y="328"/>
                  <a:pt x="443" y="328"/>
                  <a:pt x="443" y="328"/>
                </a:cubicBezTo>
                <a:cubicBezTo>
                  <a:pt x="452" y="319"/>
                  <a:pt x="461" y="311"/>
                  <a:pt x="443" y="301"/>
                </a:cubicBezTo>
                <a:close/>
                <a:moveTo>
                  <a:pt x="257" y="346"/>
                </a:moveTo>
                <a:lnTo>
                  <a:pt x="257" y="346"/>
                </a:lnTo>
                <a:cubicBezTo>
                  <a:pt x="204" y="346"/>
                  <a:pt x="204" y="346"/>
                  <a:pt x="204" y="346"/>
                </a:cubicBezTo>
                <a:cubicBezTo>
                  <a:pt x="204" y="292"/>
                  <a:pt x="204" y="292"/>
                  <a:pt x="204" y="292"/>
                </a:cubicBezTo>
                <a:cubicBezTo>
                  <a:pt x="257" y="292"/>
                  <a:pt x="257" y="292"/>
                  <a:pt x="257" y="292"/>
                </a:cubicBezTo>
                <a:lnTo>
                  <a:pt x="257" y="346"/>
                </a:lnTo>
                <a:close/>
                <a:moveTo>
                  <a:pt x="257" y="266"/>
                </a:moveTo>
                <a:lnTo>
                  <a:pt x="257" y="266"/>
                </a:lnTo>
                <a:cubicBezTo>
                  <a:pt x="204" y="266"/>
                  <a:pt x="204" y="266"/>
                  <a:pt x="204" y="266"/>
                </a:cubicBezTo>
                <a:cubicBezTo>
                  <a:pt x="204" y="133"/>
                  <a:pt x="204" y="133"/>
                  <a:pt x="204" y="133"/>
                </a:cubicBezTo>
                <a:cubicBezTo>
                  <a:pt x="257" y="133"/>
                  <a:pt x="257" y="133"/>
                  <a:pt x="257" y="133"/>
                </a:cubicBezTo>
                <a:lnTo>
                  <a:pt x="257" y="266"/>
                </a:lnTo>
                <a:close/>
              </a:path>
            </a:pathLst>
          </a:custGeom>
          <a:solidFill>
            <a:srgbClr val="C00000"/>
          </a:solidFill>
          <a:ln>
            <a:noFill/>
          </a:ln>
          <a:effectLst/>
        </p:spPr>
        <p:txBody>
          <a:bodyPr wrap="none" lIns="91424" tIns="45712" rIns="91424" bIns="45712" anchor="ctr"/>
          <a:lstStyle/>
          <a:p>
            <a:pPr defTabSz="1218987" fontAlgn="auto">
              <a:spcBef>
                <a:spcPts val="0"/>
              </a:spcBef>
              <a:spcAft>
                <a:spcPts val="0"/>
              </a:spcAft>
              <a:defRPr/>
            </a:pPr>
            <a:endParaRPr lang="en-GB" dirty="0">
              <a:latin typeface="+mn-lt"/>
              <a:ea typeface="+mn-ea"/>
            </a:endParaRPr>
          </a:p>
        </p:txBody>
      </p:sp>
      <p:sp>
        <p:nvSpPr>
          <p:cNvPr id="31" name="Freeform 102">
            <a:extLst>
              <a:ext uri="{FF2B5EF4-FFF2-40B4-BE49-F238E27FC236}">
                <a16:creationId xmlns:a16="http://schemas.microsoft.com/office/drawing/2014/main" xmlns="" id="{F7B1F2DE-E7D5-4594-9003-BC365BB3AAF3}"/>
              </a:ext>
            </a:extLst>
          </p:cNvPr>
          <p:cNvSpPr>
            <a:spLocks noChangeArrowheads="1"/>
          </p:cNvSpPr>
          <p:nvPr/>
        </p:nvSpPr>
        <p:spPr bwMode="auto">
          <a:xfrm>
            <a:off x="5477827" y="3096028"/>
            <a:ext cx="923883" cy="716614"/>
          </a:xfrm>
          <a:custGeom>
            <a:avLst/>
            <a:gdLst>
              <a:gd name="T0" fmla="*/ 80 w 498"/>
              <a:gd name="T1" fmla="*/ 151 h 445"/>
              <a:gd name="T2" fmla="*/ 80 w 498"/>
              <a:gd name="T3" fmla="*/ 151 h 445"/>
              <a:gd name="T4" fmla="*/ 142 w 498"/>
              <a:gd name="T5" fmla="*/ 169 h 445"/>
              <a:gd name="T6" fmla="*/ 151 w 498"/>
              <a:gd name="T7" fmla="*/ 169 h 445"/>
              <a:gd name="T8" fmla="*/ 195 w 498"/>
              <a:gd name="T9" fmla="*/ 134 h 445"/>
              <a:gd name="T10" fmla="*/ 195 w 498"/>
              <a:gd name="T11" fmla="*/ 125 h 445"/>
              <a:gd name="T12" fmla="*/ 178 w 498"/>
              <a:gd name="T13" fmla="*/ 107 h 445"/>
              <a:gd name="T14" fmla="*/ 275 w 498"/>
              <a:gd name="T15" fmla="*/ 10 h 445"/>
              <a:gd name="T16" fmla="*/ 195 w 498"/>
              <a:gd name="T17" fmla="*/ 0 h 445"/>
              <a:gd name="T18" fmla="*/ 107 w 498"/>
              <a:gd name="T19" fmla="*/ 54 h 445"/>
              <a:gd name="T20" fmla="*/ 72 w 498"/>
              <a:gd name="T21" fmla="*/ 81 h 445"/>
              <a:gd name="T22" fmla="*/ 53 w 498"/>
              <a:gd name="T23" fmla="*/ 116 h 445"/>
              <a:gd name="T24" fmla="*/ 18 w 498"/>
              <a:gd name="T25" fmla="*/ 125 h 445"/>
              <a:gd name="T26" fmla="*/ 0 w 498"/>
              <a:gd name="T27" fmla="*/ 143 h 445"/>
              <a:gd name="T28" fmla="*/ 0 w 498"/>
              <a:gd name="T29" fmla="*/ 151 h 445"/>
              <a:gd name="T30" fmla="*/ 36 w 498"/>
              <a:gd name="T31" fmla="*/ 187 h 445"/>
              <a:gd name="T32" fmla="*/ 53 w 498"/>
              <a:gd name="T33" fmla="*/ 196 h 445"/>
              <a:gd name="T34" fmla="*/ 72 w 498"/>
              <a:gd name="T35" fmla="*/ 178 h 445"/>
              <a:gd name="T36" fmla="*/ 80 w 498"/>
              <a:gd name="T37" fmla="*/ 151 h 445"/>
              <a:gd name="T38" fmla="*/ 222 w 498"/>
              <a:gd name="T39" fmla="*/ 160 h 445"/>
              <a:gd name="T40" fmla="*/ 222 w 498"/>
              <a:gd name="T41" fmla="*/ 160 h 445"/>
              <a:gd name="T42" fmla="*/ 213 w 498"/>
              <a:gd name="T43" fmla="*/ 160 h 445"/>
              <a:gd name="T44" fmla="*/ 178 w 498"/>
              <a:gd name="T45" fmla="*/ 187 h 445"/>
              <a:gd name="T46" fmla="*/ 169 w 498"/>
              <a:gd name="T47" fmla="*/ 204 h 445"/>
              <a:gd name="T48" fmla="*/ 381 w 498"/>
              <a:gd name="T49" fmla="*/ 435 h 445"/>
              <a:gd name="T50" fmla="*/ 399 w 498"/>
              <a:gd name="T51" fmla="*/ 435 h 445"/>
              <a:gd name="T52" fmla="*/ 426 w 498"/>
              <a:gd name="T53" fmla="*/ 417 h 445"/>
              <a:gd name="T54" fmla="*/ 426 w 498"/>
              <a:gd name="T55" fmla="*/ 400 h 445"/>
              <a:gd name="T56" fmla="*/ 222 w 498"/>
              <a:gd name="T57" fmla="*/ 160 h 445"/>
              <a:gd name="T58" fmla="*/ 497 w 498"/>
              <a:gd name="T59" fmla="*/ 63 h 445"/>
              <a:gd name="T60" fmla="*/ 497 w 498"/>
              <a:gd name="T61" fmla="*/ 63 h 445"/>
              <a:gd name="T62" fmla="*/ 479 w 498"/>
              <a:gd name="T63" fmla="*/ 54 h 445"/>
              <a:gd name="T64" fmla="*/ 461 w 498"/>
              <a:gd name="T65" fmla="*/ 89 h 445"/>
              <a:gd name="T66" fmla="*/ 408 w 498"/>
              <a:gd name="T67" fmla="*/ 107 h 445"/>
              <a:gd name="T68" fmla="*/ 399 w 498"/>
              <a:gd name="T69" fmla="*/ 63 h 445"/>
              <a:gd name="T70" fmla="*/ 417 w 498"/>
              <a:gd name="T71" fmla="*/ 19 h 445"/>
              <a:gd name="T72" fmla="*/ 408 w 498"/>
              <a:gd name="T73" fmla="*/ 10 h 445"/>
              <a:gd name="T74" fmla="*/ 337 w 498"/>
              <a:gd name="T75" fmla="*/ 72 h 445"/>
              <a:gd name="T76" fmla="*/ 319 w 498"/>
              <a:gd name="T77" fmla="*/ 151 h 445"/>
              <a:gd name="T78" fmla="*/ 284 w 498"/>
              <a:gd name="T79" fmla="*/ 187 h 445"/>
              <a:gd name="T80" fmla="*/ 319 w 498"/>
              <a:gd name="T81" fmla="*/ 231 h 445"/>
              <a:gd name="T82" fmla="*/ 364 w 498"/>
              <a:gd name="T83" fmla="*/ 187 h 445"/>
              <a:gd name="T84" fmla="*/ 408 w 498"/>
              <a:gd name="T85" fmla="*/ 178 h 445"/>
              <a:gd name="T86" fmla="*/ 488 w 498"/>
              <a:gd name="T87" fmla="*/ 143 h 445"/>
              <a:gd name="T88" fmla="*/ 497 w 498"/>
              <a:gd name="T89" fmla="*/ 63 h 445"/>
              <a:gd name="T90" fmla="*/ 72 w 498"/>
              <a:gd name="T91" fmla="*/ 400 h 445"/>
              <a:gd name="T92" fmla="*/ 72 w 498"/>
              <a:gd name="T93" fmla="*/ 400 h 445"/>
              <a:gd name="T94" fmla="*/ 72 w 498"/>
              <a:gd name="T95" fmla="*/ 417 h 445"/>
              <a:gd name="T96" fmla="*/ 89 w 498"/>
              <a:gd name="T97" fmla="*/ 444 h 445"/>
              <a:gd name="T98" fmla="*/ 107 w 498"/>
              <a:gd name="T99" fmla="*/ 435 h 445"/>
              <a:gd name="T100" fmla="*/ 231 w 498"/>
              <a:gd name="T101" fmla="*/ 320 h 445"/>
              <a:gd name="T102" fmla="*/ 195 w 498"/>
              <a:gd name="T103" fmla="*/ 275 h 445"/>
              <a:gd name="T104" fmla="*/ 72 w 498"/>
              <a:gd name="T105" fmla="*/ 40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8" h="445">
                <a:moveTo>
                  <a:pt x="80" y="151"/>
                </a:moveTo>
                <a:lnTo>
                  <a:pt x="80" y="151"/>
                </a:lnTo>
                <a:cubicBezTo>
                  <a:pt x="97" y="134"/>
                  <a:pt x="116" y="143"/>
                  <a:pt x="142" y="169"/>
                </a:cubicBezTo>
                <a:cubicBezTo>
                  <a:pt x="151" y="178"/>
                  <a:pt x="151" y="169"/>
                  <a:pt x="151" y="169"/>
                </a:cubicBezTo>
                <a:cubicBezTo>
                  <a:pt x="160" y="169"/>
                  <a:pt x="186" y="134"/>
                  <a:pt x="195" y="134"/>
                </a:cubicBezTo>
                <a:cubicBezTo>
                  <a:pt x="195" y="134"/>
                  <a:pt x="195" y="134"/>
                  <a:pt x="195" y="125"/>
                </a:cubicBezTo>
                <a:cubicBezTo>
                  <a:pt x="186" y="125"/>
                  <a:pt x="178" y="116"/>
                  <a:pt x="178" y="107"/>
                </a:cubicBezTo>
                <a:cubicBezTo>
                  <a:pt x="133" y="45"/>
                  <a:pt x="301" y="10"/>
                  <a:pt x="275" y="10"/>
                </a:cubicBezTo>
                <a:cubicBezTo>
                  <a:pt x="257" y="0"/>
                  <a:pt x="204" y="0"/>
                  <a:pt x="195" y="0"/>
                </a:cubicBezTo>
                <a:cubicBezTo>
                  <a:pt x="169" y="10"/>
                  <a:pt x="125" y="36"/>
                  <a:pt x="107" y="54"/>
                </a:cubicBezTo>
                <a:cubicBezTo>
                  <a:pt x="80" y="72"/>
                  <a:pt x="72" y="81"/>
                  <a:pt x="72" y="81"/>
                </a:cubicBezTo>
                <a:cubicBezTo>
                  <a:pt x="62" y="89"/>
                  <a:pt x="72" y="107"/>
                  <a:pt x="53" y="116"/>
                </a:cubicBezTo>
                <a:cubicBezTo>
                  <a:pt x="36" y="125"/>
                  <a:pt x="27" y="116"/>
                  <a:pt x="18" y="125"/>
                </a:cubicBezTo>
                <a:cubicBezTo>
                  <a:pt x="18" y="134"/>
                  <a:pt x="9" y="134"/>
                  <a:pt x="0" y="143"/>
                </a:cubicBezTo>
                <a:lnTo>
                  <a:pt x="0" y="151"/>
                </a:lnTo>
                <a:lnTo>
                  <a:pt x="36" y="187"/>
                </a:lnTo>
                <a:cubicBezTo>
                  <a:pt x="36" y="196"/>
                  <a:pt x="44" y="196"/>
                  <a:pt x="53" y="196"/>
                </a:cubicBezTo>
                <a:cubicBezTo>
                  <a:pt x="53" y="187"/>
                  <a:pt x="62" y="178"/>
                  <a:pt x="72" y="178"/>
                </a:cubicBezTo>
                <a:cubicBezTo>
                  <a:pt x="72" y="178"/>
                  <a:pt x="72" y="151"/>
                  <a:pt x="80" y="151"/>
                </a:cubicBezTo>
                <a:close/>
                <a:moveTo>
                  <a:pt x="222" y="160"/>
                </a:moveTo>
                <a:lnTo>
                  <a:pt x="222" y="160"/>
                </a:lnTo>
                <a:cubicBezTo>
                  <a:pt x="213" y="160"/>
                  <a:pt x="213" y="160"/>
                  <a:pt x="213" y="160"/>
                </a:cubicBezTo>
                <a:cubicBezTo>
                  <a:pt x="178" y="187"/>
                  <a:pt x="178" y="187"/>
                  <a:pt x="178" y="187"/>
                </a:cubicBezTo>
                <a:cubicBezTo>
                  <a:pt x="169" y="196"/>
                  <a:pt x="169" y="196"/>
                  <a:pt x="169" y="204"/>
                </a:cubicBezTo>
                <a:cubicBezTo>
                  <a:pt x="381" y="435"/>
                  <a:pt x="381" y="435"/>
                  <a:pt x="381" y="435"/>
                </a:cubicBezTo>
                <a:cubicBezTo>
                  <a:pt x="381" y="444"/>
                  <a:pt x="391" y="444"/>
                  <a:pt x="399" y="435"/>
                </a:cubicBezTo>
                <a:cubicBezTo>
                  <a:pt x="426" y="417"/>
                  <a:pt x="426" y="417"/>
                  <a:pt x="426" y="417"/>
                </a:cubicBezTo>
                <a:cubicBezTo>
                  <a:pt x="426" y="408"/>
                  <a:pt x="426" y="400"/>
                  <a:pt x="426" y="400"/>
                </a:cubicBezTo>
                <a:lnTo>
                  <a:pt x="222" y="160"/>
                </a:lnTo>
                <a:close/>
                <a:moveTo>
                  <a:pt x="497" y="63"/>
                </a:moveTo>
                <a:lnTo>
                  <a:pt x="497" y="63"/>
                </a:lnTo>
                <a:cubicBezTo>
                  <a:pt x="488" y="45"/>
                  <a:pt x="488" y="54"/>
                  <a:pt x="479" y="54"/>
                </a:cubicBezTo>
                <a:cubicBezTo>
                  <a:pt x="479" y="63"/>
                  <a:pt x="461" y="81"/>
                  <a:pt x="461" y="89"/>
                </a:cubicBezTo>
                <a:cubicBezTo>
                  <a:pt x="452" y="107"/>
                  <a:pt x="435" y="125"/>
                  <a:pt x="408" y="107"/>
                </a:cubicBezTo>
                <a:cubicBezTo>
                  <a:pt x="381" y="81"/>
                  <a:pt x="391" y="72"/>
                  <a:pt x="399" y="63"/>
                </a:cubicBezTo>
                <a:cubicBezTo>
                  <a:pt x="399" y="54"/>
                  <a:pt x="417" y="28"/>
                  <a:pt x="417" y="19"/>
                </a:cubicBezTo>
                <a:cubicBezTo>
                  <a:pt x="426" y="19"/>
                  <a:pt x="417" y="10"/>
                  <a:pt x="408" y="10"/>
                </a:cubicBezTo>
                <a:cubicBezTo>
                  <a:pt x="399" y="19"/>
                  <a:pt x="346" y="36"/>
                  <a:pt x="337" y="72"/>
                </a:cubicBezTo>
                <a:cubicBezTo>
                  <a:pt x="328" y="98"/>
                  <a:pt x="346" y="125"/>
                  <a:pt x="319" y="151"/>
                </a:cubicBezTo>
                <a:cubicBezTo>
                  <a:pt x="284" y="187"/>
                  <a:pt x="284" y="187"/>
                  <a:pt x="284" y="187"/>
                </a:cubicBezTo>
                <a:cubicBezTo>
                  <a:pt x="319" y="231"/>
                  <a:pt x="319" y="231"/>
                  <a:pt x="319" y="231"/>
                </a:cubicBezTo>
                <a:cubicBezTo>
                  <a:pt x="364" y="187"/>
                  <a:pt x="364" y="187"/>
                  <a:pt x="364" y="187"/>
                </a:cubicBezTo>
                <a:cubicBezTo>
                  <a:pt x="372" y="178"/>
                  <a:pt x="391" y="169"/>
                  <a:pt x="408" y="178"/>
                </a:cubicBezTo>
                <a:cubicBezTo>
                  <a:pt x="452" y="187"/>
                  <a:pt x="470" y="169"/>
                  <a:pt x="488" y="143"/>
                </a:cubicBezTo>
                <a:cubicBezTo>
                  <a:pt x="497" y="116"/>
                  <a:pt x="497" y="72"/>
                  <a:pt x="497" y="63"/>
                </a:cubicBezTo>
                <a:close/>
                <a:moveTo>
                  <a:pt x="72" y="400"/>
                </a:moveTo>
                <a:lnTo>
                  <a:pt x="72" y="400"/>
                </a:lnTo>
                <a:cubicBezTo>
                  <a:pt x="62" y="408"/>
                  <a:pt x="62" y="417"/>
                  <a:pt x="72" y="417"/>
                </a:cubicBezTo>
                <a:cubicBezTo>
                  <a:pt x="89" y="444"/>
                  <a:pt x="89" y="444"/>
                  <a:pt x="89" y="444"/>
                </a:cubicBezTo>
                <a:cubicBezTo>
                  <a:pt x="97" y="444"/>
                  <a:pt x="107" y="444"/>
                  <a:pt x="107" y="435"/>
                </a:cubicBezTo>
                <a:cubicBezTo>
                  <a:pt x="231" y="320"/>
                  <a:pt x="231" y="320"/>
                  <a:pt x="231" y="320"/>
                </a:cubicBezTo>
                <a:cubicBezTo>
                  <a:pt x="195" y="275"/>
                  <a:pt x="195" y="275"/>
                  <a:pt x="195" y="275"/>
                </a:cubicBezTo>
                <a:lnTo>
                  <a:pt x="72" y="400"/>
                </a:lnTo>
                <a:close/>
              </a:path>
            </a:pathLst>
          </a:custGeom>
          <a:solidFill>
            <a:schemeClr val="bg1">
              <a:lumMod val="50000"/>
            </a:schemeClr>
          </a:solidFill>
          <a:ln>
            <a:noFill/>
          </a:ln>
          <a:effectLst/>
        </p:spPr>
        <p:txBody>
          <a:bodyPr wrap="none" lIns="91424" tIns="45712" rIns="91424" bIns="45712" anchor="ctr"/>
          <a:lstStyle/>
          <a:p>
            <a:pPr defTabSz="1218987" fontAlgn="auto">
              <a:spcBef>
                <a:spcPts val="0"/>
              </a:spcBef>
              <a:spcAft>
                <a:spcPts val="0"/>
              </a:spcAft>
              <a:defRPr/>
            </a:pPr>
            <a:endParaRPr lang="en-GB" dirty="0">
              <a:latin typeface="+mn-lt"/>
              <a:ea typeface="+mn-ea"/>
            </a:endParaRPr>
          </a:p>
        </p:txBody>
      </p:sp>
      <p:sp>
        <p:nvSpPr>
          <p:cNvPr id="32" name="Freeform 137">
            <a:extLst>
              <a:ext uri="{FF2B5EF4-FFF2-40B4-BE49-F238E27FC236}">
                <a16:creationId xmlns:a16="http://schemas.microsoft.com/office/drawing/2014/main" xmlns="" id="{43013E00-9025-4479-90BA-8B6AA3A689EB}"/>
              </a:ext>
            </a:extLst>
          </p:cNvPr>
          <p:cNvSpPr>
            <a:spLocks noChangeArrowheads="1"/>
          </p:cNvSpPr>
          <p:nvPr/>
        </p:nvSpPr>
        <p:spPr bwMode="auto">
          <a:xfrm>
            <a:off x="3829171" y="3065198"/>
            <a:ext cx="860131" cy="822929"/>
          </a:xfrm>
          <a:custGeom>
            <a:avLst/>
            <a:gdLst>
              <a:gd name="T0" fmla="*/ 569639 w 608"/>
              <a:gd name="T1" fmla="*/ 245256 h 581"/>
              <a:gd name="T2" fmla="*/ 569639 w 608"/>
              <a:gd name="T3" fmla="*/ 245256 h 581"/>
              <a:gd name="T4" fmla="*/ 569639 w 608"/>
              <a:gd name="T5" fmla="*/ 245256 h 581"/>
              <a:gd name="T6" fmla="*/ 427469 w 608"/>
              <a:gd name="T7" fmla="*/ 347206 h 581"/>
              <a:gd name="T8" fmla="*/ 481263 w 608"/>
              <a:gd name="T9" fmla="*/ 516481 h 581"/>
              <a:gd name="T10" fmla="*/ 481263 w 608"/>
              <a:gd name="T11" fmla="*/ 530908 h 581"/>
              <a:gd name="T12" fmla="*/ 454366 w 608"/>
              <a:gd name="T13" fmla="*/ 557838 h 581"/>
              <a:gd name="T14" fmla="*/ 440918 w 608"/>
              <a:gd name="T15" fmla="*/ 551106 h 581"/>
              <a:gd name="T16" fmla="*/ 440918 w 608"/>
              <a:gd name="T17" fmla="*/ 551106 h 581"/>
              <a:gd name="T18" fmla="*/ 292024 w 608"/>
              <a:gd name="T19" fmla="*/ 442423 h 581"/>
              <a:gd name="T20" fmla="*/ 142170 w 608"/>
              <a:gd name="T21" fmla="*/ 551106 h 581"/>
              <a:gd name="T22" fmla="*/ 142170 w 608"/>
              <a:gd name="T23" fmla="*/ 551106 h 581"/>
              <a:gd name="T24" fmla="*/ 128721 w 608"/>
              <a:gd name="T25" fmla="*/ 557838 h 581"/>
              <a:gd name="T26" fmla="*/ 101824 w 608"/>
              <a:gd name="T27" fmla="*/ 530908 h 581"/>
              <a:gd name="T28" fmla="*/ 101824 w 608"/>
              <a:gd name="T29" fmla="*/ 516481 h 581"/>
              <a:gd name="T30" fmla="*/ 155618 w 608"/>
              <a:gd name="T31" fmla="*/ 347206 h 581"/>
              <a:gd name="T32" fmla="*/ 13448 w 608"/>
              <a:gd name="T33" fmla="*/ 245256 h 581"/>
              <a:gd name="T34" fmla="*/ 13448 w 608"/>
              <a:gd name="T35" fmla="*/ 245256 h 581"/>
              <a:gd name="T36" fmla="*/ 0 w 608"/>
              <a:gd name="T37" fmla="*/ 217365 h 581"/>
              <a:gd name="T38" fmla="*/ 26897 w 608"/>
              <a:gd name="T39" fmla="*/ 190434 h 581"/>
              <a:gd name="T40" fmla="*/ 26897 w 608"/>
              <a:gd name="T41" fmla="*/ 190434 h 581"/>
              <a:gd name="T42" fmla="*/ 210373 w 608"/>
              <a:gd name="T43" fmla="*/ 190434 h 581"/>
              <a:gd name="T44" fmla="*/ 264166 w 608"/>
              <a:gd name="T45" fmla="*/ 21159 h 581"/>
              <a:gd name="T46" fmla="*/ 292024 w 608"/>
              <a:gd name="T47" fmla="*/ 0 h 581"/>
              <a:gd name="T48" fmla="*/ 318921 w 608"/>
              <a:gd name="T49" fmla="*/ 21159 h 581"/>
              <a:gd name="T50" fmla="*/ 372715 w 608"/>
              <a:gd name="T51" fmla="*/ 190434 h 581"/>
              <a:gd name="T52" fmla="*/ 556190 w 608"/>
              <a:gd name="T53" fmla="*/ 190434 h 581"/>
              <a:gd name="T54" fmla="*/ 556190 w 608"/>
              <a:gd name="T55" fmla="*/ 190434 h 581"/>
              <a:gd name="T56" fmla="*/ 583087 w 608"/>
              <a:gd name="T57" fmla="*/ 217365 h 581"/>
              <a:gd name="T58" fmla="*/ 569639 w 608"/>
              <a:gd name="T59" fmla="*/ 245256 h 58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08" h="581">
                <a:moveTo>
                  <a:pt x="593" y="255"/>
                </a:moveTo>
                <a:lnTo>
                  <a:pt x="593" y="255"/>
                </a:lnTo>
                <a:cubicBezTo>
                  <a:pt x="445" y="361"/>
                  <a:pt x="445" y="361"/>
                  <a:pt x="445" y="361"/>
                </a:cubicBezTo>
                <a:cubicBezTo>
                  <a:pt x="501" y="537"/>
                  <a:pt x="501" y="537"/>
                  <a:pt x="501" y="537"/>
                </a:cubicBezTo>
                <a:cubicBezTo>
                  <a:pt x="501" y="545"/>
                  <a:pt x="501" y="545"/>
                  <a:pt x="501" y="552"/>
                </a:cubicBezTo>
                <a:cubicBezTo>
                  <a:pt x="501" y="566"/>
                  <a:pt x="487" y="580"/>
                  <a:pt x="473" y="580"/>
                </a:cubicBezTo>
                <a:cubicBezTo>
                  <a:pt x="466" y="580"/>
                  <a:pt x="459" y="573"/>
                  <a:pt x="459" y="573"/>
                </a:cubicBezTo>
                <a:cubicBezTo>
                  <a:pt x="304" y="460"/>
                  <a:pt x="304" y="460"/>
                  <a:pt x="304" y="460"/>
                </a:cubicBezTo>
                <a:cubicBezTo>
                  <a:pt x="148" y="573"/>
                  <a:pt x="148" y="573"/>
                  <a:pt x="148" y="573"/>
                </a:cubicBezTo>
                <a:cubicBezTo>
                  <a:pt x="148" y="573"/>
                  <a:pt x="141" y="580"/>
                  <a:pt x="134" y="580"/>
                </a:cubicBezTo>
                <a:cubicBezTo>
                  <a:pt x="120" y="580"/>
                  <a:pt x="106" y="566"/>
                  <a:pt x="106" y="552"/>
                </a:cubicBezTo>
                <a:cubicBezTo>
                  <a:pt x="106" y="545"/>
                  <a:pt x="106" y="545"/>
                  <a:pt x="106" y="537"/>
                </a:cubicBezTo>
                <a:cubicBezTo>
                  <a:pt x="162" y="361"/>
                  <a:pt x="162" y="361"/>
                  <a:pt x="162" y="361"/>
                </a:cubicBezTo>
                <a:cubicBezTo>
                  <a:pt x="14" y="255"/>
                  <a:pt x="14" y="255"/>
                  <a:pt x="14" y="255"/>
                </a:cubicBezTo>
                <a:cubicBezTo>
                  <a:pt x="7" y="248"/>
                  <a:pt x="0" y="241"/>
                  <a:pt x="0" y="226"/>
                </a:cubicBezTo>
                <a:cubicBezTo>
                  <a:pt x="0" y="212"/>
                  <a:pt x="14" y="198"/>
                  <a:pt x="28" y="198"/>
                </a:cubicBezTo>
                <a:cubicBezTo>
                  <a:pt x="219" y="198"/>
                  <a:pt x="219" y="198"/>
                  <a:pt x="219" y="198"/>
                </a:cubicBezTo>
                <a:cubicBezTo>
                  <a:pt x="275" y="22"/>
                  <a:pt x="275" y="22"/>
                  <a:pt x="275" y="22"/>
                </a:cubicBezTo>
                <a:cubicBezTo>
                  <a:pt x="282" y="14"/>
                  <a:pt x="290" y="0"/>
                  <a:pt x="304" y="0"/>
                </a:cubicBezTo>
                <a:cubicBezTo>
                  <a:pt x="318" y="0"/>
                  <a:pt x="325" y="14"/>
                  <a:pt x="332" y="22"/>
                </a:cubicBezTo>
                <a:cubicBezTo>
                  <a:pt x="388" y="198"/>
                  <a:pt x="388" y="198"/>
                  <a:pt x="388" y="198"/>
                </a:cubicBezTo>
                <a:cubicBezTo>
                  <a:pt x="579" y="198"/>
                  <a:pt x="579" y="198"/>
                  <a:pt x="579" y="198"/>
                </a:cubicBezTo>
                <a:cubicBezTo>
                  <a:pt x="593" y="198"/>
                  <a:pt x="607" y="212"/>
                  <a:pt x="607" y="226"/>
                </a:cubicBezTo>
                <a:cubicBezTo>
                  <a:pt x="607" y="241"/>
                  <a:pt x="600" y="248"/>
                  <a:pt x="593" y="255"/>
                </a:cubicBezTo>
              </a:path>
            </a:pathLst>
          </a:custGeom>
          <a:solidFill>
            <a:schemeClr val="accent4">
              <a:lumMod val="50000"/>
            </a:schemeClr>
          </a:solidFill>
          <a:ln>
            <a:noFill/>
          </a:ln>
          <a:effectLst/>
        </p:spPr>
        <p:txBody>
          <a:bodyPr wrap="none" anchor="ctr"/>
          <a:lstStyle/>
          <a:p>
            <a:endParaRPr lang="en-GB" dirty="0"/>
          </a:p>
        </p:txBody>
      </p:sp>
      <p:sp>
        <p:nvSpPr>
          <p:cNvPr id="34" name="Freeform 96">
            <a:extLst>
              <a:ext uri="{FF2B5EF4-FFF2-40B4-BE49-F238E27FC236}">
                <a16:creationId xmlns:a16="http://schemas.microsoft.com/office/drawing/2014/main" xmlns="" id="{A2655F01-8220-46CA-84A8-BA254AD66021}"/>
              </a:ext>
            </a:extLst>
          </p:cNvPr>
          <p:cNvSpPr>
            <a:spLocks noEditPoints="1"/>
          </p:cNvSpPr>
          <p:nvPr/>
        </p:nvSpPr>
        <p:spPr bwMode="auto">
          <a:xfrm>
            <a:off x="7190235" y="3098702"/>
            <a:ext cx="774975" cy="793865"/>
          </a:xfrm>
          <a:custGeom>
            <a:avLst/>
            <a:gdLst>
              <a:gd name="T0" fmla="*/ 64030 w 62"/>
              <a:gd name="T1" fmla="*/ 82434 h 55"/>
              <a:gd name="T2" fmla="*/ 64030 w 62"/>
              <a:gd name="T3" fmla="*/ 494606 h 55"/>
              <a:gd name="T4" fmla="*/ 54882 w 62"/>
              <a:gd name="T5" fmla="*/ 503765 h 55"/>
              <a:gd name="T6" fmla="*/ 27441 w 62"/>
              <a:gd name="T7" fmla="*/ 503765 h 55"/>
              <a:gd name="T8" fmla="*/ 18294 w 62"/>
              <a:gd name="T9" fmla="*/ 494606 h 55"/>
              <a:gd name="T10" fmla="*/ 18294 w 62"/>
              <a:gd name="T11" fmla="*/ 82434 h 55"/>
              <a:gd name="T12" fmla="*/ 0 w 62"/>
              <a:gd name="T13" fmla="*/ 45797 h 55"/>
              <a:gd name="T14" fmla="*/ 45735 w 62"/>
              <a:gd name="T15" fmla="*/ 0 h 55"/>
              <a:gd name="T16" fmla="*/ 82324 w 62"/>
              <a:gd name="T17" fmla="*/ 45797 h 55"/>
              <a:gd name="T18" fmla="*/ 64030 w 62"/>
              <a:gd name="T19" fmla="*/ 82434 h 55"/>
              <a:gd name="T20" fmla="*/ 567119 w 62"/>
              <a:gd name="T21" fmla="*/ 311418 h 55"/>
              <a:gd name="T22" fmla="*/ 548825 w 62"/>
              <a:gd name="T23" fmla="*/ 329737 h 55"/>
              <a:gd name="T24" fmla="*/ 548825 w 62"/>
              <a:gd name="T25" fmla="*/ 338896 h 55"/>
              <a:gd name="T26" fmla="*/ 429913 w 62"/>
              <a:gd name="T27" fmla="*/ 375534 h 55"/>
              <a:gd name="T28" fmla="*/ 375030 w 62"/>
              <a:gd name="T29" fmla="*/ 357215 h 55"/>
              <a:gd name="T30" fmla="*/ 365883 w 62"/>
              <a:gd name="T31" fmla="*/ 357215 h 55"/>
              <a:gd name="T32" fmla="*/ 265265 w 62"/>
              <a:gd name="T33" fmla="*/ 329737 h 55"/>
              <a:gd name="T34" fmla="*/ 118912 w 62"/>
              <a:gd name="T35" fmla="*/ 375534 h 55"/>
              <a:gd name="T36" fmla="*/ 100618 w 62"/>
              <a:gd name="T37" fmla="*/ 375534 h 55"/>
              <a:gd name="T38" fmla="*/ 91471 w 62"/>
              <a:gd name="T39" fmla="*/ 375534 h 55"/>
              <a:gd name="T40" fmla="*/ 82324 w 62"/>
              <a:gd name="T41" fmla="*/ 357215 h 55"/>
              <a:gd name="T42" fmla="*/ 82324 w 62"/>
              <a:gd name="T43" fmla="*/ 109912 h 55"/>
              <a:gd name="T44" fmla="*/ 91471 w 62"/>
              <a:gd name="T45" fmla="*/ 100753 h 55"/>
              <a:gd name="T46" fmla="*/ 256118 w 62"/>
              <a:gd name="T47" fmla="*/ 45797 h 55"/>
              <a:gd name="T48" fmla="*/ 393324 w 62"/>
              <a:gd name="T49" fmla="*/ 82434 h 55"/>
              <a:gd name="T50" fmla="*/ 420766 w 62"/>
              <a:gd name="T51" fmla="*/ 91594 h 55"/>
              <a:gd name="T52" fmla="*/ 521384 w 62"/>
              <a:gd name="T53" fmla="*/ 54956 h 55"/>
              <a:gd name="T54" fmla="*/ 530531 w 62"/>
              <a:gd name="T55" fmla="*/ 45797 h 55"/>
              <a:gd name="T56" fmla="*/ 557972 w 62"/>
              <a:gd name="T57" fmla="*/ 45797 h 55"/>
              <a:gd name="T58" fmla="*/ 567119 w 62"/>
              <a:gd name="T59" fmla="*/ 64116 h 55"/>
              <a:gd name="T60" fmla="*/ 567119 w 62"/>
              <a:gd name="T61" fmla="*/ 311418 h 55"/>
              <a:gd name="T62" fmla="*/ 246971 w 62"/>
              <a:gd name="T63" fmla="*/ 82434 h 55"/>
              <a:gd name="T64" fmla="*/ 128059 w 62"/>
              <a:gd name="T65" fmla="*/ 128231 h 55"/>
              <a:gd name="T66" fmla="*/ 128059 w 62"/>
              <a:gd name="T67" fmla="*/ 192347 h 55"/>
              <a:gd name="T68" fmla="*/ 246971 w 62"/>
              <a:gd name="T69" fmla="*/ 146550 h 55"/>
              <a:gd name="T70" fmla="*/ 246971 w 62"/>
              <a:gd name="T71" fmla="*/ 82434 h 55"/>
              <a:gd name="T72" fmla="*/ 246971 w 62"/>
              <a:gd name="T73" fmla="*/ 219825 h 55"/>
              <a:gd name="T74" fmla="*/ 128059 w 62"/>
              <a:gd name="T75" fmla="*/ 265622 h 55"/>
              <a:gd name="T76" fmla="*/ 128059 w 62"/>
              <a:gd name="T77" fmla="*/ 320578 h 55"/>
              <a:gd name="T78" fmla="*/ 246971 w 62"/>
              <a:gd name="T79" fmla="*/ 283940 h 55"/>
              <a:gd name="T80" fmla="*/ 246971 w 62"/>
              <a:gd name="T81" fmla="*/ 219825 h 55"/>
              <a:gd name="T82" fmla="*/ 521384 w 62"/>
              <a:gd name="T83" fmla="*/ 238143 h 55"/>
              <a:gd name="T84" fmla="*/ 393324 w 62"/>
              <a:gd name="T85" fmla="*/ 265622 h 55"/>
              <a:gd name="T86" fmla="*/ 393324 w 62"/>
              <a:gd name="T87" fmla="*/ 192347 h 55"/>
              <a:gd name="T88" fmla="*/ 384177 w 62"/>
              <a:gd name="T89" fmla="*/ 183187 h 55"/>
              <a:gd name="T90" fmla="*/ 265265 w 62"/>
              <a:gd name="T91" fmla="*/ 146550 h 55"/>
              <a:gd name="T92" fmla="*/ 246971 w 62"/>
              <a:gd name="T93" fmla="*/ 146550 h 55"/>
              <a:gd name="T94" fmla="*/ 246971 w 62"/>
              <a:gd name="T95" fmla="*/ 219825 h 55"/>
              <a:gd name="T96" fmla="*/ 256118 w 62"/>
              <a:gd name="T97" fmla="*/ 219825 h 55"/>
              <a:gd name="T98" fmla="*/ 384177 w 62"/>
              <a:gd name="T99" fmla="*/ 256462 h 55"/>
              <a:gd name="T100" fmla="*/ 393324 w 62"/>
              <a:gd name="T101" fmla="*/ 265622 h 55"/>
              <a:gd name="T102" fmla="*/ 393324 w 62"/>
              <a:gd name="T103" fmla="*/ 329737 h 55"/>
              <a:gd name="T104" fmla="*/ 429913 w 62"/>
              <a:gd name="T105" fmla="*/ 329737 h 55"/>
              <a:gd name="T106" fmla="*/ 521384 w 62"/>
              <a:gd name="T107" fmla="*/ 302259 h 55"/>
              <a:gd name="T108" fmla="*/ 521384 w 62"/>
              <a:gd name="T109" fmla="*/ 238143 h 55"/>
              <a:gd name="T110" fmla="*/ 521384 w 62"/>
              <a:gd name="T111" fmla="*/ 100753 h 55"/>
              <a:gd name="T112" fmla="*/ 420766 w 62"/>
              <a:gd name="T113" fmla="*/ 128231 h 55"/>
              <a:gd name="T114" fmla="*/ 393324 w 62"/>
              <a:gd name="T115" fmla="*/ 128231 h 55"/>
              <a:gd name="T116" fmla="*/ 393324 w 62"/>
              <a:gd name="T117" fmla="*/ 192347 h 55"/>
              <a:gd name="T118" fmla="*/ 521384 w 62"/>
              <a:gd name="T119" fmla="*/ 164869 h 55"/>
              <a:gd name="T120" fmla="*/ 521384 w 62"/>
              <a:gd name="T121" fmla="*/ 100753 h 5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2" h="55">
                <a:moveTo>
                  <a:pt x="7" y="9"/>
                </a:moveTo>
                <a:cubicBezTo>
                  <a:pt x="7" y="54"/>
                  <a:pt x="7" y="54"/>
                  <a:pt x="7" y="54"/>
                </a:cubicBezTo>
                <a:cubicBezTo>
                  <a:pt x="7" y="54"/>
                  <a:pt x="6" y="55"/>
                  <a:pt x="6" y="55"/>
                </a:cubicBezTo>
                <a:cubicBezTo>
                  <a:pt x="3" y="55"/>
                  <a:pt x="3" y="55"/>
                  <a:pt x="3" y="55"/>
                </a:cubicBezTo>
                <a:cubicBezTo>
                  <a:pt x="3" y="55"/>
                  <a:pt x="2" y="54"/>
                  <a:pt x="2" y="54"/>
                </a:cubicBezTo>
                <a:cubicBezTo>
                  <a:pt x="2" y="9"/>
                  <a:pt x="2" y="9"/>
                  <a:pt x="2" y="9"/>
                </a:cubicBezTo>
                <a:cubicBezTo>
                  <a:pt x="1" y="8"/>
                  <a:pt x="0" y="6"/>
                  <a:pt x="0" y="5"/>
                </a:cubicBezTo>
                <a:cubicBezTo>
                  <a:pt x="0" y="2"/>
                  <a:pt x="2" y="0"/>
                  <a:pt x="5" y="0"/>
                </a:cubicBezTo>
                <a:cubicBezTo>
                  <a:pt x="7" y="0"/>
                  <a:pt x="9" y="2"/>
                  <a:pt x="9" y="5"/>
                </a:cubicBezTo>
                <a:cubicBezTo>
                  <a:pt x="9" y="6"/>
                  <a:pt x="8" y="8"/>
                  <a:pt x="7" y="9"/>
                </a:cubicBezTo>
                <a:close/>
                <a:moveTo>
                  <a:pt x="62" y="34"/>
                </a:moveTo>
                <a:cubicBezTo>
                  <a:pt x="62" y="35"/>
                  <a:pt x="61" y="36"/>
                  <a:pt x="60" y="36"/>
                </a:cubicBezTo>
                <a:cubicBezTo>
                  <a:pt x="60" y="36"/>
                  <a:pt x="60" y="36"/>
                  <a:pt x="60" y="37"/>
                </a:cubicBezTo>
                <a:cubicBezTo>
                  <a:pt x="58" y="38"/>
                  <a:pt x="52" y="41"/>
                  <a:pt x="47" y="41"/>
                </a:cubicBezTo>
                <a:cubicBezTo>
                  <a:pt x="45" y="41"/>
                  <a:pt x="43" y="40"/>
                  <a:pt x="41" y="39"/>
                </a:cubicBezTo>
                <a:cubicBezTo>
                  <a:pt x="40" y="39"/>
                  <a:pt x="40" y="39"/>
                  <a:pt x="40" y="39"/>
                </a:cubicBezTo>
                <a:cubicBezTo>
                  <a:pt x="36" y="37"/>
                  <a:pt x="34" y="36"/>
                  <a:pt x="29" y="36"/>
                </a:cubicBezTo>
                <a:cubicBezTo>
                  <a:pt x="24" y="36"/>
                  <a:pt x="17" y="38"/>
                  <a:pt x="13" y="41"/>
                </a:cubicBezTo>
                <a:cubicBezTo>
                  <a:pt x="12" y="41"/>
                  <a:pt x="12" y="41"/>
                  <a:pt x="11" y="41"/>
                </a:cubicBezTo>
                <a:cubicBezTo>
                  <a:pt x="11" y="41"/>
                  <a:pt x="11" y="41"/>
                  <a:pt x="10" y="41"/>
                </a:cubicBezTo>
                <a:cubicBezTo>
                  <a:pt x="10" y="41"/>
                  <a:pt x="9" y="40"/>
                  <a:pt x="9" y="39"/>
                </a:cubicBezTo>
                <a:cubicBezTo>
                  <a:pt x="9" y="12"/>
                  <a:pt x="9" y="12"/>
                  <a:pt x="9" y="12"/>
                </a:cubicBezTo>
                <a:cubicBezTo>
                  <a:pt x="9" y="12"/>
                  <a:pt x="10" y="11"/>
                  <a:pt x="10" y="11"/>
                </a:cubicBezTo>
                <a:cubicBezTo>
                  <a:pt x="13" y="9"/>
                  <a:pt x="21" y="5"/>
                  <a:pt x="28" y="5"/>
                </a:cubicBezTo>
                <a:cubicBezTo>
                  <a:pt x="34" y="5"/>
                  <a:pt x="39" y="7"/>
                  <a:pt x="43" y="9"/>
                </a:cubicBezTo>
                <a:cubicBezTo>
                  <a:pt x="44" y="9"/>
                  <a:pt x="45" y="10"/>
                  <a:pt x="46" y="10"/>
                </a:cubicBezTo>
                <a:cubicBezTo>
                  <a:pt x="50" y="10"/>
                  <a:pt x="55" y="7"/>
                  <a:pt x="57" y="6"/>
                </a:cubicBezTo>
                <a:cubicBezTo>
                  <a:pt x="58" y="5"/>
                  <a:pt x="58" y="5"/>
                  <a:pt x="58" y="5"/>
                </a:cubicBezTo>
                <a:cubicBezTo>
                  <a:pt x="59" y="5"/>
                  <a:pt x="60" y="5"/>
                  <a:pt x="61" y="5"/>
                </a:cubicBezTo>
                <a:cubicBezTo>
                  <a:pt x="61" y="5"/>
                  <a:pt x="62" y="6"/>
                  <a:pt x="62" y="7"/>
                </a:cubicBezTo>
                <a:lnTo>
                  <a:pt x="62" y="34"/>
                </a:lnTo>
                <a:close/>
                <a:moveTo>
                  <a:pt x="27" y="9"/>
                </a:moveTo>
                <a:cubicBezTo>
                  <a:pt x="23" y="10"/>
                  <a:pt x="18" y="12"/>
                  <a:pt x="14" y="14"/>
                </a:cubicBezTo>
                <a:cubicBezTo>
                  <a:pt x="14" y="21"/>
                  <a:pt x="14" y="21"/>
                  <a:pt x="14" y="21"/>
                </a:cubicBezTo>
                <a:cubicBezTo>
                  <a:pt x="18" y="18"/>
                  <a:pt x="23" y="17"/>
                  <a:pt x="27" y="16"/>
                </a:cubicBezTo>
                <a:lnTo>
                  <a:pt x="27" y="9"/>
                </a:lnTo>
                <a:close/>
                <a:moveTo>
                  <a:pt x="27" y="24"/>
                </a:moveTo>
                <a:cubicBezTo>
                  <a:pt x="23" y="25"/>
                  <a:pt x="18" y="27"/>
                  <a:pt x="14" y="29"/>
                </a:cubicBezTo>
                <a:cubicBezTo>
                  <a:pt x="14" y="35"/>
                  <a:pt x="14" y="35"/>
                  <a:pt x="14" y="35"/>
                </a:cubicBezTo>
                <a:cubicBezTo>
                  <a:pt x="18" y="33"/>
                  <a:pt x="23" y="32"/>
                  <a:pt x="27" y="31"/>
                </a:cubicBezTo>
                <a:lnTo>
                  <a:pt x="27" y="24"/>
                </a:lnTo>
                <a:close/>
                <a:moveTo>
                  <a:pt x="57" y="26"/>
                </a:moveTo>
                <a:cubicBezTo>
                  <a:pt x="54" y="28"/>
                  <a:pt x="48" y="30"/>
                  <a:pt x="43" y="29"/>
                </a:cubicBezTo>
                <a:cubicBezTo>
                  <a:pt x="43" y="21"/>
                  <a:pt x="43" y="21"/>
                  <a:pt x="43" y="21"/>
                </a:cubicBezTo>
                <a:cubicBezTo>
                  <a:pt x="43" y="21"/>
                  <a:pt x="43" y="21"/>
                  <a:pt x="42" y="20"/>
                </a:cubicBezTo>
                <a:cubicBezTo>
                  <a:pt x="38" y="18"/>
                  <a:pt x="35" y="16"/>
                  <a:pt x="29" y="16"/>
                </a:cubicBezTo>
                <a:cubicBezTo>
                  <a:pt x="29" y="16"/>
                  <a:pt x="28" y="16"/>
                  <a:pt x="27" y="16"/>
                </a:cubicBezTo>
                <a:cubicBezTo>
                  <a:pt x="27" y="24"/>
                  <a:pt x="27" y="24"/>
                  <a:pt x="27" y="24"/>
                </a:cubicBezTo>
                <a:cubicBezTo>
                  <a:pt x="28" y="24"/>
                  <a:pt x="28" y="24"/>
                  <a:pt x="28" y="24"/>
                </a:cubicBezTo>
                <a:cubicBezTo>
                  <a:pt x="34" y="24"/>
                  <a:pt x="38" y="26"/>
                  <a:pt x="42" y="28"/>
                </a:cubicBezTo>
                <a:cubicBezTo>
                  <a:pt x="43" y="29"/>
                  <a:pt x="43" y="29"/>
                  <a:pt x="43" y="29"/>
                </a:cubicBezTo>
                <a:cubicBezTo>
                  <a:pt x="43" y="36"/>
                  <a:pt x="43" y="36"/>
                  <a:pt x="43" y="36"/>
                </a:cubicBezTo>
                <a:cubicBezTo>
                  <a:pt x="44" y="36"/>
                  <a:pt x="45" y="36"/>
                  <a:pt x="47" y="36"/>
                </a:cubicBezTo>
                <a:cubicBezTo>
                  <a:pt x="51" y="36"/>
                  <a:pt x="55" y="34"/>
                  <a:pt x="57" y="33"/>
                </a:cubicBezTo>
                <a:lnTo>
                  <a:pt x="57" y="26"/>
                </a:lnTo>
                <a:close/>
                <a:moveTo>
                  <a:pt x="57" y="11"/>
                </a:moveTo>
                <a:cubicBezTo>
                  <a:pt x="54" y="12"/>
                  <a:pt x="50" y="14"/>
                  <a:pt x="46" y="14"/>
                </a:cubicBezTo>
                <a:cubicBezTo>
                  <a:pt x="45" y="14"/>
                  <a:pt x="44" y="14"/>
                  <a:pt x="43" y="14"/>
                </a:cubicBezTo>
                <a:cubicBezTo>
                  <a:pt x="43" y="21"/>
                  <a:pt x="43" y="21"/>
                  <a:pt x="43" y="21"/>
                </a:cubicBezTo>
                <a:cubicBezTo>
                  <a:pt x="48" y="22"/>
                  <a:pt x="54" y="19"/>
                  <a:pt x="57" y="18"/>
                </a:cubicBezTo>
                <a:lnTo>
                  <a:pt x="57" y="11"/>
                </a:lnTo>
                <a:close/>
              </a:path>
            </a:pathLst>
          </a:custGeom>
          <a:solidFill>
            <a:schemeClr val="accent4"/>
          </a:solidFill>
          <a:ln>
            <a:noFill/>
          </a:ln>
        </p:spPr>
        <p:txBody>
          <a:bodyPr lIns="243797" tIns="121899" rIns="243797" bIns="121899"/>
          <a:lstStyle/>
          <a:p>
            <a:endParaRPr lang="en-GB" dirty="0"/>
          </a:p>
        </p:txBody>
      </p:sp>
      <p:sp>
        <p:nvSpPr>
          <p:cNvPr id="35" name="Ellipse 34">
            <a:extLst>
              <a:ext uri="{FF2B5EF4-FFF2-40B4-BE49-F238E27FC236}">
                <a16:creationId xmlns:a16="http://schemas.microsoft.com/office/drawing/2014/main" xmlns="" id="{34270467-4051-4070-8495-DF626DF4A137}"/>
              </a:ext>
            </a:extLst>
          </p:cNvPr>
          <p:cNvSpPr/>
          <p:nvPr/>
        </p:nvSpPr>
        <p:spPr>
          <a:xfrm>
            <a:off x="10397398" y="3065198"/>
            <a:ext cx="876637" cy="837397"/>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5533611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61638" y="503476"/>
            <a:ext cx="8977762" cy="813433"/>
          </a:xfrm>
        </p:spPr>
        <p:txBody>
          <a:bodyPr>
            <a:normAutofit fontScale="92500"/>
          </a:bodyPr>
          <a:lstStyle/>
          <a:p>
            <a:r>
              <a:rPr lang="en-GB" dirty="0"/>
              <a:t>Aprender de la gestión de tareas en la crisis (co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2222951" cy="219064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latin typeface="+mj-lt"/>
                <a:sym typeface="Wingdings" panose="05000000000000000000" pitchFamily="2" charset="2"/>
              </a:rPr>
              <a:t>Hay cinco errores comunes en la forma en que se suele ejecutar la gestión de tareas:</a:t>
            </a:r>
            <a:endParaRPr lang="en-GB" sz="2200" dirty="0">
              <a:latin typeface="+mj-lt"/>
            </a:endParaRPr>
          </a:p>
          <a:p>
            <a:pPr algn="l">
              <a:lnSpc>
                <a:spcPct val="100000"/>
              </a:lnSpc>
              <a:spcBef>
                <a:spcPts val="600"/>
              </a:spcBef>
            </a:pPr>
            <a:endParaRPr lang="en-GB" sz="2200" b="1" dirty="0">
              <a:latin typeface="+mj-lt"/>
            </a:endParaRPr>
          </a:p>
        </p:txBody>
      </p:sp>
      <p:sp>
        <p:nvSpPr>
          <p:cNvPr id="12" name="TextBox 10">
            <a:extLst>
              <a:ext uri="{FF2B5EF4-FFF2-40B4-BE49-F238E27FC236}">
                <a16:creationId xmlns:a16="http://schemas.microsoft.com/office/drawing/2014/main" xmlns="" id="{BBCC6EF9-7445-481A-8F53-008236026B2B}"/>
              </a:ext>
            </a:extLst>
          </p:cNvPr>
          <p:cNvSpPr txBox="1"/>
          <p:nvPr/>
        </p:nvSpPr>
        <p:spPr>
          <a:xfrm>
            <a:off x="3753396" y="5607747"/>
            <a:ext cx="317716" cy="756233"/>
          </a:xfrm>
          <a:prstGeom prst="rect">
            <a:avLst/>
          </a:prstGeom>
          <a:noFill/>
        </p:spPr>
        <p:txBody>
          <a:bodyPr wrap="none" rtlCol="0" anchor="ctr">
            <a:spAutoFit/>
          </a:bodyPr>
          <a:lstStyle/>
          <a:p>
            <a:pPr algn="ctr"/>
            <a:r>
              <a:rPr lang="en-GB" sz="4314" b="1">
                <a:solidFill>
                  <a:schemeClr val="bg1"/>
                </a:solidFill>
                <a:latin typeface="+mj-lt"/>
                <a:cs typeface="Poppins" pitchFamily="2" charset="77"/>
              </a:rPr>
              <a:t>I</a:t>
            </a:r>
            <a:endParaRPr lang="en-GB" sz="4314" b="1" dirty="0">
              <a:solidFill>
                <a:schemeClr val="bg1"/>
              </a:solidFill>
              <a:latin typeface="+mj-lt"/>
              <a:cs typeface="Poppins" pitchFamily="2" charset="77"/>
            </a:endParaRPr>
          </a:p>
        </p:txBody>
      </p:sp>
      <p:grpSp>
        <p:nvGrpSpPr>
          <p:cNvPr id="13" name="Group 138">
            <a:extLst>
              <a:ext uri="{FF2B5EF4-FFF2-40B4-BE49-F238E27FC236}">
                <a16:creationId xmlns:a16="http://schemas.microsoft.com/office/drawing/2014/main" xmlns="" id="{1D90F5BD-F747-4488-8474-89756899D15A}"/>
              </a:ext>
            </a:extLst>
          </p:cNvPr>
          <p:cNvGrpSpPr/>
          <p:nvPr/>
        </p:nvGrpSpPr>
        <p:grpSpPr>
          <a:xfrm>
            <a:off x="3044172" y="1929587"/>
            <a:ext cx="2994076" cy="3860171"/>
            <a:chOff x="8704441" y="2571694"/>
            <a:chExt cx="7028256" cy="10385705"/>
          </a:xfrm>
        </p:grpSpPr>
        <p:sp>
          <p:nvSpPr>
            <p:cNvPr id="14" name="Shape 34173">
              <a:extLst>
                <a:ext uri="{FF2B5EF4-FFF2-40B4-BE49-F238E27FC236}">
                  <a16:creationId xmlns:a16="http://schemas.microsoft.com/office/drawing/2014/main" xmlns="" id="{9642B620-7390-47DD-B61D-787D0344267A}"/>
                </a:ext>
              </a:extLst>
            </p:cNvPr>
            <p:cNvSpPr/>
            <p:nvPr/>
          </p:nvSpPr>
          <p:spPr>
            <a:xfrm>
              <a:off x="8704441" y="4977041"/>
              <a:ext cx="795138" cy="696056"/>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5" name="Shape 34174">
              <a:extLst>
                <a:ext uri="{FF2B5EF4-FFF2-40B4-BE49-F238E27FC236}">
                  <a16:creationId xmlns:a16="http://schemas.microsoft.com/office/drawing/2014/main" xmlns="" id="{70840DA8-47AA-43C7-99CF-68A621019445}"/>
                </a:ext>
              </a:extLst>
            </p:cNvPr>
            <p:cNvSpPr/>
            <p:nvPr/>
          </p:nvSpPr>
          <p:spPr>
            <a:xfrm>
              <a:off x="13207711" y="5129396"/>
              <a:ext cx="316260" cy="632520"/>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7" name="Shape 34175">
              <a:extLst>
                <a:ext uri="{FF2B5EF4-FFF2-40B4-BE49-F238E27FC236}">
                  <a16:creationId xmlns:a16="http://schemas.microsoft.com/office/drawing/2014/main" xmlns="" id="{0846E00C-6581-4C5B-AF6C-93BEF0277926}"/>
                </a:ext>
              </a:extLst>
            </p:cNvPr>
            <p:cNvSpPr/>
            <p:nvPr/>
          </p:nvSpPr>
          <p:spPr>
            <a:xfrm>
              <a:off x="13346915" y="6245061"/>
              <a:ext cx="528722" cy="46619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8" name="Shape 34176">
              <a:extLst>
                <a:ext uri="{FF2B5EF4-FFF2-40B4-BE49-F238E27FC236}">
                  <a16:creationId xmlns:a16="http://schemas.microsoft.com/office/drawing/2014/main" xmlns="" id="{2ECBC7F0-9494-47E5-9DB5-724A8F83743D}"/>
                </a:ext>
              </a:extLst>
            </p:cNvPr>
            <p:cNvSpPr/>
            <p:nvPr/>
          </p:nvSpPr>
          <p:spPr>
            <a:xfrm>
              <a:off x="10903238" y="7779831"/>
              <a:ext cx="984814" cy="88519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9" name="Shape 34177">
              <a:extLst>
                <a:ext uri="{FF2B5EF4-FFF2-40B4-BE49-F238E27FC236}">
                  <a16:creationId xmlns:a16="http://schemas.microsoft.com/office/drawing/2014/main" xmlns="" id="{9B0C9A64-6E9D-49B4-A852-40979F671458}"/>
                </a:ext>
              </a:extLst>
            </p:cNvPr>
            <p:cNvSpPr/>
            <p:nvPr/>
          </p:nvSpPr>
          <p:spPr>
            <a:xfrm>
              <a:off x="11708307" y="11472461"/>
              <a:ext cx="584792" cy="503796"/>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0" name="Shape 34178">
              <a:extLst>
                <a:ext uri="{FF2B5EF4-FFF2-40B4-BE49-F238E27FC236}">
                  <a16:creationId xmlns:a16="http://schemas.microsoft.com/office/drawing/2014/main" xmlns="" id="{06B8CC10-8767-448A-BA8F-8DB0869740AA}"/>
                </a:ext>
              </a:extLst>
            </p:cNvPr>
            <p:cNvSpPr/>
            <p:nvPr/>
          </p:nvSpPr>
          <p:spPr>
            <a:xfrm>
              <a:off x="14474664" y="3452446"/>
              <a:ext cx="701272" cy="992744"/>
            </a:xfrm>
            <a:custGeom>
              <a:avLst/>
              <a:gdLst/>
              <a:ahLst/>
              <a:cxnLst>
                <a:cxn ang="0">
                  <a:pos x="wd2" y="hd2"/>
                </a:cxn>
                <a:cxn ang="5400000">
                  <a:pos x="wd2" y="hd2"/>
                </a:cxn>
                <a:cxn ang="10800000">
                  <a:pos x="wd2" y="hd2"/>
                </a:cxn>
                <a:cxn ang="16200000">
                  <a:pos x="wd2" y="hd2"/>
                </a:cxn>
              </a:cxnLst>
              <a:rect l="0" t="0" r="r" b="b"/>
              <a:pathLst>
                <a:path w="21183" h="21600" extrusionOk="0">
                  <a:moveTo>
                    <a:pt x="6837" y="0"/>
                  </a:moveTo>
                  <a:lnTo>
                    <a:pt x="6304" y="11896"/>
                  </a:lnTo>
                  <a:lnTo>
                    <a:pt x="10115" y="11984"/>
                  </a:lnTo>
                  <a:lnTo>
                    <a:pt x="10387" y="5819"/>
                  </a:lnTo>
                  <a:cubicBezTo>
                    <a:pt x="10807" y="5990"/>
                    <a:pt x="11286" y="6091"/>
                    <a:pt x="11799" y="6080"/>
                  </a:cubicBezTo>
                  <a:cubicBezTo>
                    <a:pt x="12816" y="6059"/>
                    <a:pt x="13721" y="5638"/>
                    <a:pt x="14293" y="5029"/>
                  </a:cubicBezTo>
                  <a:cubicBezTo>
                    <a:pt x="14344" y="4975"/>
                    <a:pt x="14392" y="4920"/>
                    <a:pt x="14437" y="4864"/>
                  </a:cubicBezTo>
                  <a:cubicBezTo>
                    <a:pt x="15870" y="5413"/>
                    <a:pt x="17048" y="6141"/>
                    <a:pt x="17879" y="7040"/>
                  </a:cubicBezTo>
                  <a:cubicBezTo>
                    <a:pt x="19250" y="8523"/>
                    <a:pt x="19623" y="10355"/>
                    <a:pt x="18956" y="12341"/>
                  </a:cubicBezTo>
                  <a:cubicBezTo>
                    <a:pt x="17917" y="15436"/>
                    <a:pt x="14349" y="17736"/>
                    <a:pt x="10109" y="18168"/>
                  </a:cubicBezTo>
                  <a:lnTo>
                    <a:pt x="10109" y="16337"/>
                  </a:lnTo>
                  <a:lnTo>
                    <a:pt x="12811" y="16337"/>
                  </a:lnTo>
                  <a:lnTo>
                    <a:pt x="12811" y="15424"/>
                  </a:lnTo>
                  <a:lnTo>
                    <a:pt x="2958" y="15424"/>
                  </a:lnTo>
                  <a:lnTo>
                    <a:pt x="2958" y="16337"/>
                  </a:lnTo>
                  <a:lnTo>
                    <a:pt x="5665" y="16337"/>
                  </a:lnTo>
                  <a:lnTo>
                    <a:pt x="5665" y="19312"/>
                  </a:lnTo>
                  <a:lnTo>
                    <a:pt x="0" y="19312"/>
                  </a:lnTo>
                  <a:lnTo>
                    <a:pt x="0" y="21600"/>
                  </a:lnTo>
                  <a:lnTo>
                    <a:pt x="15769" y="21600"/>
                  </a:lnTo>
                  <a:lnTo>
                    <a:pt x="15769" y="19312"/>
                  </a:lnTo>
                  <a:lnTo>
                    <a:pt x="11820" y="19312"/>
                  </a:lnTo>
                  <a:cubicBezTo>
                    <a:pt x="16159" y="18468"/>
                    <a:pt x="19703" y="15947"/>
                    <a:pt x="20805" y="12664"/>
                  </a:cubicBezTo>
                  <a:cubicBezTo>
                    <a:pt x="21600" y="10296"/>
                    <a:pt x="21135" y="8089"/>
                    <a:pt x="19462" y="6280"/>
                  </a:cubicBezTo>
                  <a:cubicBezTo>
                    <a:pt x="18352" y="5079"/>
                    <a:pt x="16769" y="4131"/>
                    <a:pt x="14820" y="3462"/>
                  </a:cubicBezTo>
                  <a:cubicBezTo>
                    <a:pt x="14558" y="2431"/>
                    <a:pt x="13305" y="1647"/>
                    <a:pt x="11799" y="1647"/>
                  </a:cubicBezTo>
                  <a:cubicBezTo>
                    <a:pt x="11359" y="1647"/>
                    <a:pt x="10947" y="1715"/>
                    <a:pt x="10568" y="1835"/>
                  </a:cubicBezTo>
                  <a:lnTo>
                    <a:pt x="10642" y="88"/>
                  </a:lnTo>
                  <a:lnTo>
                    <a:pt x="6837" y="0"/>
                  </a:lnTo>
                  <a:close/>
                  <a:moveTo>
                    <a:pt x="11799" y="3017"/>
                  </a:moveTo>
                  <a:cubicBezTo>
                    <a:pt x="12376" y="3012"/>
                    <a:pt x="12879" y="3300"/>
                    <a:pt x="12982" y="3708"/>
                  </a:cubicBezTo>
                  <a:cubicBezTo>
                    <a:pt x="13088" y="4130"/>
                    <a:pt x="12736" y="4539"/>
                    <a:pt x="12167" y="4660"/>
                  </a:cubicBezTo>
                  <a:cubicBezTo>
                    <a:pt x="12051" y="4688"/>
                    <a:pt x="11928" y="4706"/>
                    <a:pt x="11799" y="4706"/>
                  </a:cubicBezTo>
                  <a:cubicBezTo>
                    <a:pt x="11152" y="4706"/>
                    <a:pt x="10625" y="4326"/>
                    <a:pt x="10626" y="3862"/>
                  </a:cubicBezTo>
                  <a:cubicBezTo>
                    <a:pt x="10628" y="3397"/>
                    <a:pt x="11153" y="3023"/>
                    <a:pt x="11799" y="3017"/>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1" name="Shape 34179">
              <a:extLst>
                <a:ext uri="{FF2B5EF4-FFF2-40B4-BE49-F238E27FC236}">
                  <a16:creationId xmlns:a16="http://schemas.microsoft.com/office/drawing/2014/main" xmlns="" id="{AA9FC13B-9948-4CFB-85DF-824A26F453F4}"/>
                </a:ext>
              </a:extLst>
            </p:cNvPr>
            <p:cNvSpPr/>
            <p:nvPr/>
          </p:nvSpPr>
          <p:spPr>
            <a:xfrm>
              <a:off x="13573878" y="4409128"/>
              <a:ext cx="1096094" cy="1213368"/>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2" name="Shape 34180">
              <a:extLst>
                <a:ext uri="{FF2B5EF4-FFF2-40B4-BE49-F238E27FC236}">
                  <a16:creationId xmlns:a16="http://schemas.microsoft.com/office/drawing/2014/main" xmlns="" id="{11069254-67A6-474A-A84F-56582353AC8A}"/>
                </a:ext>
              </a:extLst>
            </p:cNvPr>
            <p:cNvSpPr/>
            <p:nvPr/>
          </p:nvSpPr>
          <p:spPr>
            <a:xfrm>
              <a:off x="12366664" y="11330119"/>
              <a:ext cx="843804" cy="99274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3" name="Shape 34181">
              <a:extLst>
                <a:ext uri="{FF2B5EF4-FFF2-40B4-BE49-F238E27FC236}">
                  <a16:creationId xmlns:a16="http://schemas.microsoft.com/office/drawing/2014/main" xmlns="" id="{ECB6A8E5-AA92-41B7-ADC0-3E51E2B4B686}"/>
                </a:ext>
              </a:extLst>
            </p:cNvPr>
            <p:cNvSpPr/>
            <p:nvPr/>
          </p:nvSpPr>
          <p:spPr>
            <a:xfrm>
              <a:off x="14244181" y="7303221"/>
              <a:ext cx="622050" cy="54107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097" y="15438"/>
                  </a:lnTo>
                  <a:lnTo>
                    <a:pt x="5592" y="20234"/>
                  </a:lnTo>
                  <a:cubicBezTo>
                    <a:pt x="5592" y="20234"/>
                    <a:pt x="0" y="21600"/>
                    <a:pt x="0" y="21600"/>
                  </a:cubicBezTo>
                  <a:close/>
                  <a:moveTo>
                    <a:pt x="6275" y="19576"/>
                  </a:moveTo>
                  <a:lnTo>
                    <a:pt x="2779" y="14780"/>
                  </a:lnTo>
                  <a:lnTo>
                    <a:pt x="14944" y="3046"/>
                  </a:lnTo>
                  <a:lnTo>
                    <a:pt x="18443" y="7840"/>
                  </a:lnTo>
                  <a:cubicBezTo>
                    <a:pt x="18443" y="7840"/>
                    <a:pt x="6275" y="19576"/>
                    <a:pt x="6275" y="19576"/>
                  </a:cubicBezTo>
                  <a:close/>
                  <a:moveTo>
                    <a:pt x="19138" y="7167"/>
                  </a:moveTo>
                  <a:lnTo>
                    <a:pt x="15640" y="2373"/>
                  </a:lnTo>
                  <a:lnTo>
                    <a:pt x="18101" y="0"/>
                  </a:lnTo>
                  <a:lnTo>
                    <a:pt x="21600" y="4794"/>
                  </a:lnTo>
                  <a:cubicBezTo>
                    <a:pt x="21600" y="4794"/>
                    <a:pt x="19138" y="7167"/>
                    <a:pt x="19138" y="716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4" name="Shape 34182">
              <a:extLst>
                <a:ext uri="{FF2B5EF4-FFF2-40B4-BE49-F238E27FC236}">
                  <a16:creationId xmlns:a16="http://schemas.microsoft.com/office/drawing/2014/main" xmlns="" id="{122ECE06-AE11-4A12-A47B-70FB31E73FD9}"/>
                </a:ext>
              </a:extLst>
            </p:cNvPr>
            <p:cNvSpPr/>
            <p:nvPr/>
          </p:nvSpPr>
          <p:spPr>
            <a:xfrm>
              <a:off x="13576635" y="6759701"/>
              <a:ext cx="580114" cy="809692"/>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5" name="Shape 34183">
              <a:extLst>
                <a:ext uri="{FF2B5EF4-FFF2-40B4-BE49-F238E27FC236}">
                  <a16:creationId xmlns:a16="http://schemas.microsoft.com/office/drawing/2014/main" xmlns="" id="{02F7F2CA-8ED7-4F1A-9ED4-5DBD3EF729C5}"/>
                </a:ext>
              </a:extLst>
            </p:cNvPr>
            <p:cNvSpPr/>
            <p:nvPr/>
          </p:nvSpPr>
          <p:spPr>
            <a:xfrm>
              <a:off x="11615391" y="7089790"/>
              <a:ext cx="617918" cy="68403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6" name="Shape 34184">
              <a:extLst>
                <a:ext uri="{FF2B5EF4-FFF2-40B4-BE49-F238E27FC236}">
                  <a16:creationId xmlns:a16="http://schemas.microsoft.com/office/drawing/2014/main" xmlns="" id="{E46C825E-B52E-4507-9BF0-E60B1BF47461}"/>
                </a:ext>
              </a:extLst>
            </p:cNvPr>
            <p:cNvSpPr/>
            <p:nvPr/>
          </p:nvSpPr>
          <p:spPr>
            <a:xfrm>
              <a:off x="13088735" y="3291417"/>
              <a:ext cx="651942" cy="595766"/>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7" name="Shape 34185">
              <a:extLst>
                <a:ext uri="{FF2B5EF4-FFF2-40B4-BE49-F238E27FC236}">
                  <a16:creationId xmlns:a16="http://schemas.microsoft.com/office/drawing/2014/main" xmlns="" id="{7649FA9D-4C93-47D3-BD22-1923FAF6C50D}"/>
                </a:ext>
              </a:extLst>
            </p:cNvPr>
            <p:cNvSpPr/>
            <p:nvPr/>
          </p:nvSpPr>
          <p:spPr>
            <a:xfrm>
              <a:off x="12303465" y="7118398"/>
              <a:ext cx="457434" cy="615446"/>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8" name="Shape 34186">
              <a:extLst>
                <a:ext uri="{FF2B5EF4-FFF2-40B4-BE49-F238E27FC236}">
                  <a16:creationId xmlns:a16="http://schemas.microsoft.com/office/drawing/2014/main" xmlns="" id="{B9E89E04-1C72-47A3-B50A-64CC7E4F9051}"/>
                </a:ext>
              </a:extLst>
            </p:cNvPr>
            <p:cNvSpPr/>
            <p:nvPr/>
          </p:nvSpPr>
          <p:spPr>
            <a:xfrm>
              <a:off x="10902474" y="3745209"/>
              <a:ext cx="602468" cy="782846"/>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9" name="Shape 34187">
              <a:extLst>
                <a:ext uri="{FF2B5EF4-FFF2-40B4-BE49-F238E27FC236}">
                  <a16:creationId xmlns:a16="http://schemas.microsoft.com/office/drawing/2014/main" xmlns="" id="{12A1301A-FC0A-48D3-AC20-1EB2B797C6DD}"/>
                </a:ext>
              </a:extLst>
            </p:cNvPr>
            <p:cNvSpPr/>
            <p:nvPr/>
          </p:nvSpPr>
          <p:spPr>
            <a:xfrm>
              <a:off x="9646332" y="5299667"/>
              <a:ext cx="648460" cy="459644"/>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3" name="Shape 34188">
              <a:extLst>
                <a:ext uri="{FF2B5EF4-FFF2-40B4-BE49-F238E27FC236}">
                  <a16:creationId xmlns:a16="http://schemas.microsoft.com/office/drawing/2014/main" xmlns="" id="{1149FFB0-F92F-440F-B555-0F0C56017F53}"/>
                </a:ext>
              </a:extLst>
            </p:cNvPr>
            <p:cNvSpPr/>
            <p:nvPr/>
          </p:nvSpPr>
          <p:spPr>
            <a:xfrm>
              <a:off x="14782759" y="5213711"/>
              <a:ext cx="949938" cy="458576"/>
            </a:xfrm>
            <a:custGeom>
              <a:avLst/>
              <a:gdLst/>
              <a:ahLst/>
              <a:cxnLst>
                <a:cxn ang="0">
                  <a:pos x="wd2" y="hd2"/>
                </a:cxn>
                <a:cxn ang="5400000">
                  <a:pos x="wd2" y="hd2"/>
                </a:cxn>
                <a:cxn ang="10800000">
                  <a:pos x="wd2" y="hd2"/>
                </a:cxn>
                <a:cxn ang="16200000">
                  <a:pos x="wd2" y="hd2"/>
                </a:cxn>
              </a:cxnLst>
              <a:rect l="0" t="0" r="r" b="b"/>
              <a:pathLst>
                <a:path w="21600" h="21600" extrusionOk="0">
                  <a:moveTo>
                    <a:pt x="470" y="21600"/>
                  </a:moveTo>
                  <a:cubicBezTo>
                    <a:pt x="3196" y="21301"/>
                    <a:pt x="4520" y="17446"/>
                    <a:pt x="5606" y="13579"/>
                  </a:cubicBezTo>
                  <a:cubicBezTo>
                    <a:pt x="6868" y="17109"/>
                    <a:pt x="8385" y="20522"/>
                    <a:pt x="11056" y="20229"/>
                  </a:cubicBezTo>
                  <a:cubicBezTo>
                    <a:pt x="13700" y="19938"/>
                    <a:pt x="15043" y="16273"/>
                    <a:pt x="16113" y="12527"/>
                  </a:cubicBezTo>
                  <a:cubicBezTo>
                    <a:pt x="17383" y="16099"/>
                    <a:pt x="18898" y="19587"/>
                    <a:pt x="21600" y="19290"/>
                  </a:cubicBezTo>
                  <a:lnTo>
                    <a:pt x="21545" y="16807"/>
                  </a:lnTo>
                  <a:cubicBezTo>
                    <a:pt x="19258" y="17058"/>
                    <a:pt x="18061" y="13947"/>
                    <a:pt x="16772" y="10222"/>
                  </a:cubicBezTo>
                  <a:cubicBezTo>
                    <a:pt x="17878" y="6171"/>
                    <a:pt x="18899" y="2735"/>
                    <a:pt x="21214" y="2481"/>
                  </a:cubicBezTo>
                  <a:lnTo>
                    <a:pt x="21142" y="0"/>
                  </a:lnTo>
                  <a:cubicBezTo>
                    <a:pt x="18416" y="300"/>
                    <a:pt x="17080" y="4165"/>
                    <a:pt x="15994" y="8031"/>
                  </a:cubicBezTo>
                  <a:cubicBezTo>
                    <a:pt x="14732" y="4504"/>
                    <a:pt x="13210" y="1123"/>
                    <a:pt x="10541" y="1416"/>
                  </a:cubicBezTo>
                  <a:cubicBezTo>
                    <a:pt x="7892" y="1708"/>
                    <a:pt x="6571" y="5362"/>
                    <a:pt x="5501" y="9116"/>
                  </a:cubicBezTo>
                  <a:cubicBezTo>
                    <a:pt x="4229" y="5537"/>
                    <a:pt x="2706" y="2023"/>
                    <a:pt x="0" y="2320"/>
                  </a:cubicBezTo>
                  <a:cubicBezTo>
                    <a:pt x="0" y="2320"/>
                    <a:pt x="67" y="4802"/>
                    <a:pt x="67" y="4802"/>
                  </a:cubicBezTo>
                  <a:cubicBezTo>
                    <a:pt x="2361" y="4550"/>
                    <a:pt x="3548" y="7681"/>
                    <a:pt x="4841" y="11421"/>
                  </a:cubicBezTo>
                  <a:cubicBezTo>
                    <a:pt x="3737" y="15462"/>
                    <a:pt x="2709" y="18874"/>
                    <a:pt x="399" y="19128"/>
                  </a:cubicBezTo>
                  <a:lnTo>
                    <a:pt x="470" y="21600"/>
                  </a:lnTo>
                  <a:close/>
                  <a:moveTo>
                    <a:pt x="571" y="17516"/>
                  </a:moveTo>
                  <a:cubicBezTo>
                    <a:pt x="973" y="17463"/>
                    <a:pt x="1323" y="17289"/>
                    <a:pt x="1641" y="17020"/>
                  </a:cubicBezTo>
                  <a:cubicBezTo>
                    <a:pt x="1641" y="17020"/>
                    <a:pt x="1387" y="6572"/>
                    <a:pt x="1387" y="6572"/>
                  </a:cubicBezTo>
                  <a:cubicBezTo>
                    <a:pt x="1058" y="6378"/>
                    <a:pt x="699" y="6290"/>
                    <a:pt x="296" y="6330"/>
                  </a:cubicBezTo>
                  <a:lnTo>
                    <a:pt x="571" y="17516"/>
                  </a:lnTo>
                  <a:close/>
                  <a:moveTo>
                    <a:pt x="2649" y="15637"/>
                  </a:moveTo>
                  <a:cubicBezTo>
                    <a:pt x="3008" y="15009"/>
                    <a:pt x="3317" y="14212"/>
                    <a:pt x="3611" y="13297"/>
                  </a:cubicBezTo>
                  <a:lnTo>
                    <a:pt x="3530" y="9777"/>
                  </a:lnTo>
                  <a:cubicBezTo>
                    <a:pt x="3194" y="8935"/>
                    <a:pt x="2849" y="8211"/>
                    <a:pt x="2462" y="7671"/>
                  </a:cubicBezTo>
                  <a:lnTo>
                    <a:pt x="2649" y="15637"/>
                  </a:lnTo>
                  <a:close/>
                  <a:moveTo>
                    <a:pt x="6265" y="11274"/>
                  </a:moveTo>
                  <a:cubicBezTo>
                    <a:pt x="7335" y="7383"/>
                    <a:pt x="8366" y="4144"/>
                    <a:pt x="10612" y="3897"/>
                  </a:cubicBezTo>
                  <a:cubicBezTo>
                    <a:pt x="12876" y="3648"/>
                    <a:pt x="14062" y="6687"/>
                    <a:pt x="15336" y="10361"/>
                  </a:cubicBezTo>
                  <a:cubicBezTo>
                    <a:pt x="14269" y="14240"/>
                    <a:pt x="13242" y="17500"/>
                    <a:pt x="11001" y="17746"/>
                  </a:cubicBezTo>
                  <a:cubicBezTo>
                    <a:pt x="8738" y="17995"/>
                    <a:pt x="7539" y="14948"/>
                    <a:pt x="6265" y="11274"/>
                  </a:cubicBezTo>
                  <a:close/>
                  <a:moveTo>
                    <a:pt x="8019" y="13315"/>
                  </a:moveTo>
                  <a:cubicBezTo>
                    <a:pt x="8416" y="14295"/>
                    <a:pt x="8827" y="15128"/>
                    <a:pt x="9287" y="15750"/>
                  </a:cubicBezTo>
                  <a:lnTo>
                    <a:pt x="9038" y="6172"/>
                  </a:lnTo>
                  <a:cubicBezTo>
                    <a:pt x="8613" y="6892"/>
                    <a:pt x="8251" y="7817"/>
                    <a:pt x="7906" y="8878"/>
                  </a:cubicBezTo>
                  <a:lnTo>
                    <a:pt x="8019" y="13315"/>
                  </a:lnTo>
                  <a:close/>
                  <a:moveTo>
                    <a:pt x="10389" y="16077"/>
                  </a:moveTo>
                  <a:cubicBezTo>
                    <a:pt x="10611" y="16140"/>
                    <a:pt x="10842" y="16161"/>
                    <a:pt x="11095" y="16128"/>
                  </a:cubicBezTo>
                  <a:cubicBezTo>
                    <a:pt x="11223" y="16112"/>
                    <a:pt x="11344" y="16080"/>
                    <a:pt x="11463" y="16041"/>
                  </a:cubicBezTo>
                  <a:lnTo>
                    <a:pt x="11227" y="5045"/>
                  </a:lnTo>
                  <a:cubicBezTo>
                    <a:pt x="11108" y="5036"/>
                    <a:pt x="10985" y="5039"/>
                    <a:pt x="10857" y="5056"/>
                  </a:cubicBezTo>
                  <a:cubicBezTo>
                    <a:pt x="10605" y="5088"/>
                    <a:pt x="10374" y="5166"/>
                    <a:pt x="10157" y="5285"/>
                  </a:cubicBezTo>
                  <a:lnTo>
                    <a:pt x="10389" y="16077"/>
                  </a:lnTo>
                  <a:close/>
                  <a:moveTo>
                    <a:pt x="12594" y="15655"/>
                  </a:moveTo>
                  <a:cubicBezTo>
                    <a:pt x="12999" y="15123"/>
                    <a:pt x="13343" y="14414"/>
                    <a:pt x="13661" y="13573"/>
                  </a:cubicBezTo>
                  <a:lnTo>
                    <a:pt x="13528" y="7680"/>
                  </a:lnTo>
                  <a:cubicBezTo>
                    <a:pt x="13173" y="6920"/>
                    <a:pt x="12798" y="6300"/>
                    <a:pt x="12371" y="5869"/>
                  </a:cubicBezTo>
                  <a:lnTo>
                    <a:pt x="12594" y="15655"/>
                  </a:lnTo>
                  <a:close/>
                  <a:moveTo>
                    <a:pt x="18081" y="11798"/>
                  </a:moveTo>
                  <a:cubicBezTo>
                    <a:pt x="18416" y="12578"/>
                    <a:pt x="18758" y="13235"/>
                    <a:pt x="19139" y="13718"/>
                  </a:cubicBezTo>
                  <a:lnTo>
                    <a:pt x="18884" y="6051"/>
                  </a:lnTo>
                  <a:cubicBezTo>
                    <a:pt x="18541" y="6694"/>
                    <a:pt x="18245" y="7495"/>
                    <a:pt x="17967" y="8411"/>
                  </a:cubicBezTo>
                  <a:lnTo>
                    <a:pt x="18081" y="11798"/>
                  </a:lnTo>
                  <a:close/>
                  <a:moveTo>
                    <a:pt x="20486" y="14708"/>
                  </a:moveTo>
                  <a:cubicBezTo>
                    <a:pt x="20804" y="14878"/>
                    <a:pt x="21150" y="14947"/>
                    <a:pt x="21538" y="14889"/>
                  </a:cubicBezTo>
                  <a:lnTo>
                    <a:pt x="21229" y="4150"/>
                  </a:lnTo>
                  <a:cubicBezTo>
                    <a:pt x="20842" y="4223"/>
                    <a:pt x="20502" y="4409"/>
                    <a:pt x="20197" y="4684"/>
                  </a:cubicBezTo>
                  <a:cubicBezTo>
                    <a:pt x="20197" y="4684"/>
                    <a:pt x="20486" y="14708"/>
                    <a:pt x="20486" y="147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6" name="Shape 34189">
              <a:extLst>
                <a:ext uri="{FF2B5EF4-FFF2-40B4-BE49-F238E27FC236}">
                  <a16:creationId xmlns:a16="http://schemas.microsoft.com/office/drawing/2014/main" xmlns="" id="{B0ED5F92-C7B9-446D-AB6A-75A2FBE7D1BF}"/>
                </a:ext>
              </a:extLst>
            </p:cNvPr>
            <p:cNvSpPr/>
            <p:nvPr/>
          </p:nvSpPr>
          <p:spPr>
            <a:xfrm>
              <a:off x="12966315" y="3935732"/>
              <a:ext cx="606684"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7" name="Shape 34190">
              <a:extLst>
                <a:ext uri="{FF2B5EF4-FFF2-40B4-BE49-F238E27FC236}">
                  <a16:creationId xmlns:a16="http://schemas.microsoft.com/office/drawing/2014/main" xmlns="" id="{68ED09DC-0E8D-4331-BF9B-CB78EDFD42B2}"/>
                </a:ext>
              </a:extLst>
            </p:cNvPr>
            <p:cNvSpPr/>
            <p:nvPr/>
          </p:nvSpPr>
          <p:spPr>
            <a:xfrm>
              <a:off x="8736613" y="4207504"/>
              <a:ext cx="967678" cy="820704"/>
            </a:xfrm>
            <a:custGeom>
              <a:avLst/>
              <a:gdLst/>
              <a:ahLst/>
              <a:cxnLst>
                <a:cxn ang="0">
                  <a:pos x="wd2" y="hd2"/>
                </a:cxn>
                <a:cxn ang="5400000">
                  <a:pos x="wd2" y="hd2"/>
                </a:cxn>
                <a:cxn ang="10800000">
                  <a:pos x="wd2" y="hd2"/>
                </a:cxn>
                <a:cxn ang="16200000">
                  <a:pos x="wd2" y="hd2"/>
                </a:cxn>
              </a:cxnLst>
              <a:rect l="0" t="0" r="r" b="b"/>
              <a:pathLst>
                <a:path w="21275" h="21218" extrusionOk="0">
                  <a:moveTo>
                    <a:pt x="17160" y="16531"/>
                  </a:moveTo>
                  <a:lnTo>
                    <a:pt x="3281" y="10266"/>
                  </a:lnTo>
                  <a:lnTo>
                    <a:pt x="6158" y="1453"/>
                  </a:lnTo>
                  <a:lnTo>
                    <a:pt x="20037" y="7718"/>
                  </a:lnTo>
                  <a:cubicBezTo>
                    <a:pt x="20037" y="7718"/>
                    <a:pt x="17160" y="16531"/>
                    <a:pt x="17160" y="16531"/>
                  </a:cubicBezTo>
                  <a:close/>
                  <a:moveTo>
                    <a:pt x="20480" y="6363"/>
                  </a:moveTo>
                  <a:lnTo>
                    <a:pt x="6600" y="98"/>
                  </a:lnTo>
                  <a:cubicBezTo>
                    <a:pt x="5961" y="-191"/>
                    <a:pt x="5246" y="183"/>
                    <a:pt x="5001" y="931"/>
                  </a:cubicBezTo>
                  <a:cubicBezTo>
                    <a:pt x="5001" y="931"/>
                    <a:pt x="1682" y="11100"/>
                    <a:pt x="1694" y="11105"/>
                  </a:cubicBezTo>
                  <a:lnTo>
                    <a:pt x="17862" y="18403"/>
                  </a:lnTo>
                  <a:cubicBezTo>
                    <a:pt x="17874" y="18409"/>
                    <a:pt x="21194" y="8240"/>
                    <a:pt x="21194" y="8240"/>
                  </a:cubicBezTo>
                  <a:cubicBezTo>
                    <a:pt x="21438" y="7492"/>
                    <a:pt x="21118" y="6651"/>
                    <a:pt x="20480" y="6363"/>
                  </a:cubicBezTo>
                  <a:close/>
                  <a:moveTo>
                    <a:pt x="16989" y="21121"/>
                  </a:moveTo>
                  <a:lnTo>
                    <a:pt x="797" y="13812"/>
                  </a:lnTo>
                  <a:cubicBezTo>
                    <a:pt x="157" y="13523"/>
                    <a:pt x="-162" y="12683"/>
                    <a:pt x="83" y="11934"/>
                  </a:cubicBezTo>
                  <a:lnTo>
                    <a:pt x="304" y="11256"/>
                  </a:lnTo>
                  <a:lnTo>
                    <a:pt x="7822" y="14649"/>
                  </a:lnTo>
                  <a:lnTo>
                    <a:pt x="7600" y="15327"/>
                  </a:lnTo>
                  <a:lnTo>
                    <a:pt x="11070" y="16893"/>
                  </a:lnTo>
                  <a:lnTo>
                    <a:pt x="11291" y="16216"/>
                  </a:lnTo>
                  <a:lnTo>
                    <a:pt x="18810" y="19609"/>
                  </a:lnTo>
                  <a:lnTo>
                    <a:pt x="18588" y="20287"/>
                  </a:lnTo>
                  <a:cubicBezTo>
                    <a:pt x="18344" y="21036"/>
                    <a:pt x="17627" y="21409"/>
                    <a:pt x="16989" y="21121"/>
                  </a:cubicBezTo>
                  <a:cubicBezTo>
                    <a:pt x="16989" y="21121"/>
                    <a:pt x="16989" y="21121"/>
                    <a:pt x="16989" y="2112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8" name="Shape 34191">
              <a:extLst>
                <a:ext uri="{FF2B5EF4-FFF2-40B4-BE49-F238E27FC236}">
                  <a16:creationId xmlns:a16="http://schemas.microsoft.com/office/drawing/2014/main" xmlns="" id="{4ECC3053-7016-4BCC-913D-3E95D0431B13}"/>
                </a:ext>
              </a:extLst>
            </p:cNvPr>
            <p:cNvSpPr/>
            <p:nvPr/>
          </p:nvSpPr>
          <p:spPr>
            <a:xfrm>
              <a:off x="12884222" y="7775447"/>
              <a:ext cx="606686"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9" name="Shape 34192">
              <a:extLst>
                <a:ext uri="{FF2B5EF4-FFF2-40B4-BE49-F238E27FC236}">
                  <a16:creationId xmlns:a16="http://schemas.microsoft.com/office/drawing/2014/main" xmlns="" id="{E80EC25B-A57A-4C11-87E6-FE8DBC420001}"/>
                </a:ext>
              </a:extLst>
            </p:cNvPr>
            <p:cNvSpPr/>
            <p:nvPr/>
          </p:nvSpPr>
          <p:spPr>
            <a:xfrm>
              <a:off x="9950402" y="3061775"/>
              <a:ext cx="885232" cy="104148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0" name="Shape 34193">
              <a:extLst>
                <a:ext uri="{FF2B5EF4-FFF2-40B4-BE49-F238E27FC236}">
                  <a16:creationId xmlns:a16="http://schemas.microsoft.com/office/drawing/2014/main" xmlns="" id="{4AC59DAA-DF38-49E5-A8D6-903DB013245F}"/>
                </a:ext>
              </a:extLst>
            </p:cNvPr>
            <p:cNvSpPr/>
            <p:nvPr/>
          </p:nvSpPr>
          <p:spPr>
            <a:xfrm>
              <a:off x="11615551" y="3334957"/>
              <a:ext cx="818520" cy="818520"/>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1" name="Shape 34194">
              <a:extLst>
                <a:ext uri="{FF2B5EF4-FFF2-40B4-BE49-F238E27FC236}">
                  <a16:creationId xmlns:a16="http://schemas.microsoft.com/office/drawing/2014/main" xmlns="" id="{358F7EB2-3EEE-4CD8-B3D6-30374ACE4358}"/>
                </a:ext>
              </a:extLst>
            </p:cNvPr>
            <p:cNvSpPr/>
            <p:nvPr/>
          </p:nvSpPr>
          <p:spPr>
            <a:xfrm>
              <a:off x="14592598" y="6234099"/>
              <a:ext cx="850388" cy="976334"/>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2" name="Shape 34195">
              <a:extLst>
                <a:ext uri="{FF2B5EF4-FFF2-40B4-BE49-F238E27FC236}">
                  <a16:creationId xmlns:a16="http://schemas.microsoft.com/office/drawing/2014/main" xmlns="" id="{259D29E7-78A7-4049-9AC5-40E7C6BD5038}"/>
                </a:ext>
              </a:extLst>
            </p:cNvPr>
            <p:cNvSpPr/>
            <p:nvPr/>
          </p:nvSpPr>
          <p:spPr>
            <a:xfrm>
              <a:off x="13429434" y="7344882"/>
              <a:ext cx="433382" cy="47975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3" name="Shape 34196">
              <a:extLst>
                <a:ext uri="{FF2B5EF4-FFF2-40B4-BE49-F238E27FC236}">
                  <a16:creationId xmlns:a16="http://schemas.microsoft.com/office/drawing/2014/main" xmlns="" id="{358A54A8-2E4F-41D0-8C29-D0FD79A5CFBE}"/>
                </a:ext>
              </a:extLst>
            </p:cNvPr>
            <p:cNvSpPr/>
            <p:nvPr/>
          </p:nvSpPr>
          <p:spPr>
            <a:xfrm>
              <a:off x="12395982" y="2571694"/>
              <a:ext cx="1203272" cy="672004"/>
            </a:xfrm>
            <a:custGeom>
              <a:avLst/>
              <a:gdLst/>
              <a:ahLst/>
              <a:cxnLst>
                <a:cxn ang="0">
                  <a:pos x="wd2" y="hd2"/>
                </a:cxn>
                <a:cxn ang="5400000">
                  <a:pos x="wd2" y="hd2"/>
                </a:cxn>
                <a:cxn ang="10800000">
                  <a:pos x="wd2" y="hd2"/>
                </a:cxn>
                <a:cxn ang="16200000">
                  <a:pos x="wd2" y="hd2"/>
                </a:cxn>
              </a:cxnLst>
              <a:rect l="0" t="0" r="r" b="b"/>
              <a:pathLst>
                <a:path w="21600" h="21600" extrusionOk="0">
                  <a:moveTo>
                    <a:pt x="0" y="15895"/>
                  </a:moveTo>
                  <a:cubicBezTo>
                    <a:pt x="2602" y="16630"/>
                    <a:pt x="4225" y="13961"/>
                    <a:pt x="5624" y="11197"/>
                  </a:cubicBezTo>
                  <a:cubicBezTo>
                    <a:pt x="6473" y="14530"/>
                    <a:pt x="7574" y="17859"/>
                    <a:pt x="10123" y="18579"/>
                  </a:cubicBezTo>
                  <a:cubicBezTo>
                    <a:pt x="12646" y="19291"/>
                    <a:pt x="14269" y="16784"/>
                    <a:pt x="15641" y="14112"/>
                  </a:cubicBezTo>
                  <a:cubicBezTo>
                    <a:pt x="16494" y="17483"/>
                    <a:pt x="17585" y="20872"/>
                    <a:pt x="20164" y="21600"/>
                  </a:cubicBezTo>
                  <a:lnTo>
                    <a:pt x="20353" y="19555"/>
                  </a:lnTo>
                  <a:cubicBezTo>
                    <a:pt x="18170" y="18939"/>
                    <a:pt x="17341" y="15971"/>
                    <a:pt x="16486" y="12469"/>
                  </a:cubicBezTo>
                  <a:cubicBezTo>
                    <a:pt x="17922" y="9562"/>
                    <a:pt x="19218" y="7126"/>
                    <a:pt x="21427" y="7750"/>
                  </a:cubicBezTo>
                  <a:lnTo>
                    <a:pt x="21600" y="5701"/>
                  </a:lnTo>
                  <a:cubicBezTo>
                    <a:pt x="18998" y="4966"/>
                    <a:pt x="17363" y="7639"/>
                    <a:pt x="15964" y="10403"/>
                  </a:cubicBezTo>
                  <a:cubicBezTo>
                    <a:pt x="15115" y="7072"/>
                    <a:pt x="14006" y="3768"/>
                    <a:pt x="11458" y="3048"/>
                  </a:cubicBezTo>
                  <a:cubicBezTo>
                    <a:pt x="8930" y="2335"/>
                    <a:pt x="7330" y="4841"/>
                    <a:pt x="5956" y="7519"/>
                  </a:cubicBezTo>
                  <a:cubicBezTo>
                    <a:pt x="5103" y="4143"/>
                    <a:pt x="4006" y="730"/>
                    <a:pt x="1424" y="0"/>
                  </a:cubicBezTo>
                  <a:cubicBezTo>
                    <a:pt x="1424" y="0"/>
                    <a:pt x="1247" y="2048"/>
                    <a:pt x="1247" y="2048"/>
                  </a:cubicBezTo>
                  <a:cubicBezTo>
                    <a:pt x="3436" y="2666"/>
                    <a:pt x="4253" y="5647"/>
                    <a:pt x="5111" y="9162"/>
                  </a:cubicBezTo>
                  <a:cubicBezTo>
                    <a:pt x="3678" y="12062"/>
                    <a:pt x="2378" y="14476"/>
                    <a:pt x="172" y="13853"/>
                  </a:cubicBezTo>
                  <a:lnTo>
                    <a:pt x="0" y="15895"/>
                  </a:lnTo>
                  <a:close/>
                  <a:moveTo>
                    <a:pt x="491" y="12600"/>
                  </a:moveTo>
                  <a:cubicBezTo>
                    <a:pt x="875" y="12701"/>
                    <a:pt x="1223" y="12685"/>
                    <a:pt x="1549" y="12580"/>
                  </a:cubicBezTo>
                  <a:cubicBezTo>
                    <a:pt x="1549" y="12580"/>
                    <a:pt x="2321" y="3967"/>
                    <a:pt x="2321" y="3967"/>
                  </a:cubicBezTo>
                  <a:cubicBezTo>
                    <a:pt x="2030" y="3690"/>
                    <a:pt x="1699" y="3489"/>
                    <a:pt x="1315" y="3377"/>
                  </a:cubicBezTo>
                  <a:lnTo>
                    <a:pt x="491" y="12600"/>
                  </a:lnTo>
                  <a:close/>
                  <a:moveTo>
                    <a:pt x="2634" y="11814"/>
                  </a:moveTo>
                  <a:cubicBezTo>
                    <a:pt x="3034" y="11431"/>
                    <a:pt x="3403" y="10892"/>
                    <a:pt x="3769" y="10250"/>
                  </a:cubicBezTo>
                  <a:lnTo>
                    <a:pt x="4033" y="7350"/>
                  </a:lnTo>
                  <a:cubicBezTo>
                    <a:pt x="3797" y="6543"/>
                    <a:pt x="3542" y="5828"/>
                    <a:pt x="3229" y="5249"/>
                  </a:cubicBezTo>
                  <a:lnTo>
                    <a:pt x="2634" y="11814"/>
                  </a:lnTo>
                  <a:close/>
                  <a:moveTo>
                    <a:pt x="6469" y="9554"/>
                  </a:moveTo>
                  <a:cubicBezTo>
                    <a:pt x="7855" y="6764"/>
                    <a:pt x="9142" y="4492"/>
                    <a:pt x="11285" y="5097"/>
                  </a:cubicBezTo>
                  <a:cubicBezTo>
                    <a:pt x="13446" y="5708"/>
                    <a:pt x="14271" y="8612"/>
                    <a:pt x="15117" y="12067"/>
                  </a:cubicBezTo>
                  <a:cubicBezTo>
                    <a:pt x="13735" y="14848"/>
                    <a:pt x="12450" y="17138"/>
                    <a:pt x="10312" y="16534"/>
                  </a:cubicBezTo>
                  <a:cubicBezTo>
                    <a:pt x="8151" y="15924"/>
                    <a:pt x="7315" y="13008"/>
                    <a:pt x="6469" y="9554"/>
                  </a:cubicBezTo>
                  <a:close/>
                  <a:moveTo>
                    <a:pt x="7926" y="11848"/>
                  </a:moveTo>
                  <a:cubicBezTo>
                    <a:pt x="8206" y="12791"/>
                    <a:pt x="8514" y="13618"/>
                    <a:pt x="8887" y="14290"/>
                  </a:cubicBezTo>
                  <a:lnTo>
                    <a:pt x="9579" y="6388"/>
                  </a:lnTo>
                  <a:cubicBezTo>
                    <a:pt x="9109" y="6822"/>
                    <a:pt x="8677" y="7447"/>
                    <a:pt x="8249" y="8189"/>
                  </a:cubicBezTo>
                  <a:lnTo>
                    <a:pt x="7926" y="11848"/>
                  </a:lnTo>
                  <a:close/>
                  <a:moveTo>
                    <a:pt x="9896" y="14953"/>
                  </a:moveTo>
                  <a:cubicBezTo>
                    <a:pt x="10099" y="15084"/>
                    <a:pt x="10315" y="15184"/>
                    <a:pt x="10557" y="15248"/>
                  </a:cubicBezTo>
                  <a:cubicBezTo>
                    <a:pt x="10679" y="15281"/>
                    <a:pt x="10797" y="15298"/>
                    <a:pt x="10912" y="15309"/>
                  </a:cubicBezTo>
                  <a:lnTo>
                    <a:pt x="11755" y="6255"/>
                  </a:lnTo>
                  <a:cubicBezTo>
                    <a:pt x="11643" y="6205"/>
                    <a:pt x="11527" y="6163"/>
                    <a:pt x="11404" y="6131"/>
                  </a:cubicBezTo>
                  <a:cubicBezTo>
                    <a:pt x="11163" y="6066"/>
                    <a:pt x="10938" y="6048"/>
                    <a:pt x="10721" y="6066"/>
                  </a:cubicBezTo>
                  <a:lnTo>
                    <a:pt x="9896" y="14953"/>
                  </a:lnTo>
                  <a:close/>
                  <a:moveTo>
                    <a:pt x="12018" y="15401"/>
                  </a:moveTo>
                  <a:cubicBezTo>
                    <a:pt x="12451" y="15112"/>
                    <a:pt x="12844" y="14657"/>
                    <a:pt x="13226" y="14085"/>
                  </a:cubicBezTo>
                  <a:lnTo>
                    <a:pt x="13671" y="9231"/>
                  </a:lnTo>
                  <a:cubicBezTo>
                    <a:pt x="13409" y="8483"/>
                    <a:pt x="13115" y="7842"/>
                    <a:pt x="12755" y="7338"/>
                  </a:cubicBezTo>
                  <a:lnTo>
                    <a:pt x="12018" y="15401"/>
                  </a:lnTo>
                  <a:close/>
                  <a:moveTo>
                    <a:pt x="17569" y="14225"/>
                  </a:moveTo>
                  <a:cubicBezTo>
                    <a:pt x="17809" y="14981"/>
                    <a:pt x="18068" y="15640"/>
                    <a:pt x="18381" y="16171"/>
                  </a:cubicBezTo>
                  <a:lnTo>
                    <a:pt x="18883" y="9826"/>
                  </a:lnTo>
                  <a:cubicBezTo>
                    <a:pt x="18496" y="10227"/>
                    <a:pt x="18140" y="10774"/>
                    <a:pt x="17789" y="11421"/>
                  </a:cubicBezTo>
                  <a:lnTo>
                    <a:pt x="17569" y="14225"/>
                  </a:lnTo>
                  <a:close/>
                  <a:moveTo>
                    <a:pt x="19556" y="17463"/>
                  </a:moveTo>
                  <a:cubicBezTo>
                    <a:pt x="19840" y="17716"/>
                    <a:pt x="20160" y="17896"/>
                    <a:pt x="20532" y="17987"/>
                  </a:cubicBezTo>
                  <a:lnTo>
                    <a:pt x="21280" y="9117"/>
                  </a:lnTo>
                  <a:cubicBezTo>
                    <a:pt x="20907" y="9037"/>
                    <a:pt x="20569" y="9067"/>
                    <a:pt x="20254" y="9182"/>
                  </a:cubicBezTo>
                  <a:cubicBezTo>
                    <a:pt x="20254" y="9182"/>
                    <a:pt x="19556" y="17463"/>
                    <a:pt x="19556" y="1746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4" name="Shape 34197">
              <a:extLst>
                <a:ext uri="{FF2B5EF4-FFF2-40B4-BE49-F238E27FC236}">
                  <a16:creationId xmlns:a16="http://schemas.microsoft.com/office/drawing/2014/main" xmlns="" id="{EE1AA2C1-8E1B-45EF-BC44-B3CAA4460E28}"/>
                </a:ext>
              </a:extLst>
            </p:cNvPr>
            <p:cNvSpPr/>
            <p:nvPr/>
          </p:nvSpPr>
          <p:spPr>
            <a:xfrm>
              <a:off x="13886540" y="2993820"/>
              <a:ext cx="578410" cy="610580"/>
            </a:xfrm>
            <a:custGeom>
              <a:avLst/>
              <a:gdLst/>
              <a:ahLst/>
              <a:cxnLst>
                <a:cxn ang="0">
                  <a:pos x="wd2" y="hd2"/>
                </a:cxn>
                <a:cxn ang="5400000">
                  <a:pos x="wd2" y="hd2"/>
                </a:cxn>
                <a:cxn ang="10800000">
                  <a:pos x="wd2" y="hd2"/>
                </a:cxn>
                <a:cxn ang="16200000">
                  <a:pos x="wd2" y="hd2"/>
                </a:cxn>
              </a:cxnLst>
              <a:rect l="0" t="0" r="r" b="b"/>
              <a:pathLst>
                <a:path w="21272" h="21285" extrusionOk="0">
                  <a:moveTo>
                    <a:pt x="7646" y="529"/>
                  </a:moveTo>
                  <a:cubicBezTo>
                    <a:pt x="7990" y="7"/>
                    <a:pt x="8716" y="-158"/>
                    <a:pt x="9266" y="168"/>
                  </a:cubicBezTo>
                  <a:lnTo>
                    <a:pt x="20724" y="6954"/>
                  </a:lnTo>
                  <a:cubicBezTo>
                    <a:pt x="21274" y="7280"/>
                    <a:pt x="21435" y="7971"/>
                    <a:pt x="21091" y="8493"/>
                  </a:cubicBezTo>
                  <a:lnTo>
                    <a:pt x="13003" y="20763"/>
                  </a:lnTo>
                  <a:cubicBezTo>
                    <a:pt x="12659" y="21284"/>
                    <a:pt x="11938" y="21442"/>
                    <a:pt x="11388" y="21116"/>
                  </a:cubicBezTo>
                  <a:lnTo>
                    <a:pt x="8398" y="19345"/>
                  </a:lnTo>
                  <a:lnTo>
                    <a:pt x="10574" y="16044"/>
                  </a:lnTo>
                  <a:cubicBezTo>
                    <a:pt x="10918" y="15523"/>
                    <a:pt x="10752" y="14839"/>
                    <a:pt x="10202" y="14513"/>
                  </a:cubicBezTo>
                  <a:lnTo>
                    <a:pt x="8206" y="13331"/>
                  </a:lnTo>
                  <a:cubicBezTo>
                    <a:pt x="7656" y="13006"/>
                    <a:pt x="6935" y="13163"/>
                    <a:pt x="6591" y="13685"/>
                  </a:cubicBezTo>
                  <a:lnTo>
                    <a:pt x="4415" y="16986"/>
                  </a:lnTo>
                  <a:lnTo>
                    <a:pt x="1926" y="15512"/>
                  </a:lnTo>
                  <a:cubicBezTo>
                    <a:pt x="1376" y="15186"/>
                    <a:pt x="1202" y="14498"/>
                    <a:pt x="1545" y="13976"/>
                  </a:cubicBezTo>
                  <a:lnTo>
                    <a:pt x="552" y="13387"/>
                  </a:lnTo>
                  <a:cubicBezTo>
                    <a:pt x="2" y="13062"/>
                    <a:pt x="-165" y="12378"/>
                    <a:pt x="179" y="11857"/>
                  </a:cubicBezTo>
                  <a:lnTo>
                    <a:pt x="7646" y="529"/>
                  </a:lnTo>
                  <a:close/>
                  <a:moveTo>
                    <a:pt x="8332" y="1585"/>
                  </a:moveTo>
                  <a:lnTo>
                    <a:pt x="1799" y="11496"/>
                  </a:lnTo>
                  <a:cubicBezTo>
                    <a:pt x="1799" y="11496"/>
                    <a:pt x="1170" y="12444"/>
                    <a:pt x="2166" y="13034"/>
                  </a:cubicBezTo>
                  <a:lnTo>
                    <a:pt x="9326" y="2173"/>
                  </a:lnTo>
                  <a:cubicBezTo>
                    <a:pt x="9498" y="1913"/>
                    <a:pt x="9416" y="1577"/>
                    <a:pt x="9141" y="1414"/>
                  </a:cubicBezTo>
                  <a:cubicBezTo>
                    <a:pt x="8866" y="1251"/>
                    <a:pt x="8504" y="1324"/>
                    <a:pt x="8332" y="1585"/>
                  </a:cubicBezTo>
                  <a:close/>
                  <a:moveTo>
                    <a:pt x="6784" y="14449"/>
                  </a:moveTo>
                  <a:cubicBezTo>
                    <a:pt x="7128" y="13927"/>
                    <a:pt x="7849" y="13769"/>
                    <a:pt x="8399" y="14095"/>
                  </a:cubicBezTo>
                  <a:lnTo>
                    <a:pt x="9393" y="14684"/>
                  </a:lnTo>
                  <a:cubicBezTo>
                    <a:pt x="9943" y="15010"/>
                    <a:pt x="10109" y="15693"/>
                    <a:pt x="9766" y="16215"/>
                  </a:cubicBezTo>
                  <a:lnTo>
                    <a:pt x="7897" y="19049"/>
                  </a:lnTo>
                  <a:cubicBezTo>
                    <a:pt x="7554" y="19570"/>
                    <a:pt x="6827" y="19735"/>
                    <a:pt x="6277" y="19410"/>
                  </a:cubicBezTo>
                  <a:lnTo>
                    <a:pt x="5284" y="18821"/>
                  </a:lnTo>
                  <a:cubicBezTo>
                    <a:pt x="4733" y="18495"/>
                    <a:pt x="4572" y="17804"/>
                    <a:pt x="4916" y="17283"/>
                  </a:cubicBezTo>
                  <a:lnTo>
                    <a:pt x="6784" y="14449"/>
                  </a:lnTo>
                  <a:close/>
                  <a:moveTo>
                    <a:pt x="7465" y="15512"/>
                  </a:moveTo>
                  <a:cubicBezTo>
                    <a:pt x="7293" y="15773"/>
                    <a:pt x="7369" y="16116"/>
                    <a:pt x="7645" y="16279"/>
                  </a:cubicBezTo>
                  <a:cubicBezTo>
                    <a:pt x="7920" y="16442"/>
                    <a:pt x="8287" y="16362"/>
                    <a:pt x="8459" y="16101"/>
                  </a:cubicBezTo>
                  <a:cubicBezTo>
                    <a:pt x="8630" y="15840"/>
                    <a:pt x="8546" y="15492"/>
                    <a:pt x="8271" y="15329"/>
                  </a:cubicBezTo>
                  <a:cubicBezTo>
                    <a:pt x="7995" y="15166"/>
                    <a:pt x="7637" y="15251"/>
                    <a:pt x="7465" y="1551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5" name="Shape 34198">
              <a:extLst>
                <a:ext uri="{FF2B5EF4-FFF2-40B4-BE49-F238E27FC236}">
                  <a16:creationId xmlns:a16="http://schemas.microsoft.com/office/drawing/2014/main" xmlns="" id="{78D0D440-747F-482B-9C51-8DFF90B7CDEC}"/>
                </a:ext>
              </a:extLst>
            </p:cNvPr>
            <p:cNvSpPr/>
            <p:nvPr/>
          </p:nvSpPr>
          <p:spPr>
            <a:xfrm>
              <a:off x="10894630" y="2650276"/>
              <a:ext cx="621486" cy="960340"/>
            </a:xfrm>
            <a:custGeom>
              <a:avLst/>
              <a:gdLst/>
              <a:ahLst/>
              <a:cxnLst>
                <a:cxn ang="0">
                  <a:pos x="wd2" y="hd2"/>
                </a:cxn>
                <a:cxn ang="5400000">
                  <a:pos x="wd2" y="hd2"/>
                </a:cxn>
                <a:cxn ang="10800000">
                  <a:pos x="wd2" y="hd2"/>
                </a:cxn>
                <a:cxn ang="16200000">
                  <a:pos x="wd2" y="hd2"/>
                </a:cxn>
              </a:cxnLst>
              <a:rect l="0" t="0" r="r" b="b"/>
              <a:pathLst>
                <a:path w="21220" h="21353" extrusionOk="0">
                  <a:moveTo>
                    <a:pt x="15021" y="3564"/>
                  </a:moveTo>
                  <a:lnTo>
                    <a:pt x="1858" y="5543"/>
                  </a:lnTo>
                  <a:lnTo>
                    <a:pt x="6199" y="17788"/>
                  </a:lnTo>
                  <a:lnTo>
                    <a:pt x="19362" y="15809"/>
                  </a:lnTo>
                  <a:cubicBezTo>
                    <a:pt x="19362" y="15809"/>
                    <a:pt x="15021" y="3564"/>
                    <a:pt x="15021" y="3564"/>
                  </a:cubicBezTo>
                  <a:close/>
                  <a:moveTo>
                    <a:pt x="10139" y="2364"/>
                  </a:moveTo>
                  <a:lnTo>
                    <a:pt x="5438" y="3070"/>
                  </a:lnTo>
                  <a:cubicBezTo>
                    <a:pt x="5178" y="3109"/>
                    <a:pt x="5016" y="3278"/>
                    <a:pt x="5076" y="3447"/>
                  </a:cubicBezTo>
                  <a:cubicBezTo>
                    <a:pt x="5136" y="3616"/>
                    <a:pt x="5395" y="3722"/>
                    <a:pt x="5655" y="3683"/>
                  </a:cubicBezTo>
                  <a:lnTo>
                    <a:pt x="10356" y="2976"/>
                  </a:lnTo>
                  <a:cubicBezTo>
                    <a:pt x="10615" y="2937"/>
                    <a:pt x="10777" y="2768"/>
                    <a:pt x="10717" y="2599"/>
                  </a:cubicBezTo>
                  <a:cubicBezTo>
                    <a:pt x="10657" y="2430"/>
                    <a:pt x="10398" y="2325"/>
                    <a:pt x="10139" y="2364"/>
                  </a:cubicBezTo>
                  <a:close/>
                  <a:moveTo>
                    <a:pt x="14119" y="19177"/>
                  </a:moveTo>
                  <a:cubicBezTo>
                    <a:pt x="14897" y="19060"/>
                    <a:pt x="15383" y="18554"/>
                    <a:pt x="15204" y="18046"/>
                  </a:cubicBezTo>
                  <a:cubicBezTo>
                    <a:pt x="15024" y="17539"/>
                    <a:pt x="14246" y="17223"/>
                    <a:pt x="13468" y="17340"/>
                  </a:cubicBezTo>
                  <a:cubicBezTo>
                    <a:pt x="12689" y="17457"/>
                    <a:pt x="12203" y="17963"/>
                    <a:pt x="12383" y="18470"/>
                  </a:cubicBezTo>
                  <a:cubicBezTo>
                    <a:pt x="12563" y="18978"/>
                    <a:pt x="13340" y="19294"/>
                    <a:pt x="14119" y="19177"/>
                  </a:cubicBezTo>
                  <a:close/>
                  <a:moveTo>
                    <a:pt x="19724" y="19624"/>
                  </a:moveTo>
                  <a:lnTo>
                    <a:pt x="8442" y="21320"/>
                  </a:lnTo>
                  <a:cubicBezTo>
                    <a:pt x="7403" y="21476"/>
                    <a:pt x="6367" y="21054"/>
                    <a:pt x="6127" y="20378"/>
                  </a:cubicBezTo>
                  <a:lnTo>
                    <a:pt x="50" y="3235"/>
                  </a:lnTo>
                  <a:cubicBezTo>
                    <a:pt x="-190" y="2559"/>
                    <a:pt x="458" y="1884"/>
                    <a:pt x="1496" y="1728"/>
                  </a:cubicBezTo>
                  <a:lnTo>
                    <a:pt x="12778" y="32"/>
                  </a:lnTo>
                  <a:cubicBezTo>
                    <a:pt x="13817" y="-124"/>
                    <a:pt x="14853" y="298"/>
                    <a:pt x="15093" y="974"/>
                  </a:cubicBezTo>
                  <a:lnTo>
                    <a:pt x="21170" y="18117"/>
                  </a:lnTo>
                  <a:cubicBezTo>
                    <a:pt x="21410" y="18793"/>
                    <a:pt x="20762" y="19468"/>
                    <a:pt x="19724" y="1962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6" name="Shape 34199">
              <a:extLst>
                <a:ext uri="{FF2B5EF4-FFF2-40B4-BE49-F238E27FC236}">
                  <a16:creationId xmlns:a16="http://schemas.microsoft.com/office/drawing/2014/main" xmlns="" id="{2897DC20-4EC4-45E4-80E7-81FCE5187EBB}"/>
                </a:ext>
              </a:extLst>
            </p:cNvPr>
            <p:cNvSpPr/>
            <p:nvPr/>
          </p:nvSpPr>
          <p:spPr>
            <a:xfrm>
              <a:off x="11662409" y="2578131"/>
              <a:ext cx="539930" cy="685716"/>
            </a:xfrm>
            <a:custGeom>
              <a:avLst/>
              <a:gdLst/>
              <a:ahLst/>
              <a:cxnLst>
                <a:cxn ang="0">
                  <a:pos x="wd2" y="hd2"/>
                </a:cxn>
                <a:cxn ang="5400000">
                  <a:pos x="wd2" y="hd2"/>
                </a:cxn>
                <a:cxn ang="10800000">
                  <a:pos x="wd2" y="hd2"/>
                </a:cxn>
                <a:cxn ang="16200000">
                  <a:pos x="wd2" y="hd2"/>
                </a:cxn>
              </a:cxnLst>
              <a:rect l="0" t="0" r="r" b="b"/>
              <a:pathLst>
                <a:path w="21600" h="21600" extrusionOk="0">
                  <a:moveTo>
                    <a:pt x="0" y="837"/>
                  </a:moveTo>
                  <a:lnTo>
                    <a:pt x="1844" y="21600"/>
                  </a:lnTo>
                  <a:lnTo>
                    <a:pt x="21600" y="20512"/>
                  </a:lnTo>
                  <a:lnTo>
                    <a:pt x="20076" y="3352"/>
                  </a:lnTo>
                  <a:lnTo>
                    <a:pt x="15202" y="0"/>
                  </a:lnTo>
                  <a:lnTo>
                    <a:pt x="0" y="837"/>
                  </a:lnTo>
                  <a:close/>
                  <a:moveTo>
                    <a:pt x="6705" y="5273"/>
                  </a:moveTo>
                  <a:lnTo>
                    <a:pt x="13900" y="4876"/>
                  </a:lnTo>
                  <a:lnTo>
                    <a:pt x="13951" y="5450"/>
                  </a:lnTo>
                  <a:lnTo>
                    <a:pt x="6756" y="5846"/>
                  </a:lnTo>
                  <a:lnTo>
                    <a:pt x="6705" y="5273"/>
                  </a:lnTo>
                  <a:close/>
                  <a:moveTo>
                    <a:pt x="3609" y="11120"/>
                  </a:moveTo>
                  <a:lnTo>
                    <a:pt x="18000" y="10328"/>
                  </a:lnTo>
                  <a:lnTo>
                    <a:pt x="18049" y="10884"/>
                  </a:lnTo>
                  <a:lnTo>
                    <a:pt x="3658" y="11677"/>
                  </a:lnTo>
                  <a:lnTo>
                    <a:pt x="3609" y="11120"/>
                  </a:lnTo>
                  <a:close/>
                  <a:moveTo>
                    <a:pt x="3859" y="13936"/>
                  </a:moveTo>
                  <a:lnTo>
                    <a:pt x="18250" y="13144"/>
                  </a:lnTo>
                  <a:lnTo>
                    <a:pt x="18301" y="13717"/>
                  </a:lnTo>
                  <a:lnTo>
                    <a:pt x="3910" y="14509"/>
                  </a:lnTo>
                  <a:lnTo>
                    <a:pt x="3859" y="13936"/>
                  </a:lnTo>
                  <a:close/>
                  <a:moveTo>
                    <a:pt x="4109" y="16753"/>
                  </a:moveTo>
                  <a:lnTo>
                    <a:pt x="11305" y="16357"/>
                  </a:lnTo>
                  <a:lnTo>
                    <a:pt x="11356" y="16930"/>
                  </a:lnTo>
                  <a:lnTo>
                    <a:pt x="4160" y="17326"/>
                  </a:lnTo>
                  <a:lnTo>
                    <a:pt x="4109" y="16753"/>
                  </a:ln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7" name="Shape 34200">
              <a:extLst>
                <a:ext uri="{FF2B5EF4-FFF2-40B4-BE49-F238E27FC236}">
                  <a16:creationId xmlns:a16="http://schemas.microsoft.com/office/drawing/2014/main" xmlns="" id="{7418AAC8-DF00-4BF7-A00C-ECCF6291DCB7}"/>
                </a:ext>
              </a:extLst>
            </p:cNvPr>
            <p:cNvSpPr/>
            <p:nvPr/>
          </p:nvSpPr>
          <p:spPr>
            <a:xfrm>
              <a:off x="12531620" y="6289836"/>
              <a:ext cx="641868" cy="650244"/>
            </a:xfrm>
            <a:custGeom>
              <a:avLst/>
              <a:gdLst/>
              <a:ahLst/>
              <a:cxnLst>
                <a:cxn ang="0">
                  <a:pos x="wd2" y="hd2"/>
                </a:cxn>
                <a:cxn ang="5400000">
                  <a:pos x="wd2" y="hd2"/>
                </a:cxn>
                <a:cxn ang="10800000">
                  <a:pos x="wd2" y="hd2"/>
                </a:cxn>
                <a:cxn ang="16200000">
                  <a:pos x="wd2" y="hd2"/>
                </a:cxn>
              </a:cxnLst>
              <a:rect l="0" t="0" r="r" b="b"/>
              <a:pathLst>
                <a:path w="21273" h="21600" extrusionOk="0">
                  <a:moveTo>
                    <a:pt x="0" y="8656"/>
                  </a:moveTo>
                  <a:lnTo>
                    <a:pt x="3891" y="13472"/>
                  </a:lnTo>
                  <a:cubicBezTo>
                    <a:pt x="3891" y="13472"/>
                    <a:pt x="5113" y="13644"/>
                    <a:pt x="5432" y="12623"/>
                  </a:cubicBezTo>
                  <a:cubicBezTo>
                    <a:pt x="5784" y="11492"/>
                    <a:pt x="7687" y="9934"/>
                    <a:pt x="9148" y="11824"/>
                  </a:cubicBezTo>
                  <a:cubicBezTo>
                    <a:pt x="10609" y="13713"/>
                    <a:pt x="9118" y="15051"/>
                    <a:pt x="7911" y="15308"/>
                  </a:cubicBezTo>
                  <a:cubicBezTo>
                    <a:pt x="6818" y="15541"/>
                    <a:pt x="6446" y="16635"/>
                    <a:pt x="6446" y="16635"/>
                  </a:cubicBezTo>
                  <a:lnTo>
                    <a:pt x="10458" y="21600"/>
                  </a:lnTo>
                  <a:lnTo>
                    <a:pt x="14739" y="18125"/>
                  </a:lnTo>
                  <a:cubicBezTo>
                    <a:pt x="14739" y="18125"/>
                    <a:pt x="14656" y="17235"/>
                    <a:pt x="13766" y="16921"/>
                  </a:cubicBezTo>
                  <a:cubicBezTo>
                    <a:pt x="12685" y="16541"/>
                    <a:pt x="11239" y="14858"/>
                    <a:pt x="13261" y="13217"/>
                  </a:cubicBezTo>
                  <a:cubicBezTo>
                    <a:pt x="15282" y="11577"/>
                    <a:pt x="16620" y="13268"/>
                    <a:pt x="16756" y="14619"/>
                  </a:cubicBezTo>
                  <a:cubicBezTo>
                    <a:pt x="16858" y="15631"/>
                    <a:pt x="17668" y="15748"/>
                    <a:pt x="17668" y="15748"/>
                  </a:cubicBezTo>
                  <a:lnTo>
                    <a:pt x="21273" y="12822"/>
                  </a:lnTo>
                  <a:cubicBezTo>
                    <a:pt x="21273" y="12822"/>
                    <a:pt x="18291" y="9357"/>
                    <a:pt x="17693" y="8295"/>
                  </a:cubicBezTo>
                  <a:cubicBezTo>
                    <a:pt x="17052" y="7158"/>
                    <a:pt x="18759" y="6911"/>
                    <a:pt x="19060" y="6845"/>
                  </a:cubicBezTo>
                  <a:cubicBezTo>
                    <a:pt x="20796" y="6467"/>
                    <a:pt x="21600" y="4760"/>
                    <a:pt x="20175" y="2996"/>
                  </a:cubicBezTo>
                  <a:cubicBezTo>
                    <a:pt x="18749" y="1232"/>
                    <a:pt x="16519" y="2306"/>
                    <a:pt x="16165" y="3733"/>
                  </a:cubicBezTo>
                  <a:cubicBezTo>
                    <a:pt x="15902" y="4793"/>
                    <a:pt x="15415" y="5326"/>
                    <a:pt x="14915" y="4919"/>
                  </a:cubicBezTo>
                  <a:cubicBezTo>
                    <a:pt x="13746" y="3966"/>
                    <a:pt x="10665" y="0"/>
                    <a:pt x="10665" y="0"/>
                  </a:cubicBezTo>
                  <a:lnTo>
                    <a:pt x="7285" y="2743"/>
                  </a:lnTo>
                  <a:cubicBezTo>
                    <a:pt x="7285" y="2743"/>
                    <a:pt x="7256" y="4048"/>
                    <a:pt x="8291" y="4295"/>
                  </a:cubicBezTo>
                  <a:cubicBezTo>
                    <a:pt x="9849" y="4668"/>
                    <a:pt x="10626" y="6514"/>
                    <a:pt x="9021" y="7816"/>
                  </a:cubicBezTo>
                  <a:cubicBezTo>
                    <a:pt x="7417" y="9118"/>
                    <a:pt x="5847" y="8156"/>
                    <a:pt x="5733" y="6515"/>
                  </a:cubicBezTo>
                  <a:cubicBezTo>
                    <a:pt x="5669" y="5595"/>
                    <a:pt x="4421" y="5079"/>
                    <a:pt x="4421" y="5079"/>
                  </a:cubicBezTo>
                  <a:cubicBezTo>
                    <a:pt x="4421" y="5079"/>
                    <a:pt x="0" y="8656"/>
                    <a:pt x="0" y="865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8" name="Shape 34201">
              <a:extLst>
                <a:ext uri="{FF2B5EF4-FFF2-40B4-BE49-F238E27FC236}">
                  <a16:creationId xmlns:a16="http://schemas.microsoft.com/office/drawing/2014/main" xmlns="" id="{F0473AF5-038B-42A4-BC7C-169EC4E9B713}"/>
                </a:ext>
              </a:extLst>
            </p:cNvPr>
            <p:cNvSpPr/>
            <p:nvPr/>
          </p:nvSpPr>
          <p:spPr>
            <a:xfrm>
              <a:off x="11981887" y="4201963"/>
              <a:ext cx="441404" cy="383974"/>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9" name="Shape 34202">
              <a:extLst>
                <a:ext uri="{FF2B5EF4-FFF2-40B4-BE49-F238E27FC236}">
                  <a16:creationId xmlns:a16="http://schemas.microsoft.com/office/drawing/2014/main" xmlns="" id="{CF307892-A83B-48F3-A89F-02D4C5D8FDA7}"/>
                </a:ext>
              </a:extLst>
            </p:cNvPr>
            <p:cNvSpPr/>
            <p:nvPr/>
          </p:nvSpPr>
          <p:spPr>
            <a:xfrm>
              <a:off x="11678186" y="10413681"/>
              <a:ext cx="681752" cy="44600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0" name="Shape 34203">
              <a:extLst>
                <a:ext uri="{FF2B5EF4-FFF2-40B4-BE49-F238E27FC236}">
                  <a16:creationId xmlns:a16="http://schemas.microsoft.com/office/drawing/2014/main" xmlns="" id="{D43967C4-630B-44A9-BFA8-D6705AE10B72}"/>
                </a:ext>
              </a:extLst>
            </p:cNvPr>
            <p:cNvSpPr/>
            <p:nvPr/>
          </p:nvSpPr>
          <p:spPr>
            <a:xfrm>
              <a:off x="13517964" y="3878275"/>
              <a:ext cx="745620" cy="528512"/>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1" name="Shape 34204">
              <a:extLst>
                <a:ext uri="{FF2B5EF4-FFF2-40B4-BE49-F238E27FC236}">
                  <a16:creationId xmlns:a16="http://schemas.microsoft.com/office/drawing/2014/main" xmlns="" id="{9B4C0168-2D07-4233-A8A8-98131AC94928}"/>
                </a:ext>
              </a:extLst>
            </p:cNvPr>
            <p:cNvSpPr/>
            <p:nvPr/>
          </p:nvSpPr>
          <p:spPr>
            <a:xfrm>
              <a:off x="10622816" y="11265327"/>
              <a:ext cx="446006" cy="446008"/>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2" name="Shape 34205">
              <a:extLst>
                <a:ext uri="{FF2B5EF4-FFF2-40B4-BE49-F238E27FC236}">
                  <a16:creationId xmlns:a16="http://schemas.microsoft.com/office/drawing/2014/main" xmlns="" id="{E5DA5CD2-836D-401E-802C-E6E2A4AB7ADA}"/>
                </a:ext>
              </a:extLst>
            </p:cNvPr>
            <p:cNvSpPr/>
            <p:nvPr/>
          </p:nvSpPr>
          <p:spPr>
            <a:xfrm>
              <a:off x="11074336" y="12293991"/>
              <a:ext cx="529370" cy="550146"/>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3" name="Shape 34206">
              <a:extLst>
                <a:ext uri="{FF2B5EF4-FFF2-40B4-BE49-F238E27FC236}">
                  <a16:creationId xmlns:a16="http://schemas.microsoft.com/office/drawing/2014/main" xmlns="" id="{B0CFACEF-7528-488E-BFDC-97D81C8A6849}"/>
                </a:ext>
              </a:extLst>
            </p:cNvPr>
            <p:cNvSpPr/>
            <p:nvPr/>
          </p:nvSpPr>
          <p:spPr>
            <a:xfrm>
              <a:off x="10836598" y="8678073"/>
              <a:ext cx="776072" cy="459642"/>
            </a:xfrm>
            <a:custGeom>
              <a:avLst/>
              <a:gdLst/>
              <a:ahLst/>
              <a:cxnLst>
                <a:cxn ang="0">
                  <a:pos x="wd2" y="hd2"/>
                </a:cxn>
                <a:cxn ang="5400000">
                  <a:pos x="wd2" y="hd2"/>
                </a:cxn>
                <a:cxn ang="10800000">
                  <a:pos x="wd2" y="hd2"/>
                </a:cxn>
                <a:cxn ang="16200000">
                  <a:pos x="wd2" y="hd2"/>
                </a:cxn>
              </a:cxnLst>
              <a:rect l="0" t="0" r="r" b="b"/>
              <a:pathLst>
                <a:path w="21428" h="21311" extrusionOk="0">
                  <a:moveTo>
                    <a:pt x="3736" y="4687"/>
                  </a:moveTo>
                  <a:lnTo>
                    <a:pt x="4986" y="19624"/>
                  </a:lnTo>
                  <a:lnTo>
                    <a:pt x="17693" y="16625"/>
                  </a:lnTo>
                  <a:lnTo>
                    <a:pt x="16443" y="1688"/>
                  </a:lnTo>
                  <a:cubicBezTo>
                    <a:pt x="16443" y="1688"/>
                    <a:pt x="3736" y="4687"/>
                    <a:pt x="3736" y="4687"/>
                  </a:cubicBezTo>
                  <a:close/>
                  <a:moveTo>
                    <a:pt x="2231" y="9938"/>
                  </a:moveTo>
                  <a:lnTo>
                    <a:pt x="2678" y="15273"/>
                  </a:lnTo>
                  <a:cubicBezTo>
                    <a:pt x="2702" y="15567"/>
                    <a:pt x="2864" y="15772"/>
                    <a:pt x="3040" y="15731"/>
                  </a:cubicBezTo>
                  <a:cubicBezTo>
                    <a:pt x="3215" y="15690"/>
                    <a:pt x="3338" y="15417"/>
                    <a:pt x="3313" y="15123"/>
                  </a:cubicBezTo>
                  <a:lnTo>
                    <a:pt x="2867" y="9788"/>
                  </a:lnTo>
                  <a:cubicBezTo>
                    <a:pt x="2842" y="9494"/>
                    <a:pt x="2680" y="9288"/>
                    <a:pt x="2504" y="9330"/>
                  </a:cubicBezTo>
                  <a:cubicBezTo>
                    <a:pt x="2329" y="9371"/>
                    <a:pt x="2207" y="9644"/>
                    <a:pt x="2231" y="9938"/>
                  </a:cubicBezTo>
                  <a:close/>
                  <a:moveTo>
                    <a:pt x="19564" y="8023"/>
                  </a:moveTo>
                  <a:cubicBezTo>
                    <a:pt x="19490" y="7140"/>
                    <a:pt x="19004" y="6524"/>
                    <a:pt x="18477" y="6648"/>
                  </a:cubicBezTo>
                  <a:cubicBezTo>
                    <a:pt x="17951" y="6772"/>
                    <a:pt x="17584" y="7590"/>
                    <a:pt x="17658" y="8473"/>
                  </a:cubicBezTo>
                  <a:cubicBezTo>
                    <a:pt x="17732" y="9357"/>
                    <a:pt x="18219" y="9973"/>
                    <a:pt x="18745" y="9849"/>
                  </a:cubicBezTo>
                  <a:cubicBezTo>
                    <a:pt x="19272" y="9724"/>
                    <a:pt x="19638" y="8907"/>
                    <a:pt x="19564" y="8023"/>
                  </a:cubicBezTo>
                  <a:close/>
                  <a:moveTo>
                    <a:pt x="20344" y="1856"/>
                  </a:moveTo>
                  <a:lnTo>
                    <a:pt x="21415" y="14658"/>
                  </a:lnTo>
                  <a:cubicBezTo>
                    <a:pt x="21514" y="15837"/>
                    <a:pt x="21025" y="16926"/>
                    <a:pt x="20323" y="17092"/>
                  </a:cubicBezTo>
                  <a:lnTo>
                    <a:pt x="2533" y="21290"/>
                  </a:lnTo>
                  <a:cubicBezTo>
                    <a:pt x="1832" y="21456"/>
                    <a:pt x="1183" y="20635"/>
                    <a:pt x="1084" y="19456"/>
                  </a:cubicBezTo>
                  <a:lnTo>
                    <a:pt x="13" y="6654"/>
                  </a:lnTo>
                  <a:cubicBezTo>
                    <a:pt x="-86" y="5475"/>
                    <a:pt x="403" y="4386"/>
                    <a:pt x="1105" y="4220"/>
                  </a:cubicBezTo>
                  <a:lnTo>
                    <a:pt x="18895" y="22"/>
                  </a:lnTo>
                  <a:cubicBezTo>
                    <a:pt x="19596" y="-144"/>
                    <a:pt x="20245" y="677"/>
                    <a:pt x="20344" y="1856"/>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4" name="Shape 34207">
              <a:extLst>
                <a:ext uri="{FF2B5EF4-FFF2-40B4-BE49-F238E27FC236}">
                  <a16:creationId xmlns:a16="http://schemas.microsoft.com/office/drawing/2014/main" xmlns="" id="{FB9F01C1-1774-4436-A4DE-0BCA6A15A21B}"/>
                </a:ext>
              </a:extLst>
            </p:cNvPr>
            <p:cNvSpPr/>
            <p:nvPr/>
          </p:nvSpPr>
          <p:spPr>
            <a:xfrm>
              <a:off x="12300451" y="8958670"/>
              <a:ext cx="694132" cy="637746"/>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5" name="Shape 34208">
              <a:extLst>
                <a:ext uri="{FF2B5EF4-FFF2-40B4-BE49-F238E27FC236}">
                  <a16:creationId xmlns:a16="http://schemas.microsoft.com/office/drawing/2014/main" xmlns="" id="{4E538418-07A1-487E-A672-D434DEB68A30}"/>
                </a:ext>
              </a:extLst>
            </p:cNvPr>
            <p:cNvSpPr/>
            <p:nvPr/>
          </p:nvSpPr>
          <p:spPr>
            <a:xfrm>
              <a:off x="11569660" y="9038623"/>
              <a:ext cx="297614" cy="32945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6" name="Shape 34209">
              <a:extLst>
                <a:ext uri="{FF2B5EF4-FFF2-40B4-BE49-F238E27FC236}">
                  <a16:creationId xmlns:a16="http://schemas.microsoft.com/office/drawing/2014/main" xmlns="" id="{78E5B88A-A67A-418A-B378-78FBD2CE577E}"/>
                </a:ext>
              </a:extLst>
            </p:cNvPr>
            <p:cNvSpPr/>
            <p:nvPr/>
          </p:nvSpPr>
          <p:spPr>
            <a:xfrm>
              <a:off x="13028438" y="8411802"/>
              <a:ext cx="415194" cy="47975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7" name="Shape 34210">
              <a:extLst>
                <a:ext uri="{FF2B5EF4-FFF2-40B4-BE49-F238E27FC236}">
                  <a16:creationId xmlns:a16="http://schemas.microsoft.com/office/drawing/2014/main" xmlns="" id="{3624B19E-4A3E-412B-B43A-2E785A544158}"/>
                </a:ext>
              </a:extLst>
            </p:cNvPr>
            <p:cNvSpPr/>
            <p:nvPr/>
          </p:nvSpPr>
          <p:spPr>
            <a:xfrm>
              <a:off x="9694005" y="5957329"/>
              <a:ext cx="377264" cy="351174"/>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8" name="Shape 34211">
              <a:extLst>
                <a:ext uri="{FF2B5EF4-FFF2-40B4-BE49-F238E27FC236}">
                  <a16:creationId xmlns:a16="http://schemas.microsoft.com/office/drawing/2014/main" xmlns="" id="{64EBB6A9-A0DA-4E02-9CBF-A09158BC8B5E}"/>
                </a:ext>
              </a:extLst>
            </p:cNvPr>
            <p:cNvSpPr/>
            <p:nvPr/>
          </p:nvSpPr>
          <p:spPr>
            <a:xfrm>
              <a:off x="10312910" y="3971892"/>
              <a:ext cx="478390" cy="68402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9" name="Shape 34212">
              <a:extLst>
                <a:ext uri="{FF2B5EF4-FFF2-40B4-BE49-F238E27FC236}">
                  <a16:creationId xmlns:a16="http://schemas.microsoft.com/office/drawing/2014/main" xmlns="" id="{34E654D4-BA86-4AF2-8C68-82244BEFB203}"/>
                </a:ext>
              </a:extLst>
            </p:cNvPr>
            <p:cNvSpPr/>
            <p:nvPr/>
          </p:nvSpPr>
          <p:spPr>
            <a:xfrm>
              <a:off x="9175496" y="3615262"/>
              <a:ext cx="674788" cy="478306"/>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0" name="Shape 34213">
              <a:extLst>
                <a:ext uri="{FF2B5EF4-FFF2-40B4-BE49-F238E27FC236}">
                  <a16:creationId xmlns:a16="http://schemas.microsoft.com/office/drawing/2014/main" xmlns="" id="{0A73C994-546A-4A00-914B-53A915419382}"/>
                </a:ext>
              </a:extLst>
            </p:cNvPr>
            <p:cNvSpPr/>
            <p:nvPr/>
          </p:nvSpPr>
          <p:spPr>
            <a:xfrm>
              <a:off x="14822081" y="4439957"/>
              <a:ext cx="756136" cy="659706"/>
            </a:xfrm>
            <a:custGeom>
              <a:avLst/>
              <a:gdLst/>
              <a:ahLst/>
              <a:cxnLst>
                <a:cxn ang="0">
                  <a:pos x="wd2" y="hd2"/>
                </a:cxn>
                <a:cxn ang="5400000">
                  <a:pos x="wd2" y="hd2"/>
                </a:cxn>
                <a:cxn ang="10800000">
                  <a:pos x="wd2" y="hd2"/>
                </a:cxn>
                <a:cxn ang="16200000">
                  <a:pos x="wd2" y="hd2"/>
                </a:cxn>
              </a:cxnLst>
              <a:rect l="0" t="0" r="r" b="b"/>
              <a:pathLst>
                <a:path w="21600" h="21600" extrusionOk="0">
                  <a:moveTo>
                    <a:pt x="6294" y="3457"/>
                  </a:moveTo>
                  <a:lnTo>
                    <a:pt x="148" y="16086"/>
                  </a:lnTo>
                  <a:lnTo>
                    <a:pt x="0" y="16165"/>
                  </a:lnTo>
                  <a:lnTo>
                    <a:pt x="1008" y="21600"/>
                  </a:lnTo>
                  <a:lnTo>
                    <a:pt x="10415" y="19280"/>
                  </a:lnTo>
                  <a:lnTo>
                    <a:pt x="10816" y="21443"/>
                  </a:lnTo>
                  <a:lnTo>
                    <a:pt x="12402" y="20369"/>
                  </a:lnTo>
                  <a:lnTo>
                    <a:pt x="14220" y="20613"/>
                  </a:lnTo>
                  <a:lnTo>
                    <a:pt x="13819" y="18450"/>
                  </a:lnTo>
                  <a:lnTo>
                    <a:pt x="17113" y="17634"/>
                  </a:lnTo>
                  <a:lnTo>
                    <a:pt x="17471" y="17546"/>
                  </a:lnTo>
                  <a:lnTo>
                    <a:pt x="21600" y="5952"/>
                  </a:lnTo>
                  <a:lnTo>
                    <a:pt x="20486" y="14"/>
                  </a:lnTo>
                  <a:cubicBezTo>
                    <a:pt x="20486" y="14"/>
                    <a:pt x="20484" y="0"/>
                    <a:pt x="20484" y="0"/>
                  </a:cubicBezTo>
                  <a:lnTo>
                    <a:pt x="6294" y="3457"/>
                  </a:lnTo>
                  <a:close/>
                  <a:moveTo>
                    <a:pt x="19860" y="1754"/>
                  </a:moveTo>
                  <a:cubicBezTo>
                    <a:pt x="19941" y="2188"/>
                    <a:pt x="20020" y="2621"/>
                    <a:pt x="20101" y="3055"/>
                  </a:cubicBezTo>
                  <a:cubicBezTo>
                    <a:pt x="20278" y="3996"/>
                    <a:pt x="20448" y="4934"/>
                    <a:pt x="20624" y="5875"/>
                  </a:cubicBezTo>
                  <a:lnTo>
                    <a:pt x="16762" y="16617"/>
                  </a:lnTo>
                  <a:lnTo>
                    <a:pt x="13623" y="17396"/>
                  </a:lnTo>
                  <a:lnTo>
                    <a:pt x="13219" y="15220"/>
                  </a:lnTo>
                  <a:cubicBezTo>
                    <a:pt x="13219" y="15220"/>
                    <a:pt x="9815" y="16049"/>
                    <a:pt x="9815" y="16049"/>
                  </a:cubicBezTo>
                  <a:lnTo>
                    <a:pt x="10222" y="18239"/>
                  </a:lnTo>
                  <a:lnTo>
                    <a:pt x="1723" y="20338"/>
                  </a:lnTo>
                  <a:lnTo>
                    <a:pt x="908" y="15944"/>
                  </a:lnTo>
                  <a:lnTo>
                    <a:pt x="16076" y="12248"/>
                  </a:lnTo>
                  <a:cubicBezTo>
                    <a:pt x="16076" y="12249"/>
                    <a:pt x="18931" y="4332"/>
                    <a:pt x="19860" y="1754"/>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1" name="Shape 34214">
              <a:extLst>
                <a:ext uri="{FF2B5EF4-FFF2-40B4-BE49-F238E27FC236}">
                  <a16:creationId xmlns:a16="http://schemas.microsoft.com/office/drawing/2014/main" xmlns="" id="{6B246C76-0BFB-4128-A7A2-81C14F30AAC4}"/>
                </a:ext>
              </a:extLst>
            </p:cNvPr>
            <p:cNvSpPr/>
            <p:nvPr/>
          </p:nvSpPr>
          <p:spPr>
            <a:xfrm>
              <a:off x="12406836" y="10620127"/>
              <a:ext cx="516758" cy="57204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2" name="Shape 34215">
              <a:extLst>
                <a:ext uri="{FF2B5EF4-FFF2-40B4-BE49-F238E27FC236}">
                  <a16:creationId xmlns:a16="http://schemas.microsoft.com/office/drawing/2014/main" xmlns="" id="{27B5398E-8F1A-424E-A895-78751EA2F323}"/>
                </a:ext>
              </a:extLst>
            </p:cNvPr>
            <p:cNvSpPr/>
            <p:nvPr/>
          </p:nvSpPr>
          <p:spPr>
            <a:xfrm>
              <a:off x="15192453" y="5780593"/>
              <a:ext cx="475406" cy="475406"/>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63" name="Shape 34216">
              <a:extLst>
                <a:ext uri="{FF2B5EF4-FFF2-40B4-BE49-F238E27FC236}">
                  <a16:creationId xmlns:a16="http://schemas.microsoft.com/office/drawing/2014/main" xmlns="" id="{7B47E5C2-849B-46D8-A6DE-E4F1C5A17C2D}"/>
                </a:ext>
              </a:extLst>
            </p:cNvPr>
            <p:cNvSpPr/>
            <p:nvPr/>
          </p:nvSpPr>
          <p:spPr>
            <a:xfrm>
              <a:off x="11916931" y="8191128"/>
              <a:ext cx="792292" cy="544702"/>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20097" tIns="20097" rIns="20097" bIns="20097" numCol="1" anchor="b">
              <a:noAutofit/>
            </a:bodyPr>
            <a:lstStyle/>
            <a:p>
              <a:endParaRPr lang="en-GB" sz="1899" dirty="0">
                <a:latin typeface="Lato Light" panose="020F0502020204030203" pitchFamily="34" charset="0"/>
              </a:endParaRPr>
            </a:p>
          </p:txBody>
        </p:sp>
        <p:sp>
          <p:nvSpPr>
            <p:cNvPr id="64" name="Shape 34217">
              <a:extLst>
                <a:ext uri="{FF2B5EF4-FFF2-40B4-BE49-F238E27FC236}">
                  <a16:creationId xmlns:a16="http://schemas.microsoft.com/office/drawing/2014/main" xmlns="" id="{99521183-0B0F-4A4D-9AC0-C4C3740178D8}"/>
                </a:ext>
              </a:extLst>
            </p:cNvPr>
            <p:cNvSpPr/>
            <p:nvPr/>
          </p:nvSpPr>
          <p:spPr>
            <a:xfrm>
              <a:off x="12395335" y="3740451"/>
              <a:ext cx="693544" cy="915782"/>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accent1"/>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65" name="Shape 34218">
              <a:extLst>
                <a:ext uri="{FF2B5EF4-FFF2-40B4-BE49-F238E27FC236}">
                  <a16:creationId xmlns:a16="http://schemas.microsoft.com/office/drawing/2014/main" xmlns="" id="{85DFAE8B-76BE-4A2A-8FEA-AB64210DAB8A}"/>
                </a:ext>
              </a:extLst>
            </p:cNvPr>
            <p:cNvSpPr/>
            <p:nvPr/>
          </p:nvSpPr>
          <p:spPr>
            <a:xfrm>
              <a:off x="11932702" y="12638103"/>
              <a:ext cx="408708" cy="303434"/>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837" y="8637"/>
                  </a:lnTo>
                  <a:lnTo>
                    <a:pt x="17837" y="12781"/>
                  </a:lnTo>
                  <a:cubicBezTo>
                    <a:pt x="17837" y="13798"/>
                    <a:pt x="17539" y="14723"/>
                    <a:pt x="17049" y="15392"/>
                  </a:cubicBezTo>
                  <a:cubicBezTo>
                    <a:pt x="16550" y="16075"/>
                    <a:pt x="15855" y="16492"/>
                    <a:pt x="15079" y="16478"/>
                  </a:cubicBezTo>
                  <a:lnTo>
                    <a:pt x="9158" y="16478"/>
                  </a:lnTo>
                  <a:lnTo>
                    <a:pt x="9158" y="17810"/>
                  </a:lnTo>
                  <a:cubicBezTo>
                    <a:pt x="9158" y="18368"/>
                    <a:pt x="9328" y="18874"/>
                    <a:pt x="9602" y="19240"/>
                  </a:cubicBezTo>
                  <a:cubicBezTo>
                    <a:pt x="9876" y="19606"/>
                    <a:pt x="10255" y="19832"/>
                    <a:pt x="10673" y="19832"/>
                  </a:cubicBezTo>
                  <a:lnTo>
                    <a:pt x="16728" y="19832"/>
                  </a:lnTo>
                  <a:lnTo>
                    <a:pt x="19181" y="21600"/>
                  </a:lnTo>
                  <a:lnTo>
                    <a:pt x="19181" y="19832"/>
                  </a:lnTo>
                  <a:lnTo>
                    <a:pt x="20085" y="19832"/>
                  </a:lnTo>
                  <a:cubicBezTo>
                    <a:pt x="20503" y="19832"/>
                    <a:pt x="20882" y="19606"/>
                    <a:pt x="21156" y="19240"/>
                  </a:cubicBezTo>
                  <a:cubicBezTo>
                    <a:pt x="21430" y="18874"/>
                    <a:pt x="21600" y="18368"/>
                    <a:pt x="21600" y="17810"/>
                  </a:cubicBezTo>
                  <a:lnTo>
                    <a:pt x="21600" y="10554"/>
                  </a:lnTo>
                  <a:cubicBezTo>
                    <a:pt x="21600" y="9996"/>
                    <a:pt x="21430" y="9490"/>
                    <a:pt x="21156" y="9125"/>
                  </a:cubicBezTo>
                  <a:cubicBezTo>
                    <a:pt x="20882" y="8759"/>
                    <a:pt x="20503" y="8532"/>
                    <a:pt x="20085" y="8532"/>
                  </a:cubicBezTo>
                  <a:close/>
                  <a:moveTo>
                    <a:pt x="6912" y="15450"/>
                  </a:moveTo>
                  <a:lnTo>
                    <a:pt x="6689" y="15450"/>
                  </a:lnTo>
                  <a:lnTo>
                    <a:pt x="2592" y="18372"/>
                  </a:lnTo>
                  <a:lnTo>
                    <a:pt x="2592" y="15450"/>
                  </a:lnTo>
                  <a:lnTo>
                    <a:pt x="2074" y="15450"/>
                  </a:lnTo>
                  <a:cubicBezTo>
                    <a:pt x="1501" y="15450"/>
                    <a:pt x="983" y="15141"/>
                    <a:pt x="607" y="14640"/>
                  </a:cubicBezTo>
                  <a:cubicBezTo>
                    <a:pt x="232" y="14139"/>
                    <a:pt x="0" y="13447"/>
                    <a:pt x="0" y="12683"/>
                  </a:cubicBezTo>
                  <a:lnTo>
                    <a:pt x="0" y="2767"/>
                  </a:lnTo>
                  <a:cubicBezTo>
                    <a:pt x="0" y="2003"/>
                    <a:pt x="232" y="1311"/>
                    <a:pt x="607" y="811"/>
                  </a:cubicBezTo>
                  <a:cubicBezTo>
                    <a:pt x="983" y="310"/>
                    <a:pt x="1501" y="0"/>
                    <a:pt x="2074" y="0"/>
                  </a:cubicBezTo>
                  <a:lnTo>
                    <a:pt x="15034" y="0"/>
                  </a:lnTo>
                  <a:cubicBezTo>
                    <a:pt x="15606" y="0"/>
                    <a:pt x="16125" y="310"/>
                    <a:pt x="16500" y="811"/>
                  </a:cubicBezTo>
                  <a:cubicBezTo>
                    <a:pt x="16875" y="1311"/>
                    <a:pt x="17107" y="2003"/>
                    <a:pt x="17107" y="2767"/>
                  </a:cubicBezTo>
                  <a:lnTo>
                    <a:pt x="17107" y="4381"/>
                  </a:lnTo>
                  <a:lnTo>
                    <a:pt x="17107" y="8532"/>
                  </a:lnTo>
                  <a:lnTo>
                    <a:pt x="17107" y="12676"/>
                  </a:lnTo>
                  <a:cubicBezTo>
                    <a:pt x="17107" y="13441"/>
                    <a:pt x="16886" y="14134"/>
                    <a:pt x="16522" y="14637"/>
                  </a:cubicBezTo>
                  <a:cubicBezTo>
                    <a:pt x="16159" y="15139"/>
                    <a:pt x="15651" y="15450"/>
                    <a:pt x="15079" y="15450"/>
                  </a:cubicBezTo>
                  <a:lnTo>
                    <a:pt x="9158" y="15450"/>
                  </a:lnTo>
                  <a:lnTo>
                    <a:pt x="6912" y="15450"/>
                  </a:ln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66" name="Shape 34219">
              <a:extLst>
                <a:ext uri="{FF2B5EF4-FFF2-40B4-BE49-F238E27FC236}">
                  <a16:creationId xmlns:a16="http://schemas.microsoft.com/office/drawing/2014/main" xmlns="" id="{9B638064-1B05-4184-BB03-12606F035630}"/>
                </a:ext>
              </a:extLst>
            </p:cNvPr>
            <p:cNvSpPr/>
            <p:nvPr/>
          </p:nvSpPr>
          <p:spPr>
            <a:xfrm>
              <a:off x="11196245" y="10659511"/>
              <a:ext cx="389798" cy="479750"/>
            </a:xfrm>
            <a:custGeom>
              <a:avLst/>
              <a:gdLst/>
              <a:ahLst/>
              <a:cxnLst>
                <a:cxn ang="0">
                  <a:pos x="wd2" y="hd2"/>
                </a:cxn>
                <a:cxn ang="5400000">
                  <a:pos x="wd2" y="hd2"/>
                </a:cxn>
                <a:cxn ang="10800000">
                  <a:pos x="wd2" y="hd2"/>
                </a:cxn>
                <a:cxn ang="16200000">
                  <a:pos x="wd2" y="hd2"/>
                </a:cxn>
              </a:cxnLst>
              <a:rect l="0" t="0" r="r" b="b"/>
              <a:pathLst>
                <a:path w="21600" h="21600" extrusionOk="0">
                  <a:moveTo>
                    <a:pt x="831" y="0"/>
                  </a:moveTo>
                  <a:cubicBezTo>
                    <a:pt x="372" y="0"/>
                    <a:pt x="0" y="302"/>
                    <a:pt x="0" y="675"/>
                  </a:cubicBezTo>
                  <a:cubicBezTo>
                    <a:pt x="0" y="1048"/>
                    <a:pt x="372" y="1350"/>
                    <a:pt x="831" y="1350"/>
                  </a:cubicBezTo>
                  <a:lnTo>
                    <a:pt x="20769" y="1350"/>
                  </a:lnTo>
                  <a:cubicBezTo>
                    <a:pt x="21228" y="1350"/>
                    <a:pt x="21600" y="1048"/>
                    <a:pt x="21600" y="675"/>
                  </a:cubicBezTo>
                  <a:cubicBezTo>
                    <a:pt x="21600" y="302"/>
                    <a:pt x="21228" y="0"/>
                    <a:pt x="20769" y="0"/>
                  </a:cubicBezTo>
                  <a:lnTo>
                    <a:pt x="831" y="0"/>
                  </a:lnTo>
                  <a:close/>
                  <a:moveTo>
                    <a:pt x="831" y="2025"/>
                  </a:moveTo>
                  <a:lnTo>
                    <a:pt x="831" y="15525"/>
                  </a:lnTo>
                  <a:cubicBezTo>
                    <a:pt x="831" y="15525"/>
                    <a:pt x="20769" y="15525"/>
                    <a:pt x="20769" y="15525"/>
                  </a:cubicBezTo>
                  <a:lnTo>
                    <a:pt x="20769" y="2025"/>
                  </a:lnTo>
                  <a:lnTo>
                    <a:pt x="831" y="2025"/>
                  </a:lnTo>
                  <a:close/>
                  <a:moveTo>
                    <a:pt x="15785" y="4050"/>
                  </a:moveTo>
                  <a:lnTo>
                    <a:pt x="18277" y="4050"/>
                  </a:lnTo>
                  <a:cubicBezTo>
                    <a:pt x="18277" y="4050"/>
                    <a:pt x="18277" y="13500"/>
                    <a:pt x="18277" y="13500"/>
                  </a:cubicBezTo>
                  <a:lnTo>
                    <a:pt x="15785" y="13500"/>
                  </a:lnTo>
                  <a:lnTo>
                    <a:pt x="15785" y="4050"/>
                  </a:lnTo>
                  <a:close/>
                  <a:moveTo>
                    <a:pt x="7477" y="6750"/>
                  </a:moveTo>
                  <a:lnTo>
                    <a:pt x="9969" y="6750"/>
                  </a:lnTo>
                  <a:cubicBezTo>
                    <a:pt x="9969" y="6750"/>
                    <a:pt x="9969" y="13500"/>
                    <a:pt x="9969" y="13500"/>
                  </a:cubicBezTo>
                  <a:lnTo>
                    <a:pt x="7477" y="13500"/>
                  </a:lnTo>
                  <a:lnTo>
                    <a:pt x="7477" y="6750"/>
                  </a:lnTo>
                  <a:close/>
                  <a:moveTo>
                    <a:pt x="11631" y="8775"/>
                  </a:moveTo>
                  <a:lnTo>
                    <a:pt x="14123" y="8775"/>
                  </a:lnTo>
                  <a:cubicBezTo>
                    <a:pt x="14123" y="8775"/>
                    <a:pt x="14123" y="13500"/>
                    <a:pt x="14123" y="13500"/>
                  </a:cubicBezTo>
                  <a:lnTo>
                    <a:pt x="11631" y="13500"/>
                  </a:lnTo>
                  <a:lnTo>
                    <a:pt x="11631" y="8775"/>
                  </a:lnTo>
                  <a:close/>
                  <a:moveTo>
                    <a:pt x="3323" y="10800"/>
                  </a:moveTo>
                  <a:lnTo>
                    <a:pt x="5815" y="10800"/>
                  </a:lnTo>
                  <a:cubicBezTo>
                    <a:pt x="5815" y="10800"/>
                    <a:pt x="5815" y="13500"/>
                    <a:pt x="5815" y="13500"/>
                  </a:cubicBezTo>
                  <a:lnTo>
                    <a:pt x="3323" y="13500"/>
                  </a:lnTo>
                  <a:lnTo>
                    <a:pt x="3323" y="10800"/>
                  </a:lnTo>
                  <a:close/>
                  <a:moveTo>
                    <a:pt x="3323" y="16200"/>
                  </a:moveTo>
                  <a:lnTo>
                    <a:pt x="1662" y="21600"/>
                  </a:lnTo>
                  <a:lnTo>
                    <a:pt x="3323" y="21600"/>
                  </a:lnTo>
                  <a:lnTo>
                    <a:pt x="4985" y="16200"/>
                  </a:lnTo>
                  <a:cubicBezTo>
                    <a:pt x="4985" y="16200"/>
                    <a:pt x="3323" y="16200"/>
                    <a:pt x="3323" y="16200"/>
                  </a:cubicBezTo>
                  <a:close/>
                  <a:moveTo>
                    <a:pt x="9969" y="16200"/>
                  </a:moveTo>
                  <a:lnTo>
                    <a:pt x="9969" y="21600"/>
                  </a:lnTo>
                  <a:lnTo>
                    <a:pt x="11615" y="21600"/>
                  </a:lnTo>
                  <a:cubicBezTo>
                    <a:pt x="11615" y="21600"/>
                    <a:pt x="11631" y="16200"/>
                    <a:pt x="11631" y="16200"/>
                  </a:cubicBezTo>
                  <a:lnTo>
                    <a:pt x="9969" y="16200"/>
                  </a:lnTo>
                  <a:close/>
                  <a:moveTo>
                    <a:pt x="16615" y="16200"/>
                  </a:moveTo>
                  <a:lnTo>
                    <a:pt x="18277" y="21600"/>
                  </a:lnTo>
                  <a:lnTo>
                    <a:pt x="19938" y="21600"/>
                  </a:lnTo>
                  <a:cubicBezTo>
                    <a:pt x="19938" y="21600"/>
                    <a:pt x="18277" y="16200"/>
                    <a:pt x="18277" y="16200"/>
                  </a:cubicBezTo>
                  <a:lnTo>
                    <a:pt x="16615" y="1620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7" name="Shape 34220">
              <a:extLst>
                <a:ext uri="{FF2B5EF4-FFF2-40B4-BE49-F238E27FC236}">
                  <a16:creationId xmlns:a16="http://schemas.microsoft.com/office/drawing/2014/main" xmlns="" id="{1A2922C8-4E28-425D-8558-7EF1AA9AEF21}"/>
                </a:ext>
              </a:extLst>
            </p:cNvPr>
            <p:cNvSpPr/>
            <p:nvPr/>
          </p:nvSpPr>
          <p:spPr>
            <a:xfrm>
              <a:off x="12966575" y="6806559"/>
              <a:ext cx="589416" cy="778290"/>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68" name="Shape 34221">
              <a:extLst>
                <a:ext uri="{FF2B5EF4-FFF2-40B4-BE49-F238E27FC236}">
                  <a16:creationId xmlns:a16="http://schemas.microsoft.com/office/drawing/2014/main" xmlns="" id="{64561C0D-684A-44ED-AEC8-BB968EA71B2D}"/>
                </a:ext>
              </a:extLst>
            </p:cNvPr>
            <p:cNvSpPr/>
            <p:nvPr/>
          </p:nvSpPr>
          <p:spPr>
            <a:xfrm>
              <a:off x="11922329" y="9268053"/>
              <a:ext cx="476450" cy="629124"/>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69" name="Shape 34222">
              <a:extLst>
                <a:ext uri="{FF2B5EF4-FFF2-40B4-BE49-F238E27FC236}">
                  <a16:creationId xmlns:a16="http://schemas.microsoft.com/office/drawing/2014/main" xmlns="" id="{9C49DAF9-2982-4A17-9671-61AD3DD09A57}"/>
                </a:ext>
              </a:extLst>
            </p:cNvPr>
            <p:cNvSpPr/>
            <p:nvPr/>
          </p:nvSpPr>
          <p:spPr>
            <a:xfrm>
              <a:off x="11993787" y="10946019"/>
              <a:ext cx="447534" cy="447468"/>
            </a:xfrm>
            <a:custGeom>
              <a:avLst/>
              <a:gdLst/>
              <a:ahLst/>
              <a:cxnLst>
                <a:cxn ang="0">
                  <a:pos x="wd2" y="hd2"/>
                </a:cxn>
                <a:cxn ang="5400000">
                  <a:pos x="wd2" y="hd2"/>
                </a:cxn>
                <a:cxn ang="10800000">
                  <a:pos x="wd2" y="hd2"/>
                </a:cxn>
                <a:cxn ang="16200000">
                  <a:pos x="wd2" y="hd2"/>
                </a:cxn>
              </a:cxnLst>
              <a:rect l="0" t="0" r="r" b="b"/>
              <a:pathLst>
                <a:path w="21317" h="21317" extrusionOk="0">
                  <a:moveTo>
                    <a:pt x="7792" y="27"/>
                  </a:moveTo>
                  <a:cubicBezTo>
                    <a:pt x="7372" y="141"/>
                    <a:pt x="7122" y="573"/>
                    <a:pt x="7234" y="993"/>
                  </a:cubicBezTo>
                  <a:lnTo>
                    <a:pt x="7836" y="3244"/>
                  </a:lnTo>
                  <a:cubicBezTo>
                    <a:pt x="8357" y="3022"/>
                    <a:pt x="8864" y="2878"/>
                    <a:pt x="9346" y="2789"/>
                  </a:cubicBezTo>
                  <a:lnTo>
                    <a:pt x="8758" y="585"/>
                  </a:lnTo>
                  <a:cubicBezTo>
                    <a:pt x="8645" y="164"/>
                    <a:pt x="8213" y="-85"/>
                    <a:pt x="7792" y="27"/>
                  </a:cubicBezTo>
                  <a:close/>
                  <a:moveTo>
                    <a:pt x="13442" y="41"/>
                  </a:moveTo>
                  <a:cubicBezTo>
                    <a:pt x="13020" y="-71"/>
                    <a:pt x="12588" y="179"/>
                    <a:pt x="12475" y="600"/>
                  </a:cubicBezTo>
                  <a:lnTo>
                    <a:pt x="11888" y="2784"/>
                  </a:lnTo>
                  <a:cubicBezTo>
                    <a:pt x="12441" y="2878"/>
                    <a:pt x="12949" y="3027"/>
                    <a:pt x="13408" y="3203"/>
                  </a:cubicBezTo>
                  <a:lnTo>
                    <a:pt x="13998" y="1007"/>
                  </a:lnTo>
                  <a:cubicBezTo>
                    <a:pt x="14110" y="585"/>
                    <a:pt x="13862" y="154"/>
                    <a:pt x="13442" y="41"/>
                  </a:cubicBezTo>
                  <a:close/>
                  <a:moveTo>
                    <a:pt x="585" y="12411"/>
                  </a:moveTo>
                  <a:cubicBezTo>
                    <a:pt x="164" y="12524"/>
                    <a:pt x="-86" y="12956"/>
                    <a:pt x="27" y="13377"/>
                  </a:cubicBezTo>
                  <a:cubicBezTo>
                    <a:pt x="139" y="13798"/>
                    <a:pt x="571" y="14047"/>
                    <a:pt x="992" y="13934"/>
                  </a:cubicBezTo>
                  <a:lnTo>
                    <a:pt x="3181" y="13347"/>
                  </a:lnTo>
                  <a:cubicBezTo>
                    <a:pt x="3009" y="12885"/>
                    <a:pt x="2865" y="12376"/>
                    <a:pt x="2775" y="11823"/>
                  </a:cubicBezTo>
                  <a:cubicBezTo>
                    <a:pt x="2775" y="11823"/>
                    <a:pt x="585" y="12411"/>
                    <a:pt x="585" y="12411"/>
                  </a:cubicBezTo>
                  <a:close/>
                  <a:moveTo>
                    <a:pt x="1013" y="7169"/>
                  </a:moveTo>
                  <a:cubicBezTo>
                    <a:pt x="592" y="7056"/>
                    <a:pt x="160" y="7306"/>
                    <a:pt x="47" y="7727"/>
                  </a:cubicBezTo>
                  <a:cubicBezTo>
                    <a:pt x="-66" y="8148"/>
                    <a:pt x="184" y="8580"/>
                    <a:pt x="604" y="8692"/>
                  </a:cubicBezTo>
                  <a:lnTo>
                    <a:pt x="2805" y="9281"/>
                  </a:lnTo>
                  <a:cubicBezTo>
                    <a:pt x="2896" y="8799"/>
                    <a:pt x="3046" y="8293"/>
                    <a:pt x="3273" y="7773"/>
                  </a:cubicBezTo>
                  <a:cubicBezTo>
                    <a:pt x="3273" y="7773"/>
                    <a:pt x="1013" y="7169"/>
                    <a:pt x="1013" y="7169"/>
                  </a:cubicBezTo>
                  <a:close/>
                  <a:moveTo>
                    <a:pt x="2889" y="2841"/>
                  </a:moveTo>
                  <a:cubicBezTo>
                    <a:pt x="2581" y="3148"/>
                    <a:pt x="2580" y="3648"/>
                    <a:pt x="2888" y="3956"/>
                  </a:cubicBezTo>
                  <a:lnTo>
                    <a:pt x="4607" y="5675"/>
                  </a:lnTo>
                  <a:cubicBezTo>
                    <a:pt x="4732" y="5529"/>
                    <a:pt x="5572" y="4695"/>
                    <a:pt x="5727" y="4563"/>
                  </a:cubicBezTo>
                  <a:lnTo>
                    <a:pt x="4004" y="2840"/>
                  </a:lnTo>
                  <a:cubicBezTo>
                    <a:pt x="3696" y="2532"/>
                    <a:pt x="3197" y="2533"/>
                    <a:pt x="2889" y="2841"/>
                  </a:cubicBezTo>
                  <a:close/>
                  <a:moveTo>
                    <a:pt x="15285" y="5439"/>
                  </a:moveTo>
                  <a:cubicBezTo>
                    <a:pt x="13524" y="3930"/>
                    <a:pt x="9472" y="2164"/>
                    <a:pt x="5822" y="5814"/>
                  </a:cubicBezTo>
                  <a:cubicBezTo>
                    <a:pt x="5821" y="5815"/>
                    <a:pt x="5821" y="5815"/>
                    <a:pt x="5821" y="5816"/>
                  </a:cubicBezTo>
                  <a:cubicBezTo>
                    <a:pt x="5820" y="5816"/>
                    <a:pt x="5819" y="5817"/>
                    <a:pt x="5819" y="5817"/>
                  </a:cubicBezTo>
                  <a:cubicBezTo>
                    <a:pt x="5819" y="5818"/>
                    <a:pt x="5818" y="5818"/>
                    <a:pt x="5818" y="5819"/>
                  </a:cubicBezTo>
                  <a:cubicBezTo>
                    <a:pt x="5817" y="5819"/>
                    <a:pt x="5817" y="5820"/>
                    <a:pt x="5816" y="5820"/>
                  </a:cubicBezTo>
                  <a:cubicBezTo>
                    <a:pt x="2166" y="9471"/>
                    <a:pt x="3932" y="13524"/>
                    <a:pt x="5440" y="15285"/>
                  </a:cubicBezTo>
                  <a:cubicBezTo>
                    <a:pt x="6807" y="16868"/>
                    <a:pt x="9202" y="17222"/>
                    <a:pt x="9535" y="17322"/>
                  </a:cubicBezTo>
                  <a:cubicBezTo>
                    <a:pt x="10076" y="17484"/>
                    <a:pt x="12612" y="17632"/>
                    <a:pt x="13467" y="18402"/>
                  </a:cubicBezTo>
                  <a:cubicBezTo>
                    <a:pt x="14644" y="19461"/>
                    <a:pt x="14810" y="19354"/>
                    <a:pt x="15487" y="18942"/>
                  </a:cubicBezTo>
                  <a:cubicBezTo>
                    <a:pt x="16178" y="18522"/>
                    <a:pt x="18522" y="16178"/>
                    <a:pt x="18942" y="15487"/>
                  </a:cubicBezTo>
                  <a:cubicBezTo>
                    <a:pt x="19354" y="14810"/>
                    <a:pt x="19461" y="14644"/>
                    <a:pt x="18401" y="13467"/>
                  </a:cubicBezTo>
                  <a:cubicBezTo>
                    <a:pt x="17632" y="12612"/>
                    <a:pt x="17484" y="10075"/>
                    <a:pt x="17321" y="9534"/>
                  </a:cubicBezTo>
                  <a:cubicBezTo>
                    <a:pt x="17222" y="9201"/>
                    <a:pt x="16868" y="6805"/>
                    <a:pt x="15285" y="5439"/>
                  </a:cubicBezTo>
                  <a:close/>
                  <a:moveTo>
                    <a:pt x="20706" y="16780"/>
                  </a:moveTo>
                  <a:cubicBezTo>
                    <a:pt x="20530" y="16603"/>
                    <a:pt x="20243" y="16603"/>
                    <a:pt x="20066" y="16780"/>
                  </a:cubicBezTo>
                  <a:lnTo>
                    <a:pt x="16780" y="20067"/>
                  </a:lnTo>
                  <a:cubicBezTo>
                    <a:pt x="16603" y="20244"/>
                    <a:pt x="16603" y="20531"/>
                    <a:pt x="16780" y="20707"/>
                  </a:cubicBezTo>
                  <a:lnTo>
                    <a:pt x="16780" y="20707"/>
                  </a:lnTo>
                  <a:cubicBezTo>
                    <a:pt x="16956" y="20884"/>
                    <a:pt x="17243" y="20884"/>
                    <a:pt x="17419" y="20707"/>
                  </a:cubicBezTo>
                  <a:lnTo>
                    <a:pt x="20706" y="17420"/>
                  </a:lnTo>
                  <a:cubicBezTo>
                    <a:pt x="20883" y="17243"/>
                    <a:pt x="20883" y="16956"/>
                    <a:pt x="20706" y="16780"/>
                  </a:cubicBezTo>
                  <a:cubicBezTo>
                    <a:pt x="20706" y="16780"/>
                    <a:pt x="20706" y="16780"/>
                    <a:pt x="20706" y="16780"/>
                  </a:cubicBezTo>
                  <a:close/>
                  <a:moveTo>
                    <a:pt x="19833" y="15906"/>
                  </a:moveTo>
                  <a:cubicBezTo>
                    <a:pt x="19656" y="15729"/>
                    <a:pt x="19370" y="15730"/>
                    <a:pt x="19193" y="15906"/>
                  </a:cubicBezTo>
                  <a:lnTo>
                    <a:pt x="15906" y="19194"/>
                  </a:lnTo>
                  <a:cubicBezTo>
                    <a:pt x="15729" y="19370"/>
                    <a:pt x="15729" y="19657"/>
                    <a:pt x="15906" y="19833"/>
                  </a:cubicBezTo>
                  <a:lnTo>
                    <a:pt x="15906" y="19833"/>
                  </a:lnTo>
                  <a:cubicBezTo>
                    <a:pt x="16082" y="20010"/>
                    <a:pt x="16369" y="20010"/>
                    <a:pt x="16546" y="19833"/>
                  </a:cubicBezTo>
                  <a:lnTo>
                    <a:pt x="19833" y="16546"/>
                  </a:lnTo>
                  <a:cubicBezTo>
                    <a:pt x="20009" y="16369"/>
                    <a:pt x="20009" y="16083"/>
                    <a:pt x="19833" y="15906"/>
                  </a:cubicBezTo>
                  <a:cubicBezTo>
                    <a:pt x="19833" y="15906"/>
                    <a:pt x="19833" y="15906"/>
                    <a:pt x="19833" y="15906"/>
                  </a:cubicBezTo>
                  <a:close/>
                  <a:moveTo>
                    <a:pt x="17867" y="20727"/>
                  </a:moveTo>
                  <a:lnTo>
                    <a:pt x="20726" y="17867"/>
                  </a:lnTo>
                  <a:cubicBezTo>
                    <a:pt x="21514" y="18656"/>
                    <a:pt x="21513" y="19935"/>
                    <a:pt x="20724" y="20724"/>
                  </a:cubicBezTo>
                  <a:cubicBezTo>
                    <a:pt x="19934" y="21514"/>
                    <a:pt x="18655" y="21515"/>
                    <a:pt x="17867" y="20727"/>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70" name="Shape 34223">
              <a:extLst>
                <a:ext uri="{FF2B5EF4-FFF2-40B4-BE49-F238E27FC236}">
                  <a16:creationId xmlns:a16="http://schemas.microsoft.com/office/drawing/2014/main" xmlns="" id="{88078019-856B-4631-8991-BE4E07FB4945}"/>
                </a:ext>
              </a:extLst>
            </p:cNvPr>
            <p:cNvSpPr/>
            <p:nvPr/>
          </p:nvSpPr>
          <p:spPr>
            <a:xfrm>
              <a:off x="11828592" y="12064076"/>
              <a:ext cx="446404" cy="410140"/>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1" name="Shape 34224">
              <a:extLst>
                <a:ext uri="{FF2B5EF4-FFF2-40B4-BE49-F238E27FC236}">
                  <a16:creationId xmlns:a16="http://schemas.microsoft.com/office/drawing/2014/main" xmlns="" id="{010D9E70-549A-4C95-B0B9-56AC0033B585}"/>
                </a:ext>
              </a:extLst>
            </p:cNvPr>
            <p:cNvSpPr/>
            <p:nvPr/>
          </p:nvSpPr>
          <p:spPr>
            <a:xfrm>
              <a:off x="11467012" y="10972393"/>
              <a:ext cx="358632" cy="692850"/>
            </a:xfrm>
            <a:custGeom>
              <a:avLst/>
              <a:gdLst/>
              <a:ahLst/>
              <a:cxnLst>
                <a:cxn ang="0">
                  <a:pos x="wd2" y="hd2"/>
                </a:cxn>
                <a:cxn ang="5400000">
                  <a:pos x="wd2" y="hd2"/>
                </a:cxn>
                <a:cxn ang="10800000">
                  <a:pos x="wd2" y="hd2"/>
                </a:cxn>
                <a:cxn ang="16200000">
                  <a:pos x="wd2" y="hd2"/>
                </a:cxn>
              </a:cxnLst>
              <a:rect l="0" t="0" r="r" b="b"/>
              <a:pathLst>
                <a:path w="21436" h="21532" extrusionOk="0">
                  <a:moveTo>
                    <a:pt x="17698" y="0"/>
                  </a:moveTo>
                  <a:lnTo>
                    <a:pt x="16138" y="1685"/>
                  </a:lnTo>
                  <a:cubicBezTo>
                    <a:pt x="16052" y="1663"/>
                    <a:pt x="15626" y="1553"/>
                    <a:pt x="15626" y="1553"/>
                  </a:cubicBezTo>
                  <a:lnTo>
                    <a:pt x="14403" y="2878"/>
                  </a:lnTo>
                  <a:lnTo>
                    <a:pt x="14914" y="3010"/>
                  </a:lnTo>
                  <a:lnTo>
                    <a:pt x="14546" y="3408"/>
                  </a:lnTo>
                  <a:lnTo>
                    <a:pt x="2184" y="16751"/>
                  </a:lnTo>
                  <a:cubicBezTo>
                    <a:pt x="1744" y="17225"/>
                    <a:pt x="202" y="19746"/>
                    <a:pt x="516" y="20547"/>
                  </a:cubicBezTo>
                  <a:cubicBezTo>
                    <a:pt x="560" y="20662"/>
                    <a:pt x="644" y="20742"/>
                    <a:pt x="773" y="20775"/>
                  </a:cubicBezTo>
                  <a:cubicBezTo>
                    <a:pt x="1807" y="21040"/>
                    <a:pt x="5426" y="18252"/>
                    <a:pt x="5928" y="17710"/>
                  </a:cubicBezTo>
                  <a:lnTo>
                    <a:pt x="18283" y="4367"/>
                  </a:lnTo>
                  <a:lnTo>
                    <a:pt x="18652" y="3969"/>
                  </a:lnTo>
                  <a:lnTo>
                    <a:pt x="19186" y="4106"/>
                  </a:lnTo>
                  <a:lnTo>
                    <a:pt x="14380" y="9291"/>
                  </a:lnTo>
                  <a:lnTo>
                    <a:pt x="15147" y="9488"/>
                  </a:lnTo>
                  <a:lnTo>
                    <a:pt x="21176" y="2979"/>
                  </a:lnTo>
                  <a:cubicBezTo>
                    <a:pt x="21176" y="2979"/>
                    <a:pt x="20341" y="2767"/>
                    <a:pt x="19876" y="2647"/>
                  </a:cubicBezTo>
                  <a:lnTo>
                    <a:pt x="21436" y="963"/>
                  </a:lnTo>
                  <a:cubicBezTo>
                    <a:pt x="21436" y="963"/>
                    <a:pt x="17698" y="0"/>
                    <a:pt x="17698" y="0"/>
                  </a:cubicBezTo>
                  <a:close/>
                  <a:moveTo>
                    <a:pt x="516" y="20547"/>
                  </a:moveTo>
                  <a:cubicBezTo>
                    <a:pt x="504" y="20509"/>
                    <a:pt x="483" y="20481"/>
                    <a:pt x="479" y="20436"/>
                  </a:cubicBezTo>
                  <a:lnTo>
                    <a:pt x="223" y="20708"/>
                  </a:lnTo>
                  <a:cubicBezTo>
                    <a:pt x="120" y="20820"/>
                    <a:pt x="-164" y="21449"/>
                    <a:pt x="129" y="21525"/>
                  </a:cubicBezTo>
                  <a:cubicBezTo>
                    <a:pt x="423" y="21600"/>
                    <a:pt x="1188" y="21095"/>
                    <a:pt x="1291" y="20984"/>
                  </a:cubicBezTo>
                  <a:lnTo>
                    <a:pt x="1546" y="20707"/>
                  </a:lnTo>
                  <a:cubicBezTo>
                    <a:pt x="1228" y="20825"/>
                    <a:pt x="959" y="20878"/>
                    <a:pt x="774" y="20830"/>
                  </a:cubicBezTo>
                  <a:cubicBezTo>
                    <a:pt x="630" y="20793"/>
                    <a:pt x="555" y="20685"/>
                    <a:pt x="516" y="20547"/>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2" name="Shape 34225">
              <a:extLst>
                <a:ext uri="{FF2B5EF4-FFF2-40B4-BE49-F238E27FC236}">
                  <a16:creationId xmlns:a16="http://schemas.microsoft.com/office/drawing/2014/main" xmlns="" id="{775DBFF1-C290-45E9-BBFC-F16599B2015E}"/>
                </a:ext>
              </a:extLst>
            </p:cNvPr>
            <p:cNvSpPr/>
            <p:nvPr/>
          </p:nvSpPr>
          <p:spPr>
            <a:xfrm>
              <a:off x="12788908" y="11202698"/>
              <a:ext cx="425116" cy="118066"/>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3" name="Shape 34226">
              <a:extLst>
                <a:ext uri="{FF2B5EF4-FFF2-40B4-BE49-F238E27FC236}">
                  <a16:creationId xmlns:a16="http://schemas.microsoft.com/office/drawing/2014/main" xmlns="" id="{2EBDB4B6-ED98-4A50-845C-F532182CE9C6}"/>
                </a:ext>
              </a:extLst>
            </p:cNvPr>
            <p:cNvSpPr/>
            <p:nvPr/>
          </p:nvSpPr>
          <p:spPr>
            <a:xfrm>
              <a:off x="12691600" y="7661988"/>
              <a:ext cx="463732" cy="545588"/>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4" name="Shape 34227">
              <a:extLst>
                <a:ext uri="{FF2B5EF4-FFF2-40B4-BE49-F238E27FC236}">
                  <a16:creationId xmlns:a16="http://schemas.microsoft.com/office/drawing/2014/main" xmlns="" id="{62CD8CE1-BFBF-4664-A303-D00845D9B2A2}"/>
                </a:ext>
              </a:extLst>
            </p:cNvPr>
            <p:cNvSpPr/>
            <p:nvPr/>
          </p:nvSpPr>
          <p:spPr>
            <a:xfrm>
              <a:off x="11861838" y="8796062"/>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75" name="Shape 34228">
              <a:extLst>
                <a:ext uri="{FF2B5EF4-FFF2-40B4-BE49-F238E27FC236}">
                  <a16:creationId xmlns:a16="http://schemas.microsoft.com/office/drawing/2014/main" xmlns="" id="{FB44C638-5210-46DD-A5BA-D7D10F466A4F}"/>
                </a:ext>
              </a:extLst>
            </p:cNvPr>
            <p:cNvSpPr/>
            <p:nvPr/>
          </p:nvSpPr>
          <p:spPr>
            <a:xfrm>
              <a:off x="9057539" y="5652197"/>
              <a:ext cx="565072" cy="648758"/>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6" name="Shape 34229">
              <a:extLst>
                <a:ext uri="{FF2B5EF4-FFF2-40B4-BE49-F238E27FC236}">
                  <a16:creationId xmlns:a16="http://schemas.microsoft.com/office/drawing/2014/main" xmlns="" id="{A5AE574F-09B7-456A-9D85-D2708FFCCC57}"/>
                </a:ext>
              </a:extLst>
            </p:cNvPr>
            <p:cNvSpPr/>
            <p:nvPr/>
          </p:nvSpPr>
          <p:spPr>
            <a:xfrm>
              <a:off x="14430703" y="5653180"/>
              <a:ext cx="678286" cy="60967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7" name="Shape 34230">
              <a:extLst>
                <a:ext uri="{FF2B5EF4-FFF2-40B4-BE49-F238E27FC236}">
                  <a16:creationId xmlns:a16="http://schemas.microsoft.com/office/drawing/2014/main" xmlns="" id="{DBB727D4-C6FC-4C59-8EFE-26AF52112D0C}"/>
                </a:ext>
              </a:extLst>
            </p:cNvPr>
            <p:cNvSpPr/>
            <p:nvPr/>
          </p:nvSpPr>
          <p:spPr>
            <a:xfrm>
              <a:off x="14217720" y="6775957"/>
              <a:ext cx="333440" cy="66687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8" name="Shape 34231">
              <a:extLst>
                <a:ext uri="{FF2B5EF4-FFF2-40B4-BE49-F238E27FC236}">
                  <a16:creationId xmlns:a16="http://schemas.microsoft.com/office/drawing/2014/main" xmlns="" id="{D4AC2323-C4B8-4B8E-BE82-973A21916247}"/>
                </a:ext>
              </a:extLst>
            </p:cNvPr>
            <p:cNvSpPr/>
            <p:nvPr/>
          </p:nvSpPr>
          <p:spPr>
            <a:xfrm>
              <a:off x="12484545" y="3228311"/>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9" name="Shape 34232">
              <a:extLst>
                <a:ext uri="{FF2B5EF4-FFF2-40B4-BE49-F238E27FC236}">
                  <a16:creationId xmlns:a16="http://schemas.microsoft.com/office/drawing/2014/main" xmlns="" id="{C4CF1790-3CFF-4974-9976-2B2ADFC2CC42}"/>
                </a:ext>
              </a:extLst>
            </p:cNvPr>
            <p:cNvSpPr/>
            <p:nvPr/>
          </p:nvSpPr>
          <p:spPr>
            <a:xfrm>
              <a:off x="11791096" y="11232556"/>
              <a:ext cx="130464" cy="279620"/>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0" name="Shape 34233">
              <a:extLst>
                <a:ext uri="{FF2B5EF4-FFF2-40B4-BE49-F238E27FC236}">
                  <a16:creationId xmlns:a16="http://schemas.microsoft.com/office/drawing/2014/main" xmlns="" id="{54E4DBA8-24CF-40F8-8D1E-F966F569ADDB}"/>
                </a:ext>
              </a:extLst>
            </p:cNvPr>
            <p:cNvSpPr/>
            <p:nvPr/>
          </p:nvSpPr>
          <p:spPr>
            <a:xfrm>
              <a:off x="11084739" y="4570184"/>
              <a:ext cx="304442" cy="392838"/>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1" name="Shape 34234">
              <a:extLst>
                <a:ext uri="{FF2B5EF4-FFF2-40B4-BE49-F238E27FC236}">
                  <a16:creationId xmlns:a16="http://schemas.microsoft.com/office/drawing/2014/main" xmlns="" id="{FF4FB81F-078D-43BC-A44D-E785668DE194}"/>
                </a:ext>
              </a:extLst>
            </p:cNvPr>
            <p:cNvSpPr/>
            <p:nvPr/>
          </p:nvSpPr>
          <p:spPr>
            <a:xfrm>
              <a:off x="10710090" y="4258444"/>
              <a:ext cx="419088" cy="39283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2" name="Shape 34235">
              <a:extLst>
                <a:ext uri="{FF2B5EF4-FFF2-40B4-BE49-F238E27FC236}">
                  <a16:creationId xmlns:a16="http://schemas.microsoft.com/office/drawing/2014/main" xmlns="" id="{4DC3933C-6C6B-4108-A796-4E5040A972CF}"/>
                </a:ext>
              </a:extLst>
            </p:cNvPr>
            <p:cNvSpPr/>
            <p:nvPr/>
          </p:nvSpPr>
          <p:spPr>
            <a:xfrm>
              <a:off x="9790862" y="4363012"/>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3" name="Shape 34236">
              <a:extLst>
                <a:ext uri="{FF2B5EF4-FFF2-40B4-BE49-F238E27FC236}">
                  <a16:creationId xmlns:a16="http://schemas.microsoft.com/office/drawing/2014/main" xmlns="" id="{3235EBB5-7AAE-48D8-A114-E87DF2A26470}"/>
                </a:ext>
              </a:extLst>
            </p:cNvPr>
            <p:cNvSpPr/>
            <p:nvPr/>
          </p:nvSpPr>
          <p:spPr>
            <a:xfrm>
              <a:off x="12210021" y="7840631"/>
              <a:ext cx="346528" cy="281582"/>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4" name="Shape 34237">
              <a:extLst>
                <a:ext uri="{FF2B5EF4-FFF2-40B4-BE49-F238E27FC236}">
                  <a16:creationId xmlns:a16="http://schemas.microsoft.com/office/drawing/2014/main" xmlns="" id="{27C3E58C-A485-42BE-9A31-C1B45A5B6D17}"/>
                </a:ext>
              </a:extLst>
            </p:cNvPr>
            <p:cNvSpPr/>
            <p:nvPr/>
          </p:nvSpPr>
          <p:spPr>
            <a:xfrm>
              <a:off x="11135547" y="921478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5" name="Shape 34238">
              <a:extLst>
                <a:ext uri="{FF2B5EF4-FFF2-40B4-BE49-F238E27FC236}">
                  <a16:creationId xmlns:a16="http://schemas.microsoft.com/office/drawing/2014/main" xmlns="" id="{D978DF80-0E1D-4DEE-BC91-234D4E5FD0AE}"/>
                </a:ext>
              </a:extLst>
            </p:cNvPr>
            <p:cNvSpPr/>
            <p:nvPr/>
          </p:nvSpPr>
          <p:spPr>
            <a:xfrm>
              <a:off x="13971261" y="772106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6" name="Shape 34239">
              <a:extLst>
                <a:ext uri="{FF2B5EF4-FFF2-40B4-BE49-F238E27FC236}">
                  <a16:creationId xmlns:a16="http://schemas.microsoft.com/office/drawing/2014/main" xmlns="" id="{4490EC57-EA75-4060-9A01-7A7C7FBCAE91}"/>
                </a:ext>
              </a:extLst>
            </p:cNvPr>
            <p:cNvSpPr/>
            <p:nvPr/>
          </p:nvSpPr>
          <p:spPr>
            <a:xfrm>
              <a:off x="13086555" y="5888971"/>
              <a:ext cx="304442" cy="392840"/>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7" name="Shape 34240">
              <a:extLst>
                <a:ext uri="{FF2B5EF4-FFF2-40B4-BE49-F238E27FC236}">
                  <a16:creationId xmlns:a16="http://schemas.microsoft.com/office/drawing/2014/main" xmlns="" id="{9DC20FCC-F862-4D00-AEFA-0913CF555F71}"/>
                </a:ext>
              </a:extLst>
            </p:cNvPr>
            <p:cNvSpPr/>
            <p:nvPr/>
          </p:nvSpPr>
          <p:spPr>
            <a:xfrm>
              <a:off x="12718729" y="8725244"/>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8" name="Shape 34241">
              <a:extLst>
                <a:ext uri="{FF2B5EF4-FFF2-40B4-BE49-F238E27FC236}">
                  <a16:creationId xmlns:a16="http://schemas.microsoft.com/office/drawing/2014/main" xmlns="" id="{127F6D66-7549-4ECE-854B-6EA720BF2A3E}"/>
                </a:ext>
              </a:extLst>
            </p:cNvPr>
            <p:cNvSpPr/>
            <p:nvPr/>
          </p:nvSpPr>
          <p:spPr>
            <a:xfrm>
              <a:off x="11342014" y="7513407"/>
              <a:ext cx="272208" cy="366146"/>
            </a:xfrm>
            <a:custGeom>
              <a:avLst/>
              <a:gdLst/>
              <a:ahLst/>
              <a:cxnLst>
                <a:cxn ang="0">
                  <a:pos x="wd2" y="hd2"/>
                </a:cxn>
                <a:cxn ang="5400000">
                  <a:pos x="wd2" y="hd2"/>
                </a:cxn>
                <a:cxn ang="10800000">
                  <a:pos x="wd2" y="hd2"/>
                </a:cxn>
                <a:cxn ang="16200000">
                  <a:pos x="wd2" y="hd2"/>
                </a:cxn>
              </a:cxnLst>
              <a:rect l="0" t="0" r="r" b="b"/>
              <a:pathLst>
                <a:path w="19711" h="20821" extrusionOk="0">
                  <a:moveTo>
                    <a:pt x="12499" y="13303"/>
                  </a:moveTo>
                  <a:cubicBezTo>
                    <a:pt x="13474" y="15282"/>
                    <a:pt x="14406" y="17194"/>
                    <a:pt x="14461" y="19063"/>
                  </a:cubicBezTo>
                  <a:cubicBezTo>
                    <a:pt x="14479" y="19633"/>
                    <a:pt x="14582" y="20311"/>
                    <a:pt x="14210" y="20821"/>
                  </a:cubicBezTo>
                  <a:cubicBezTo>
                    <a:pt x="10525" y="17927"/>
                    <a:pt x="9838" y="14212"/>
                    <a:pt x="8115" y="11051"/>
                  </a:cubicBezTo>
                  <a:cubicBezTo>
                    <a:pt x="6053" y="10122"/>
                    <a:pt x="4570" y="7480"/>
                    <a:pt x="6196" y="6231"/>
                  </a:cubicBezTo>
                  <a:cubicBezTo>
                    <a:pt x="8553" y="4419"/>
                    <a:pt x="10035" y="7345"/>
                    <a:pt x="10598" y="8773"/>
                  </a:cubicBezTo>
                  <a:cubicBezTo>
                    <a:pt x="10906" y="9555"/>
                    <a:pt x="10989" y="10416"/>
                    <a:pt x="11671" y="11094"/>
                  </a:cubicBezTo>
                  <a:cubicBezTo>
                    <a:pt x="13112" y="12518"/>
                    <a:pt x="15601" y="11340"/>
                    <a:pt x="16169" y="9915"/>
                  </a:cubicBezTo>
                  <a:cubicBezTo>
                    <a:pt x="16983" y="7871"/>
                    <a:pt x="15656" y="5461"/>
                    <a:pt x="13976" y="3794"/>
                  </a:cubicBezTo>
                  <a:cubicBezTo>
                    <a:pt x="11415" y="1258"/>
                    <a:pt x="6416" y="1969"/>
                    <a:pt x="3932" y="4842"/>
                  </a:cubicBezTo>
                  <a:cubicBezTo>
                    <a:pt x="2652" y="6323"/>
                    <a:pt x="2147" y="8434"/>
                    <a:pt x="3515" y="10418"/>
                  </a:cubicBezTo>
                  <a:cubicBezTo>
                    <a:pt x="4236" y="11464"/>
                    <a:pt x="5170" y="12108"/>
                    <a:pt x="6136" y="12400"/>
                  </a:cubicBezTo>
                  <a:cubicBezTo>
                    <a:pt x="6282" y="12445"/>
                    <a:pt x="6666" y="12458"/>
                    <a:pt x="6895" y="12661"/>
                  </a:cubicBezTo>
                  <a:cubicBezTo>
                    <a:pt x="7361" y="13074"/>
                    <a:pt x="7439" y="13745"/>
                    <a:pt x="7417" y="14249"/>
                  </a:cubicBezTo>
                  <a:cubicBezTo>
                    <a:pt x="5334" y="14777"/>
                    <a:pt x="3377" y="14023"/>
                    <a:pt x="1894" y="12542"/>
                  </a:cubicBezTo>
                  <a:cubicBezTo>
                    <a:pt x="-1478" y="9170"/>
                    <a:pt x="-94" y="4513"/>
                    <a:pt x="4049" y="1953"/>
                  </a:cubicBezTo>
                  <a:cubicBezTo>
                    <a:pt x="8469" y="-779"/>
                    <a:pt x="13971" y="-622"/>
                    <a:pt x="16956" y="2276"/>
                  </a:cubicBezTo>
                  <a:cubicBezTo>
                    <a:pt x="19176" y="4430"/>
                    <a:pt x="20122" y="7281"/>
                    <a:pt x="19546" y="9389"/>
                  </a:cubicBezTo>
                  <a:cubicBezTo>
                    <a:pt x="19112" y="10973"/>
                    <a:pt x="17273" y="13272"/>
                    <a:pt x="14367" y="13517"/>
                  </a:cubicBezTo>
                  <a:cubicBezTo>
                    <a:pt x="13720" y="13571"/>
                    <a:pt x="13303" y="13441"/>
                    <a:pt x="12499" y="133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9" name="Shape 34242">
              <a:extLst>
                <a:ext uri="{FF2B5EF4-FFF2-40B4-BE49-F238E27FC236}">
                  <a16:creationId xmlns:a16="http://schemas.microsoft.com/office/drawing/2014/main" xmlns="" id="{FDA324B0-1AD7-4497-997C-D67D01239816}"/>
                </a:ext>
              </a:extLst>
            </p:cNvPr>
            <p:cNvSpPr/>
            <p:nvPr/>
          </p:nvSpPr>
          <p:spPr>
            <a:xfrm>
              <a:off x="14349166" y="3565132"/>
              <a:ext cx="272152" cy="351174"/>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0" name="Shape 34243">
              <a:extLst>
                <a:ext uri="{FF2B5EF4-FFF2-40B4-BE49-F238E27FC236}">
                  <a16:creationId xmlns:a16="http://schemas.microsoft.com/office/drawing/2014/main" xmlns="" id="{0DD9BDB9-2B03-48B5-8EF7-832BB00F2E9C}"/>
                </a:ext>
              </a:extLst>
            </p:cNvPr>
            <p:cNvSpPr/>
            <p:nvPr/>
          </p:nvSpPr>
          <p:spPr>
            <a:xfrm>
              <a:off x="10163109" y="5879849"/>
              <a:ext cx="373972" cy="35054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1" name="Shape 34244">
              <a:extLst>
                <a:ext uri="{FF2B5EF4-FFF2-40B4-BE49-F238E27FC236}">
                  <a16:creationId xmlns:a16="http://schemas.microsoft.com/office/drawing/2014/main" xmlns="" id="{A61E7B67-584B-4A2D-81E1-31885464A761}"/>
                </a:ext>
              </a:extLst>
            </p:cNvPr>
            <p:cNvSpPr/>
            <p:nvPr/>
          </p:nvSpPr>
          <p:spPr>
            <a:xfrm>
              <a:off x="14467934" y="6264695"/>
              <a:ext cx="347528" cy="3257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2" name="Shape 34245">
              <a:extLst>
                <a:ext uri="{FF2B5EF4-FFF2-40B4-BE49-F238E27FC236}">
                  <a16:creationId xmlns:a16="http://schemas.microsoft.com/office/drawing/2014/main" xmlns="" id="{A3BA6BD5-DA1F-41AC-9799-E186BC1BD3FA}"/>
                </a:ext>
              </a:extLst>
            </p:cNvPr>
            <p:cNvSpPr/>
            <p:nvPr/>
          </p:nvSpPr>
          <p:spPr>
            <a:xfrm>
              <a:off x="12353445" y="9604415"/>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3" name="Shape 34246">
              <a:extLst>
                <a:ext uri="{FF2B5EF4-FFF2-40B4-BE49-F238E27FC236}">
                  <a16:creationId xmlns:a16="http://schemas.microsoft.com/office/drawing/2014/main" xmlns="" id="{943B073B-CF78-47C7-8177-B604F17F1B01}"/>
                </a:ext>
              </a:extLst>
            </p:cNvPr>
            <p:cNvSpPr/>
            <p:nvPr/>
          </p:nvSpPr>
          <p:spPr>
            <a:xfrm>
              <a:off x="11817349" y="7826120"/>
              <a:ext cx="266022"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4" name="Shape 34247">
              <a:extLst>
                <a:ext uri="{FF2B5EF4-FFF2-40B4-BE49-F238E27FC236}">
                  <a16:creationId xmlns:a16="http://schemas.microsoft.com/office/drawing/2014/main" xmlns="" id="{0B2EFFA9-2EA3-466B-B846-8BE57490F876}"/>
                </a:ext>
              </a:extLst>
            </p:cNvPr>
            <p:cNvSpPr/>
            <p:nvPr/>
          </p:nvSpPr>
          <p:spPr>
            <a:xfrm>
              <a:off x="10728159" y="11858687"/>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95" name="Shape 34248">
              <a:extLst>
                <a:ext uri="{FF2B5EF4-FFF2-40B4-BE49-F238E27FC236}">
                  <a16:creationId xmlns:a16="http://schemas.microsoft.com/office/drawing/2014/main" xmlns="" id="{9BA16AC0-C8B5-4D11-9D61-26275AE15410}"/>
                </a:ext>
              </a:extLst>
            </p:cNvPr>
            <p:cNvSpPr/>
            <p:nvPr/>
          </p:nvSpPr>
          <p:spPr>
            <a:xfrm>
              <a:off x="11187068" y="11262359"/>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6" name="Shape 34249">
              <a:extLst>
                <a:ext uri="{FF2B5EF4-FFF2-40B4-BE49-F238E27FC236}">
                  <a16:creationId xmlns:a16="http://schemas.microsoft.com/office/drawing/2014/main" xmlns="" id="{7D01EEEC-9B58-49FD-BD20-666F7056297E}"/>
                </a:ext>
              </a:extLst>
            </p:cNvPr>
            <p:cNvSpPr/>
            <p:nvPr/>
          </p:nvSpPr>
          <p:spPr>
            <a:xfrm>
              <a:off x="11097651" y="11556529"/>
              <a:ext cx="363722" cy="489364"/>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7" name="Shape 34250">
              <a:extLst>
                <a:ext uri="{FF2B5EF4-FFF2-40B4-BE49-F238E27FC236}">
                  <a16:creationId xmlns:a16="http://schemas.microsoft.com/office/drawing/2014/main" xmlns="" id="{8DFF47AA-403F-49CA-8BAF-D1936C379BC9}"/>
                </a:ext>
              </a:extLst>
            </p:cNvPr>
            <p:cNvSpPr/>
            <p:nvPr/>
          </p:nvSpPr>
          <p:spPr>
            <a:xfrm>
              <a:off x="11475026" y="12061751"/>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8" name="Shape 34251">
              <a:extLst>
                <a:ext uri="{FF2B5EF4-FFF2-40B4-BE49-F238E27FC236}">
                  <a16:creationId xmlns:a16="http://schemas.microsoft.com/office/drawing/2014/main" xmlns="" id="{1D69E9D1-EE27-4623-9553-502CA96B973E}"/>
                </a:ext>
              </a:extLst>
            </p:cNvPr>
            <p:cNvSpPr/>
            <p:nvPr/>
          </p:nvSpPr>
          <p:spPr>
            <a:xfrm>
              <a:off x="11001064" y="12147982"/>
              <a:ext cx="241994" cy="2796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9" name="Shape 34252">
              <a:extLst>
                <a:ext uri="{FF2B5EF4-FFF2-40B4-BE49-F238E27FC236}">
                  <a16:creationId xmlns:a16="http://schemas.microsoft.com/office/drawing/2014/main" xmlns="" id="{503C5D0B-EAFD-4574-9E5B-6E6961DF0B81}"/>
                </a:ext>
              </a:extLst>
            </p:cNvPr>
            <p:cNvSpPr/>
            <p:nvPr/>
          </p:nvSpPr>
          <p:spPr>
            <a:xfrm>
              <a:off x="11499317" y="12714275"/>
              <a:ext cx="353634" cy="243124"/>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20097" tIns="20097" rIns="20097" bIns="20097" numCol="1" anchor="b">
              <a:noAutofit/>
            </a:bodyPr>
            <a:lstStyle/>
            <a:p>
              <a:endParaRPr lang="en-GB" sz="1899" dirty="0">
                <a:latin typeface="Lato Light" panose="020F0502020204030203" pitchFamily="34" charset="0"/>
              </a:endParaRPr>
            </a:p>
          </p:txBody>
        </p:sp>
        <p:sp>
          <p:nvSpPr>
            <p:cNvPr id="100" name="Shape 34253">
              <a:extLst>
                <a:ext uri="{FF2B5EF4-FFF2-40B4-BE49-F238E27FC236}">
                  <a16:creationId xmlns:a16="http://schemas.microsoft.com/office/drawing/2014/main" xmlns="" id="{6BD9D872-C1E2-497D-B5FA-F73488E65123}"/>
                </a:ext>
              </a:extLst>
            </p:cNvPr>
            <p:cNvSpPr/>
            <p:nvPr/>
          </p:nvSpPr>
          <p:spPr>
            <a:xfrm rot="1920000">
              <a:off x="12259440" y="12552699"/>
              <a:ext cx="459460" cy="127604"/>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1" name="Shape 34254">
              <a:extLst>
                <a:ext uri="{FF2B5EF4-FFF2-40B4-BE49-F238E27FC236}">
                  <a16:creationId xmlns:a16="http://schemas.microsoft.com/office/drawing/2014/main" xmlns="" id="{148CA4DB-A798-44AB-A777-1DF8373EF961}"/>
                </a:ext>
              </a:extLst>
            </p:cNvPr>
            <p:cNvSpPr/>
            <p:nvPr/>
          </p:nvSpPr>
          <p:spPr>
            <a:xfrm>
              <a:off x="10340903" y="5125500"/>
              <a:ext cx="609452" cy="544702"/>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2" name="Shape 34255">
              <a:extLst>
                <a:ext uri="{FF2B5EF4-FFF2-40B4-BE49-F238E27FC236}">
                  <a16:creationId xmlns:a16="http://schemas.microsoft.com/office/drawing/2014/main" xmlns="" id="{2846FB29-18F5-41B4-A6BB-EB42E8A6FDAC}"/>
                </a:ext>
              </a:extLst>
            </p:cNvPr>
            <p:cNvSpPr/>
            <p:nvPr/>
          </p:nvSpPr>
          <p:spPr>
            <a:xfrm>
              <a:off x="9854702" y="4803941"/>
              <a:ext cx="502982" cy="459644"/>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3" name="Shape 34256">
              <a:extLst>
                <a:ext uri="{FF2B5EF4-FFF2-40B4-BE49-F238E27FC236}">
                  <a16:creationId xmlns:a16="http://schemas.microsoft.com/office/drawing/2014/main" xmlns="" id="{ED769ECF-CDCE-4F80-ABDE-87159968A5D0}"/>
                </a:ext>
              </a:extLst>
            </p:cNvPr>
            <p:cNvSpPr/>
            <p:nvPr/>
          </p:nvSpPr>
          <p:spPr>
            <a:xfrm>
              <a:off x="10882778" y="5040627"/>
              <a:ext cx="347554" cy="302336"/>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4" name="Shape 34257">
              <a:extLst>
                <a:ext uri="{FF2B5EF4-FFF2-40B4-BE49-F238E27FC236}">
                  <a16:creationId xmlns:a16="http://schemas.microsoft.com/office/drawing/2014/main" xmlns="" id="{BD27900D-25EB-4209-A161-5C222A216BA6}"/>
                </a:ext>
              </a:extLst>
            </p:cNvPr>
            <p:cNvSpPr/>
            <p:nvPr/>
          </p:nvSpPr>
          <p:spPr>
            <a:xfrm>
              <a:off x="10466323" y="4715507"/>
              <a:ext cx="342888" cy="302336"/>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5" name="Shape 34258">
              <a:extLst>
                <a:ext uri="{FF2B5EF4-FFF2-40B4-BE49-F238E27FC236}">
                  <a16:creationId xmlns:a16="http://schemas.microsoft.com/office/drawing/2014/main" xmlns="" id="{691C1683-ECFA-4B54-9B4D-A0D8BB06C780}"/>
                </a:ext>
              </a:extLst>
            </p:cNvPr>
            <p:cNvSpPr/>
            <p:nvPr/>
          </p:nvSpPr>
          <p:spPr>
            <a:xfrm>
              <a:off x="13456598" y="7929263"/>
              <a:ext cx="368866" cy="3296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6" name="Shape 34259">
              <a:extLst>
                <a:ext uri="{FF2B5EF4-FFF2-40B4-BE49-F238E27FC236}">
                  <a16:creationId xmlns:a16="http://schemas.microsoft.com/office/drawing/2014/main" xmlns="" id="{BC6A7A9D-84CE-463B-B482-5B9443AC9A9D}"/>
                </a:ext>
              </a:extLst>
            </p:cNvPr>
            <p:cNvSpPr/>
            <p:nvPr/>
          </p:nvSpPr>
          <p:spPr>
            <a:xfrm>
              <a:off x="12160172" y="6699066"/>
              <a:ext cx="392924" cy="3511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7" name="Shape 34260">
              <a:extLst>
                <a:ext uri="{FF2B5EF4-FFF2-40B4-BE49-F238E27FC236}">
                  <a16:creationId xmlns:a16="http://schemas.microsoft.com/office/drawing/2014/main" xmlns="" id="{1E576DAF-3BA5-44D5-97DA-01521F521545}"/>
                </a:ext>
              </a:extLst>
            </p:cNvPr>
            <p:cNvSpPr/>
            <p:nvPr/>
          </p:nvSpPr>
          <p:spPr>
            <a:xfrm>
              <a:off x="10867845" y="10886425"/>
              <a:ext cx="279004" cy="249360"/>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8" name="Shape 34261">
              <a:extLst>
                <a:ext uri="{FF2B5EF4-FFF2-40B4-BE49-F238E27FC236}">
                  <a16:creationId xmlns:a16="http://schemas.microsoft.com/office/drawing/2014/main" xmlns="" id="{0A470D7C-960B-499D-8E76-EF36C01475CC}"/>
                </a:ext>
              </a:extLst>
            </p:cNvPr>
            <p:cNvSpPr/>
            <p:nvPr/>
          </p:nvSpPr>
          <p:spPr>
            <a:xfrm>
              <a:off x="12725585" y="12289966"/>
              <a:ext cx="373054" cy="303140"/>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9" name="Shape 34262">
              <a:extLst>
                <a:ext uri="{FF2B5EF4-FFF2-40B4-BE49-F238E27FC236}">
                  <a16:creationId xmlns:a16="http://schemas.microsoft.com/office/drawing/2014/main" xmlns="" id="{F040F0D4-C491-4A4C-93AE-705E608DCDBA}"/>
                </a:ext>
              </a:extLst>
            </p:cNvPr>
            <p:cNvSpPr/>
            <p:nvPr/>
          </p:nvSpPr>
          <p:spPr>
            <a:xfrm>
              <a:off x="13639147" y="5652275"/>
              <a:ext cx="728794" cy="541076"/>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0" name="Shape 34263">
              <a:extLst>
                <a:ext uri="{FF2B5EF4-FFF2-40B4-BE49-F238E27FC236}">
                  <a16:creationId xmlns:a16="http://schemas.microsoft.com/office/drawing/2014/main" xmlns="" id="{6FA1A31D-25CB-4B29-8C01-45DB851980C8}"/>
                </a:ext>
              </a:extLst>
            </p:cNvPr>
            <p:cNvSpPr/>
            <p:nvPr/>
          </p:nvSpPr>
          <p:spPr>
            <a:xfrm>
              <a:off x="14075163" y="6302567"/>
              <a:ext cx="163854" cy="351178"/>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1" name="Shape 34264">
              <a:extLst>
                <a:ext uri="{FF2B5EF4-FFF2-40B4-BE49-F238E27FC236}">
                  <a16:creationId xmlns:a16="http://schemas.microsoft.com/office/drawing/2014/main" xmlns="" id="{1FE0A415-3DEB-493F-9FA2-A43B3EABFCF3}"/>
                </a:ext>
              </a:extLst>
            </p:cNvPr>
            <p:cNvSpPr/>
            <p:nvPr/>
          </p:nvSpPr>
          <p:spPr>
            <a:xfrm>
              <a:off x="11378351" y="9431234"/>
              <a:ext cx="527920" cy="391942"/>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2" name="Shape 34265">
              <a:extLst>
                <a:ext uri="{FF2B5EF4-FFF2-40B4-BE49-F238E27FC236}">
                  <a16:creationId xmlns:a16="http://schemas.microsoft.com/office/drawing/2014/main" xmlns="" id="{975837CF-ED62-424D-818B-2205C85054F2}"/>
                </a:ext>
              </a:extLst>
            </p:cNvPr>
            <p:cNvSpPr/>
            <p:nvPr/>
          </p:nvSpPr>
          <p:spPr>
            <a:xfrm>
              <a:off x="13182794" y="4769147"/>
              <a:ext cx="316260" cy="234800"/>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grpSp>
      <p:sp>
        <p:nvSpPr>
          <p:cNvPr id="113" name="Circle">
            <a:extLst>
              <a:ext uri="{FF2B5EF4-FFF2-40B4-BE49-F238E27FC236}">
                <a16:creationId xmlns:a16="http://schemas.microsoft.com/office/drawing/2014/main" xmlns="" id="{37660198-79D8-4DBE-9D72-924665D39D39}"/>
              </a:ext>
            </a:extLst>
          </p:cNvPr>
          <p:cNvSpPr/>
          <p:nvPr/>
        </p:nvSpPr>
        <p:spPr>
          <a:xfrm flipV="1">
            <a:off x="6660527" y="2766886"/>
            <a:ext cx="129333" cy="129333"/>
          </a:xfrm>
          <a:prstGeom prst="diamond">
            <a:avLst/>
          </a:prstGeom>
          <a:solidFill>
            <a:schemeClr val="tx1"/>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15" name="TextBox 148">
            <a:extLst>
              <a:ext uri="{FF2B5EF4-FFF2-40B4-BE49-F238E27FC236}">
                <a16:creationId xmlns:a16="http://schemas.microsoft.com/office/drawing/2014/main" xmlns="" id="{A93EE695-8723-485F-A395-5BEF5F341720}"/>
              </a:ext>
            </a:extLst>
          </p:cNvPr>
          <p:cNvSpPr txBox="1"/>
          <p:nvPr/>
        </p:nvSpPr>
        <p:spPr>
          <a:xfrm>
            <a:off x="6910382" y="2630727"/>
            <a:ext cx="4986365" cy="400110"/>
          </a:xfrm>
          <a:prstGeom prst="rect">
            <a:avLst/>
          </a:prstGeom>
          <a:noFill/>
        </p:spPr>
        <p:txBody>
          <a:bodyPr wrap="none" rtlCol="0" anchor="ctr" anchorCtr="0">
            <a:spAutoFit/>
          </a:bodyPr>
          <a:lstStyle/>
          <a:p>
            <a:r>
              <a:rPr lang="en-GB" sz="2000" dirty="0">
                <a:solidFill>
                  <a:schemeClr val="tx2"/>
                </a:solidFill>
                <a:latin typeface="+mj-lt"/>
                <a:ea typeface="League Spartan" charset="0"/>
                <a:cs typeface="Poppins" pitchFamily="2" charset="77"/>
              </a:rPr>
              <a:t>Las actividades de </a:t>
            </a:r>
            <a:r>
              <a:rPr lang="en-GB" sz="2000" b="1" dirty="0">
                <a:solidFill>
                  <a:schemeClr val="tx2"/>
                </a:solidFill>
                <a:latin typeface="+mj-lt"/>
                <a:ea typeface="League Spartan" charset="0"/>
                <a:cs typeface="Poppins" pitchFamily="2" charset="77"/>
              </a:rPr>
              <a:t>Black Hole </a:t>
            </a:r>
            <a:r>
              <a:rPr lang="en-GB" sz="2000" dirty="0">
                <a:solidFill>
                  <a:schemeClr val="tx2"/>
                </a:solidFill>
                <a:latin typeface="+mj-lt"/>
                <a:ea typeface="League Spartan" charset="0"/>
                <a:cs typeface="Poppins" pitchFamily="2" charset="77"/>
              </a:rPr>
              <a:t>tienen lugar y están permitidas</a:t>
            </a:r>
          </a:p>
        </p:txBody>
      </p:sp>
      <p:sp>
        <p:nvSpPr>
          <p:cNvPr id="125" name="TextBox 148">
            <a:extLst>
              <a:ext uri="{FF2B5EF4-FFF2-40B4-BE49-F238E27FC236}">
                <a16:creationId xmlns:a16="http://schemas.microsoft.com/office/drawing/2014/main" xmlns="" id="{E7F2FC67-D2C3-4AFB-89B8-B044FF5E280B}"/>
              </a:ext>
            </a:extLst>
          </p:cNvPr>
          <p:cNvSpPr txBox="1"/>
          <p:nvPr/>
        </p:nvSpPr>
        <p:spPr>
          <a:xfrm>
            <a:off x="6267898" y="2007580"/>
            <a:ext cx="5628849" cy="400110"/>
          </a:xfrm>
          <a:prstGeom prst="rect">
            <a:avLst/>
          </a:prstGeom>
          <a:noFill/>
        </p:spPr>
        <p:txBody>
          <a:bodyPr wrap="none" rtlCol="0" anchor="ctr" anchorCtr="0">
            <a:spAutoFit/>
          </a:bodyPr>
          <a:lstStyle/>
          <a:p>
            <a:r>
              <a:rPr lang="en-GB" sz="2000" b="1" dirty="0">
                <a:solidFill>
                  <a:schemeClr val="tx2"/>
                </a:solidFill>
                <a:latin typeface="+mj-lt"/>
                <a:ea typeface="League Spartan" charset="0"/>
                <a:cs typeface="Poppins" pitchFamily="2" charset="77"/>
              </a:rPr>
              <a:t>5 errores comunes cuando la empresa funciona "como siempre"</a:t>
            </a:r>
          </a:p>
        </p:txBody>
      </p:sp>
      <p:sp>
        <p:nvSpPr>
          <p:cNvPr id="126" name="Circle">
            <a:extLst>
              <a:ext uri="{FF2B5EF4-FFF2-40B4-BE49-F238E27FC236}">
                <a16:creationId xmlns:a16="http://schemas.microsoft.com/office/drawing/2014/main" xmlns="" id="{67C959B5-6699-4C69-A124-EE96E3C78173}"/>
              </a:ext>
            </a:extLst>
          </p:cNvPr>
          <p:cNvSpPr/>
          <p:nvPr/>
        </p:nvSpPr>
        <p:spPr>
          <a:xfrm flipV="1">
            <a:off x="6660527" y="3398980"/>
            <a:ext cx="129333" cy="129333"/>
          </a:xfrm>
          <a:prstGeom prst="diamond">
            <a:avLst/>
          </a:prstGeom>
          <a:solidFill>
            <a:schemeClr val="accent4"/>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27" name="TextBox 148">
            <a:extLst>
              <a:ext uri="{FF2B5EF4-FFF2-40B4-BE49-F238E27FC236}">
                <a16:creationId xmlns:a16="http://schemas.microsoft.com/office/drawing/2014/main" xmlns="" id="{42CC3528-E2DC-417A-A107-66D134D8541B}"/>
              </a:ext>
            </a:extLst>
          </p:cNvPr>
          <p:cNvSpPr txBox="1"/>
          <p:nvPr/>
        </p:nvSpPr>
        <p:spPr>
          <a:xfrm>
            <a:off x="6910382" y="3127078"/>
            <a:ext cx="4986365" cy="707886"/>
          </a:xfrm>
          <a:prstGeom prst="rect">
            <a:avLst/>
          </a:prstGeom>
          <a:noFill/>
        </p:spPr>
        <p:txBody>
          <a:bodyPr wrap="square" rtlCol="0" anchor="ctr" anchorCtr="0">
            <a:spAutoFit/>
          </a:bodyPr>
          <a:lstStyle/>
          <a:p>
            <a:r>
              <a:rPr lang="en-GB" sz="2000" dirty="0">
                <a:solidFill>
                  <a:schemeClr val="tx2"/>
                </a:solidFill>
                <a:latin typeface="+mj-lt"/>
                <a:ea typeface="League Spartan" charset="0"/>
                <a:cs typeface="Poppins" pitchFamily="2" charset="77"/>
              </a:rPr>
              <a:t>Se </a:t>
            </a:r>
            <a:r>
              <a:rPr lang="en-GB" sz="2000" dirty="0" err="1">
                <a:solidFill>
                  <a:schemeClr val="tx2"/>
                </a:solidFill>
                <a:latin typeface="+mj-lt"/>
                <a:ea typeface="League Spartan" charset="0"/>
                <a:cs typeface="Poppins" pitchFamily="2" charset="77"/>
              </a:rPr>
              <a:t>presta </a:t>
            </a:r>
            <a:r>
              <a:rPr lang="en-GB" sz="2000" dirty="0">
                <a:solidFill>
                  <a:schemeClr val="tx2"/>
                </a:solidFill>
                <a:latin typeface="+mj-lt"/>
                <a:ea typeface="League Spartan" charset="0"/>
                <a:cs typeface="Poppins" pitchFamily="2" charset="77"/>
              </a:rPr>
              <a:t>muy poca atención a las actividades de </a:t>
            </a:r>
            <a:r>
              <a:rPr lang="en-GB" sz="2000" b="1" dirty="0">
                <a:solidFill>
                  <a:schemeClr val="accent4"/>
                </a:solidFill>
                <a:latin typeface="+mj-lt"/>
                <a:ea typeface="League Spartan" charset="0"/>
                <a:cs typeface="Poppins" pitchFamily="2" charset="77"/>
              </a:rPr>
              <a:t>Bandera Amarilla</a:t>
            </a:r>
          </a:p>
        </p:txBody>
      </p:sp>
      <p:sp>
        <p:nvSpPr>
          <p:cNvPr id="128" name="Circle">
            <a:extLst>
              <a:ext uri="{FF2B5EF4-FFF2-40B4-BE49-F238E27FC236}">
                <a16:creationId xmlns:a16="http://schemas.microsoft.com/office/drawing/2014/main" xmlns="" id="{D778CC44-E217-49B4-8EE8-8082A368BCBE}"/>
              </a:ext>
            </a:extLst>
          </p:cNvPr>
          <p:cNvSpPr/>
          <p:nvPr/>
        </p:nvSpPr>
        <p:spPr>
          <a:xfrm flipV="1">
            <a:off x="6660527" y="4030788"/>
            <a:ext cx="129333" cy="129333"/>
          </a:xfrm>
          <a:prstGeom prst="diamond">
            <a:avLst/>
          </a:prstGeom>
          <a:solidFill>
            <a:schemeClr val="bg1">
              <a:lumMod val="50000"/>
            </a:schemeClr>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29" name="TextBox 148">
            <a:extLst>
              <a:ext uri="{FF2B5EF4-FFF2-40B4-BE49-F238E27FC236}">
                <a16:creationId xmlns:a16="http://schemas.microsoft.com/office/drawing/2014/main" xmlns="" id="{BF346E9F-3023-4BE6-9931-F8F8646EA717}"/>
              </a:ext>
            </a:extLst>
          </p:cNvPr>
          <p:cNvSpPr txBox="1"/>
          <p:nvPr/>
        </p:nvSpPr>
        <p:spPr>
          <a:xfrm>
            <a:off x="6910382" y="3716012"/>
            <a:ext cx="4731341" cy="707886"/>
          </a:xfrm>
          <a:prstGeom prst="rect">
            <a:avLst/>
          </a:prstGeom>
          <a:noFill/>
        </p:spPr>
        <p:txBody>
          <a:bodyPr wrap="square" rtlCol="0" anchor="ctr" anchorCtr="0">
            <a:spAutoFit/>
          </a:bodyPr>
          <a:lstStyle/>
          <a:p>
            <a:r>
              <a:rPr lang="en-GB" sz="2000" dirty="0">
                <a:solidFill>
                  <a:schemeClr val="tx2"/>
                </a:solidFill>
                <a:latin typeface="+mj-lt"/>
                <a:ea typeface="League Spartan" charset="0"/>
                <a:cs typeface="Poppins" pitchFamily="2" charset="77"/>
              </a:rPr>
              <a:t>Permitir que las </a:t>
            </a:r>
            <a:r>
              <a:rPr lang="en-GB" sz="2000" b="1" dirty="0">
                <a:solidFill>
                  <a:schemeClr val="tx1">
                    <a:lumMod val="50000"/>
                    <a:lumOff val="50000"/>
                  </a:schemeClr>
                </a:solidFill>
                <a:latin typeface="+mj-lt"/>
                <a:ea typeface="League Spartan" charset="0"/>
                <a:cs typeface="Poppins" pitchFamily="2" charset="77"/>
              </a:rPr>
              <a:t>actividades de </a:t>
            </a:r>
            <a:r>
              <a:rPr lang="en-GB" sz="2000" dirty="0">
                <a:solidFill>
                  <a:schemeClr val="tx2"/>
                </a:solidFill>
                <a:latin typeface="+mj-lt"/>
                <a:ea typeface="League Spartan" charset="0"/>
                <a:cs typeface="Poppins" pitchFamily="2" charset="77"/>
              </a:rPr>
              <a:t>(</a:t>
            </a:r>
            <a:r>
              <a:rPr lang="en-GB" sz="2000" b="1" dirty="0">
                <a:solidFill>
                  <a:schemeClr val="tx1">
                    <a:lumMod val="50000"/>
                    <a:lumOff val="50000"/>
                  </a:schemeClr>
                </a:solidFill>
                <a:latin typeface="+mj-lt"/>
                <a:ea typeface="League Spartan" charset="0"/>
                <a:cs typeface="Poppins" pitchFamily="2" charset="77"/>
              </a:rPr>
              <a:t>indisciplina) frenen </a:t>
            </a:r>
            <a:r>
              <a:rPr lang="en-GB" sz="2000" dirty="0">
                <a:solidFill>
                  <a:schemeClr val="tx2"/>
                </a:solidFill>
                <a:latin typeface="+mj-lt"/>
                <a:ea typeface="League Spartan" charset="0"/>
                <a:cs typeface="Poppins" pitchFamily="2" charset="77"/>
              </a:rPr>
              <a:t>las cosas</a:t>
            </a:r>
          </a:p>
        </p:txBody>
      </p:sp>
      <p:sp>
        <p:nvSpPr>
          <p:cNvPr id="130" name="Circle">
            <a:extLst>
              <a:ext uri="{FF2B5EF4-FFF2-40B4-BE49-F238E27FC236}">
                <a16:creationId xmlns:a16="http://schemas.microsoft.com/office/drawing/2014/main" xmlns="" id="{44AFA874-E578-49B3-89A6-8D927256E3ED}"/>
              </a:ext>
            </a:extLst>
          </p:cNvPr>
          <p:cNvSpPr/>
          <p:nvPr/>
        </p:nvSpPr>
        <p:spPr>
          <a:xfrm flipV="1">
            <a:off x="6660527" y="4659106"/>
            <a:ext cx="129333" cy="129333"/>
          </a:xfrm>
          <a:prstGeom prst="diamond">
            <a:avLst/>
          </a:prstGeom>
          <a:solidFill>
            <a:srgbClr val="B7A644"/>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31" name="TextBox 148">
            <a:extLst>
              <a:ext uri="{FF2B5EF4-FFF2-40B4-BE49-F238E27FC236}">
                <a16:creationId xmlns:a16="http://schemas.microsoft.com/office/drawing/2014/main" xmlns="" id="{B2354F85-BA58-4F91-995F-6D1DE2D00A79}"/>
              </a:ext>
            </a:extLst>
          </p:cNvPr>
          <p:cNvSpPr txBox="1"/>
          <p:nvPr/>
        </p:nvSpPr>
        <p:spPr>
          <a:xfrm>
            <a:off x="6910382" y="4522947"/>
            <a:ext cx="3771032" cy="400110"/>
          </a:xfrm>
          <a:prstGeom prst="rect">
            <a:avLst/>
          </a:prstGeom>
          <a:noFill/>
        </p:spPr>
        <p:txBody>
          <a:bodyPr wrap="none" rtlCol="0" anchor="ctr" anchorCtr="0">
            <a:spAutoFit/>
          </a:bodyPr>
          <a:lstStyle/>
          <a:p>
            <a:r>
              <a:rPr lang="en-GB" sz="2000" dirty="0">
                <a:solidFill>
                  <a:schemeClr val="tx2"/>
                </a:solidFill>
                <a:latin typeface="+mj-lt"/>
                <a:ea typeface="League Spartan" charset="0"/>
                <a:cs typeface="Poppins" pitchFamily="2" charset="77"/>
              </a:rPr>
              <a:t>Las oportunidades de </a:t>
            </a:r>
            <a:r>
              <a:rPr lang="en-GB" sz="2000" b="1" dirty="0">
                <a:solidFill>
                  <a:schemeClr val="accent4">
                    <a:lumMod val="75000"/>
                  </a:schemeClr>
                </a:solidFill>
                <a:latin typeface="+mj-lt"/>
                <a:ea typeface="League Spartan" charset="0"/>
                <a:cs typeface="Poppins" pitchFamily="2" charset="77"/>
              </a:rPr>
              <a:t>la Estrella de Oro </a:t>
            </a:r>
            <a:r>
              <a:rPr lang="en-GB" sz="2000" dirty="0">
                <a:solidFill>
                  <a:schemeClr val="tx2"/>
                </a:solidFill>
                <a:latin typeface="+mj-lt"/>
                <a:ea typeface="League Spartan" charset="0"/>
                <a:cs typeface="Poppins" pitchFamily="2" charset="77"/>
              </a:rPr>
              <a:t>se pierden</a:t>
            </a:r>
          </a:p>
        </p:txBody>
      </p:sp>
      <p:sp>
        <p:nvSpPr>
          <p:cNvPr id="132" name="Circle">
            <a:extLst>
              <a:ext uri="{FF2B5EF4-FFF2-40B4-BE49-F238E27FC236}">
                <a16:creationId xmlns:a16="http://schemas.microsoft.com/office/drawing/2014/main" xmlns="" id="{C9DB4A34-8F97-4DFC-8FEF-FB6121C51A7F}"/>
              </a:ext>
            </a:extLst>
          </p:cNvPr>
          <p:cNvSpPr/>
          <p:nvPr/>
        </p:nvSpPr>
        <p:spPr>
          <a:xfrm flipV="1">
            <a:off x="6660527" y="5291003"/>
            <a:ext cx="129333" cy="129333"/>
          </a:xfrm>
          <a:prstGeom prst="diamond">
            <a:avLst/>
          </a:prstGeom>
          <a:solidFill>
            <a:srgbClr val="C00000"/>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33" name="TextBox 148">
            <a:extLst>
              <a:ext uri="{FF2B5EF4-FFF2-40B4-BE49-F238E27FC236}">
                <a16:creationId xmlns:a16="http://schemas.microsoft.com/office/drawing/2014/main" xmlns="" id="{2FC92D9B-7A4B-4F29-9E6B-D9BE367CDE92}"/>
              </a:ext>
            </a:extLst>
          </p:cNvPr>
          <p:cNvSpPr txBox="1"/>
          <p:nvPr/>
        </p:nvSpPr>
        <p:spPr>
          <a:xfrm>
            <a:off x="6910382" y="5154844"/>
            <a:ext cx="3335400" cy="400110"/>
          </a:xfrm>
          <a:prstGeom prst="rect">
            <a:avLst/>
          </a:prstGeom>
          <a:noFill/>
        </p:spPr>
        <p:txBody>
          <a:bodyPr wrap="none" rtlCol="0" anchor="ctr" anchorCtr="0">
            <a:spAutoFit/>
          </a:bodyPr>
          <a:lstStyle/>
          <a:p>
            <a:r>
              <a:rPr lang="en-GB" sz="2000" dirty="0">
                <a:solidFill>
                  <a:schemeClr val="tx2"/>
                </a:solidFill>
                <a:latin typeface="+mj-lt"/>
                <a:ea typeface="League Spartan" charset="0"/>
                <a:cs typeface="Poppins" pitchFamily="2" charset="77"/>
              </a:rPr>
              <a:t>Se asignan actividades de </a:t>
            </a:r>
            <a:r>
              <a:rPr lang="en-GB" sz="2000" b="1" dirty="0">
                <a:solidFill>
                  <a:srgbClr val="C00000"/>
                </a:solidFill>
                <a:latin typeface="+mj-lt"/>
                <a:ea typeface="League Spartan" charset="0"/>
                <a:cs typeface="Poppins" pitchFamily="2" charset="77"/>
              </a:rPr>
              <a:t>bandera roja</a:t>
            </a:r>
          </a:p>
        </p:txBody>
      </p:sp>
    </p:spTree>
    <p:extLst>
      <p:ext uri="{BB962C8B-B14F-4D97-AF65-F5344CB8AC3E}">
        <p14:creationId xmlns:p14="http://schemas.microsoft.com/office/powerpoint/2010/main" val="41348948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20972" y="512640"/>
            <a:ext cx="8852375" cy="697353"/>
          </a:xfrm>
        </p:spPr>
        <p:txBody>
          <a:bodyPr>
            <a:noAutofit/>
          </a:bodyPr>
          <a:lstStyle/>
          <a:p>
            <a:r>
              <a:rPr lang="en-GB" dirty="0"/>
              <a:t>Aprender de la gestión de tareas en la crisis (co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89861" y="1867961"/>
            <a:ext cx="5397942" cy="492985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latin typeface="+mj-lt"/>
                <a:sym typeface="Wingdings" panose="05000000000000000000" pitchFamily="2" charset="2"/>
              </a:rPr>
              <a:t>Durante una crisis suelen producirse fenómenos que conducen a una asignación de tareas mucho más eficaz. La dirección y los empleados se concentran en las tareas importantes y los objetivos comunes. Las jerarquías se mezclan y las tareas pueden asignarse a las personas adecuadas con mayor eficacia.</a:t>
            </a:r>
            <a:endParaRPr lang="en-US" sz="1900" dirty="0">
              <a:latin typeface="+mj-lt"/>
            </a:endParaRPr>
          </a:p>
          <a:p>
            <a:pPr marL="342900" indent="-342900" algn="l">
              <a:lnSpc>
                <a:spcPct val="100000"/>
              </a:lnSpc>
              <a:spcBef>
                <a:spcPts val="600"/>
              </a:spcBef>
              <a:buFont typeface="Arial" panose="020B0604020202020204" pitchFamily="34" charset="0"/>
              <a:buChar char="•"/>
            </a:pPr>
            <a:r>
              <a:rPr lang="en-GB" sz="1900" dirty="0">
                <a:latin typeface="+mj-lt"/>
                <a:sym typeface="Wingdings" panose="05000000000000000000" pitchFamily="2" charset="2"/>
              </a:rPr>
              <a:t>La cooperación interfuncional se produce de forma espontánea</a:t>
            </a:r>
            <a:endParaRPr lang="en-GB" sz="1900" dirty="0">
              <a:latin typeface="+mj-lt"/>
            </a:endParaRPr>
          </a:p>
          <a:p>
            <a:pPr marL="342900" indent="-342900" algn="l">
              <a:lnSpc>
                <a:spcPct val="100000"/>
              </a:lnSpc>
              <a:spcBef>
                <a:spcPts val="600"/>
              </a:spcBef>
              <a:buFont typeface="Arial" panose="020B0604020202020204" pitchFamily="34" charset="0"/>
              <a:buChar char="•"/>
            </a:pPr>
            <a:r>
              <a:rPr lang="en-GB" sz="1900" dirty="0">
                <a:latin typeface="+mj-lt"/>
                <a:sym typeface="Wingdings" panose="05000000000000000000" pitchFamily="2" charset="2"/>
              </a:rPr>
              <a:t>La gente está más abierta a las aportaciones de los demás</a:t>
            </a:r>
            <a:endParaRPr lang="en-GB" sz="1900" dirty="0">
              <a:latin typeface="+mj-lt"/>
            </a:endParaRPr>
          </a:p>
          <a:p>
            <a:pPr marL="342900" indent="-342900" algn="l">
              <a:lnSpc>
                <a:spcPct val="100000"/>
              </a:lnSpc>
              <a:spcBef>
                <a:spcPts val="600"/>
              </a:spcBef>
              <a:buFont typeface="Arial" panose="020B0604020202020204" pitchFamily="34" charset="0"/>
              <a:buChar char="•"/>
            </a:pPr>
            <a:r>
              <a:rPr lang="en-GB" sz="1900" dirty="0">
                <a:latin typeface="+mj-lt"/>
                <a:sym typeface="Wingdings" panose="05000000000000000000" pitchFamily="2" charset="2"/>
              </a:rPr>
              <a:t>La gente está más dispuesta a probar nuevas ideas</a:t>
            </a:r>
            <a:endParaRPr lang="en-GB" sz="1900" dirty="0">
              <a:latin typeface="+mj-lt"/>
            </a:endParaRPr>
          </a:p>
          <a:p>
            <a:pPr marL="342900" indent="-342900" algn="l">
              <a:lnSpc>
                <a:spcPct val="100000"/>
              </a:lnSpc>
              <a:spcBef>
                <a:spcPts val="600"/>
              </a:spcBef>
              <a:buFont typeface="Arial" panose="020B0604020202020204" pitchFamily="34" charset="0"/>
              <a:buChar char="•"/>
            </a:pPr>
            <a:r>
              <a:rPr lang="en-GB" sz="1900" dirty="0">
                <a:latin typeface="+mj-lt"/>
                <a:sym typeface="Wingdings" panose="05000000000000000000" pitchFamily="2" charset="2"/>
              </a:rPr>
              <a:t>Surge el potencial oculto</a:t>
            </a:r>
            <a:endParaRPr lang="en-GB" sz="1900" dirty="0">
              <a:latin typeface="+mj-lt"/>
            </a:endParaRPr>
          </a:p>
          <a:p>
            <a:pPr marL="342900" indent="-342900" algn="l">
              <a:lnSpc>
                <a:spcPct val="100000"/>
              </a:lnSpc>
              <a:spcBef>
                <a:spcPts val="600"/>
              </a:spcBef>
              <a:buFont typeface="Arial" panose="020B0604020202020204" pitchFamily="34" charset="0"/>
              <a:buChar char="•"/>
            </a:pPr>
            <a:r>
              <a:rPr lang="en-GB" sz="1900" dirty="0">
                <a:latin typeface="+mj-lt"/>
                <a:sym typeface="Wingdings" panose="05000000000000000000" pitchFamily="2" charset="2"/>
              </a:rPr>
              <a:t>Las personas se liberan de las barreras</a:t>
            </a:r>
            <a:endParaRPr lang="en-GB" sz="1900" dirty="0">
              <a:latin typeface="+mj-lt"/>
            </a:endParaRPr>
          </a:p>
          <a:p>
            <a:pPr marL="342900" indent="-342900" algn="l">
              <a:lnSpc>
                <a:spcPct val="100000"/>
              </a:lnSpc>
              <a:spcBef>
                <a:spcPts val="600"/>
              </a:spcBef>
              <a:buFont typeface="Arial" panose="020B0604020202020204" pitchFamily="34" charset="0"/>
              <a:buChar char="•"/>
            </a:pPr>
            <a:r>
              <a:rPr lang="en-GB" sz="1900" dirty="0">
                <a:latin typeface="+mj-lt"/>
                <a:sym typeface="Wingdings" panose="05000000000000000000" pitchFamily="2" charset="2"/>
              </a:rPr>
              <a:t>Las personas alcanzan espontáneamente grandes cotas de rendimiento sin necesidad de una amplia planificación de la gestión </a:t>
            </a:r>
            <a:endParaRPr lang="en-GB" sz="1900" b="1" dirty="0">
              <a:latin typeface="+mj-lt"/>
            </a:endParaRPr>
          </a:p>
        </p:txBody>
      </p:sp>
      <p:sp>
        <p:nvSpPr>
          <p:cNvPr id="12" name="TextBox 10">
            <a:extLst>
              <a:ext uri="{FF2B5EF4-FFF2-40B4-BE49-F238E27FC236}">
                <a16:creationId xmlns:a16="http://schemas.microsoft.com/office/drawing/2014/main" xmlns="" id="{BBCC6EF9-7445-481A-8F53-008236026B2B}"/>
              </a:ext>
            </a:extLst>
          </p:cNvPr>
          <p:cNvSpPr txBox="1"/>
          <p:nvPr/>
        </p:nvSpPr>
        <p:spPr>
          <a:xfrm>
            <a:off x="3753396" y="5607747"/>
            <a:ext cx="317716" cy="756233"/>
          </a:xfrm>
          <a:prstGeom prst="rect">
            <a:avLst/>
          </a:prstGeom>
          <a:noFill/>
        </p:spPr>
        <p:txBody>
          <a:bodyPr wrap="none" rtlCol="0" anchor="ctr">
            <a:spAutoFit/>
          </a:bodyPr>
          <a:lstStyle/>
          <a:p>
            <a:pPr algn="ctr"/>
            <a:r>
              <a:rPr lang="en-GB" sz="4314" b="1">
                <a:solidFill>
                  <a:schemeClr val="bg1"/>
                </a:solidFill>
                <a:latin typeface="+mj-lt"/>
                <a:cs typeface="Poppins" pitchFamily="2" charset="77"/>
              </a:rPr>
              <a:t>I</a:t>
            </a:r>
            <a:endParaRPr lang="en-GB" sz="4314" b="1" dirty="0">
              <a:solidFill>
                <a:schemeClr val="bg1"/>
              </a:solidFill>
              <a:latin typeface="+mj-lt"/>
              <a:cs typeface="Poppins" pitchFamily="2" charset="77"/>
            </a:endParaRPr>
          </a:p>
        </p:txBody>
      </p:sp>
      <p:grpSp>
        <p:nvGrpSpPr>
          <p:cNvPr id="5" name="Gruppieren 4">
            <a:extLst>
              <a:ext uri="{FF2B5EF4-FFF2-40B4-BE49-F238E27FC236}">
                <a16:creationId xmlns:a16="http://schemas.microsoft.com/office/drawing/2014/main" xmlns="" id="{43C0B1BB-8164-47EA-89A4-8EB6D556EC6B}"/>
              </a:ext>
            </a:extLst>
          </p:cNvPr>
          <p:cNvGrpSpPr/>
          <p:nvPr/>
        </p:nvGrpSpPr>
        <p:grpSpPr>
          <a:xfrm>
            <a:off x="6256189" y="5080484"/>
            <a:ext cx="695929" cy="762634"/>
            <a:chOff x="4451490" y="4845467"/>
            <a:chExt cx="728363" cy="762634"/>
          </a:xfrm>
          <a:solidFill>
            <a:schemeClr val="accent2"/>
          </a:solidFill>
        </p:grpSpPr>
        <p:sp>
          <p:nvSpPr>
            <p:cNvPr id="19" name="Shape 34177">
              <a:extLst>
                <a:ext uri="{FF2B5EF4-FFF2-40B4-BE49-F238E27FC236}">
                  <a16:creationId xmlns:a16="http://schemas.microsoft.com/office/drawing/2014/main" xmlns="" id="{9B0C9A64-6E9D-49B4-A852-40979F671458}"/>
                </a:ext>
              </a:extLst>
            </p:cNvPr>
            <p:cNvSpPr/>
            <p:nvPr/>
          </p:nvSpPr>
          <p:spPr>
            <a:xfrm>
              <a:off x="4756610" y="5162900"/>
              <a:ext cx="164379" cy="151044"/>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2" name="Shape 34180">
              <a:extLst>
                <a:ext uri="{FF2B5EF4-FFF2-40B4-BE49-F238E27FC236}">
                  <a16:creationId xmlns:a16="http://schemas.microsoft.com/office/drawing/2014/main" xmlns="" id="{11069254-67A6-474A-A84F-56582353AC8A}"/>
                </a:ext>
              </a:extLst>
            </p:cNvPr>
            <p:cNvSpPr/>
            <p:nvPr/>
          </p:nvSpPr>
          <p:spPr>
            <a:xfrm>
              <a:off x="4941668" y="5120225"/>
              <a:ext cx="237185" cy="297636"/>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9" name="Shape 34202">
              <a:extLst>
                <a:ext uri="{FF2B5EF4-FFF2-40B4-BE49-F238E27FC236}">
                  <a16:creationId xmlns:a16="http://schemas.microsoft.com/office/drawing/2014/main" xmlns="" id="{CF307892-A83B-48F3-A89F-02D4C5D8FDA7}"/>
                </a:ext>
              </a:extLst>
            </p:cNvPr>
            <p:cNvSpPr/>
            <p:nvPr/>
          </p:nvSpPr>
          <p:spPr>
            <a:xfrm>
              <a:off x="4748144" y="4845467"/>
              <a:ext cx="191634" cy="13371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1" name="Shape 34204">
              <a:extLst>
                <a:ext uri="{FF2B5EF4-FFF2-40B4-BE49-F238E27FC236}">
                  <a16:creationId xmlns:a16="http://schemas.microsoft.com/office/drawing/2014/main" xmlns="" id="{9B4C0168-2D07-4233-A8A8-98131AC94928}"/>
                </a:ext>
              </a:extLst>
            </p:cNvPr>
            <p:cNvSpPr/>
            <p:nvPr/>
          </p:nvSpPr>
          <p:spPr>
            <a:xfrm>
              <a:off x="4451490" y="5100799"/>
              <a:ext cx="125368" cy="133718"/>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2" name="Shape 34205">
              <a:extLst>
                <a:ext uri="{FF2B5EF4-FFF2-40B4-BE49-F238E27FC236}">
                  <a16:creationId xmlns:a16="http://schemas.microsoft.com/office/drawing/2014/main" xmlns="" id="{E5DA5CD2-836D-401E-802C-E6E2A4AB7ADA}"/>
                </a:ext>
              </a:extLst>
            </p:cNvPr>
            <p:cNvSpPr/>
            <p:nvPr/>
          </p:nvSpPr>
          <p:spPr>
            <a:xfrm>
              <a:off x="4578408" y="5409204"/>
              <a:ext cx="148801" cy="164940"/>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1" name="Shape 34214">
              <a:extLst>
                <a:ext uri="{FF2B5EF4-FFF2-40B4-BE49-F238E27FC236}">
                  <a16:creationId xmlns:a16="http://schemas.microsoft.com/office/drawing/2014/main" xmlns="" id="{6B246C76-0BFB-4128-A7A2-81C14F30AAC4}"/>
                </a:ext>
              </a:extLst>
            </p:cNvPr>
            <p:cNvSpPr/>
            <p:nvPr/>
          </p:nvSpPr>
          <p:spPr>
            <a:xfrm>
              <a:off x="4952960" y="4907361"/>
              <a:ext cx="145255" cy="17150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5" name="Shape 34218">
              <a:extLst>
                <a:ext uri="{FF2B5EF4-FFF2-40B4-BE49-F238E27FC236}">
                  <a16:creationId xmlns:a16="http://schemas.microsoft.com/office/drawing/2014/main" xmlns="" id="{85DFAE8B-76BE-4A2A-8FEA-AB64210DAB8A}"/>
                </a:ext>
              </a:extLst>
            </p:cNvPr>
            <p:cNvSpPr/>
            <p:nvPr/>
          </p:nvSpPr>
          <p:spPr>
            <a:xfrm>
              <a:off x="4819686" y="5512373"/>
              <a:ext cx="114884" cy="90973"/>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837" y="8637"/>
                  </a:lnTo>
                  <a:lnTo>
                    <a:pt x="17837" y="12781"/>
                  </a:lnTo>
                  <a:cubicBezTo>
                    <a:pt x="17837" y="13798"/>
                    <a:pt x="17539" y="14723"/>
                    <a:pt x="17049" y="15392"/>
                  </a:cubicBezTo>
                  <a:cubicBezTo>
                    <a:pt x="16550" y="16075"/>
                    <a:pt x="15855" y="16492"/>
                    <a:pt x="15079" y="16478"/>
                  </a:cubicBezTo>
                  <a:lnTo>
                    <a:pt x="9158" y="16478"/>
                  </a:lnTo>
                  <a:lnTo>
                    <a:pt x="9158" y="17810"/>
                  </a:lnTo>
                  <a:cubicBezTo>
                    <a:pt x="9158" y="18368"/>
                    <a:pt x="9328" y="18874"/>
                    <a:pt x="9602" y="19240"/>
                  </a:cubicBezTo>
                  <a:cubicBezTo>
                    <a:pt x="9876" y="19606"/>
                    <a:pt x="10255" y="19832"/>
                    <a:pt x="10673" y="19832"/>
                  </a:cubicBezTo>
                  <a:lnTo>
                    <a:pt x="16728" y="19832"/>
                  </a:lnTo>
                  <a:lnTo>
                    <a:pt x="19181" y="21600"/>
                  </a:lnTo>
                  <a:lnTo>
                    <a:pt x="19181" y="19832"/>
                  </a:lnTo>
                  <a:lnTo>
                    <a:pt x="20085" y="19832"/>
                  </a:lnTo>
                  <a:cubicBezTo>
                    <a:pt x="20503" y="19832"/>
                    <a:pt x="20882" y="19606"/>
                    <a:pt x="21156" y="19240"/>
                  </a:cubicBezTo>
                  <a:cubicBezTo>
                    <a:pt x="21430" y="18874"/>
                    <a:pt x="21600" y="18368"/>
                    <a:pt x="21600" y="17810"/>
                  </a:cubicBezTo>
                  <a:lnTo>
                    <a:pt x="21600" y="10554"/>
                  </a:lnTo>
                  <a:cubicBezTo>
                    <a:pt x="21600" y="9996"/>
                    <a:pt x="21430" y="9490"/>
                    <a:pt x="21156" y="9125"/>
                  </a:cubicBezTo>
                  <a:cubicBezTo>
                    <a:pt x="20882" y="8759"/>
                    <a:pt x="20503" y="8532"/>
                    <a:pt x="20085" y="8532"/>
                  </a:cubicBezTo>
                  <a:close/>
                  <a:moveTo>
                    <a:pt x="6912" y="15450"/>
                  </a:moveTo>
                  <a:lnTo>
                    <a:pt x="6689" y="15450"/>
                  </a:lnTo>
                  <a:lnTo>
                    <a:pt x="2592" y="18372"/>
                  </a:lnTo>
                  <a:lnTo>
                    <a:pt x="2592" y="15450"/>
                  </a:lnTo>
                  <a:lnTo>
                    <a:pt x="2074" y="15450"/>
                  </a:lnTo>
                  <a:cubicBezTo>
                    <a:pt x="1501" y="15450"/>
                    <a:pt x="983" y="15141"/>
                    <a:pt x="607" y="14640"/>
                  </a:cubicBezTo>
                  <a:cubicBezTo>
                    <a:pt x="232" y="14139"/>
                    <a:pt x="0" y="13447"/>
                    <a:pt x="0" y="12683"/>
                  </a:cubicBezTo>
                  <a:lnTo>
                    <a:pt x="0" y="2767"/>
                  </a:lnTo>
                  <a:cubicBezTo>
                    <a:pt x="0" y="2003"/>
                    <a:pt x="232" y="1311"/>
                    <a:pt x="607" y="811"/>
                  </a:cubicBezTo>
                  <a:cubicBezTo>
                    <a:pt x="983" y="310"/>
                    <a:pt x="1501" y="0"/>
                    <a:pt x="2074" y="0"/>
                  </a:cubicBezTo>
                  <a:lnTo>
                    <a:pt x="15034" y="0"/>
                  </a:lnTo>
                  <a:cubicBezTo>
                    <a:pt x="15606" y="0"/>
                    <a:pt x="16125" y="310"/>
                    <a:pt x="16500" y="811"/>
                  </a:cubicBezTo>
                  <a:cubicBezTo>
                    <a:pt x="16875" y="1311"/>
                    <a:pt x="17107" y="2003"/>
                    <a:pt x="17107" y="2767"/>
                  </a:cubicBezTo>
                  <a:lnTo>
                    <a:pt x="17107" y="4381"/>
                  </a:lnTo>
                  <a:lnTo>
                    <a:pt x="17107" y="8532"/>
                  </a:lnTo>
                  <a:lnTo>
                    <a:pt x="17107" y="12676"/>
                  </a:lnTo>
                  <a:cubicBezTo>
                    <a:pt x="17107" y="13441"/>
                    <a:pt x="16886" y="14134"/>
                    <a:pt x="16522" y="14637"/>
                  </a:cubicBezTo>
                  <a:cubicBezTo>
                    <a:pt x="16159" y="15139"/>
                    <a:pt x="15651" y="15450"/>
                    <a:pt x="15079" y="15450"/>
                  </a:cubicBezTo>
                  <a:lnTo>
                    <a:pt x="9158" y="15450"/>
                  </a:lnTo>
                  <a:lnTo>
                    <a:pt x="6912" y="15450"/>
                  </a:lnTo>
                  <a:close/>
                </a:path>
              </a:pathLst>
            </a:custGeom>
            <a:grp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66" name="Shape 34219">
              <a:extLst>
                <a:ext uri="{FF2B5EF4-FFF2-40B4-BE49-F238E27FC236}">
                  <a16:creationId xmlns:a16="http://schemas.microsoft.com/office/drawing/2014/main" xmlns="" id="{9B638064-1B05-4184-BB03-12606F035630}"/>
                </a:ext>
              </a:extLst>
            </p:cNvPr>
            <p:cNvSpPr/>
            <p:nvPr/>
          </p:nvSpPr>
          <p:spPr>
            <a:xfrm>
              <a:off x="4612675" y="4919169"/>
              <a:ext cx="109568" cy="143834"/>
            </a:xfrm>
            <a:custGeom>
              <a:avLst/>
              <a:gdLst/>
              <a:ahLst/>
              <a:cxnLst>
                <a:cxn ang="0">
                  <a:pos x="wd2" y="hd2"/>
                </a:cxn>
                <a:cxn ang="5400000">
                  <a:pos x="wd2" y="hd2"/>
                </a:cxn>
                <a:cxn ang="10800000">
                  <a:pos x="wd2" y="hd2"/>
                </a:cxn>
                <a:cxn ang="16200000">
                  <a:pos x="wd2" y="hd2"/>
                </a:cxn>
              </a:cxnLst>
              <a:rect l="0" t="0" r="r" b="b"/>
              <a:pathLst>
                <a:path w="21600" h="21600" extrusionOk="0">
                  <a:moveTo>
                    <a:pt x="831" y="0"/>
                  </a:moveTo>
                  <a:cubicBezTo>
                    <a:pt x="372" y="0"/>
                    <a:pt x="0" y="302"/>
                    <a:pt x="0" y="675"/>
                  </a:cubicBezTo>
                  <a:cubicBezTo>
                    <a:pt x="0" y="1048"/>
                    <a:pt x="372" y="1350"/>
                    <a:pt x="831" y="1350"/>
                  </a:cubicBezTo>
                  <a:lnTo>
                    <a:pt x="20769" y="1350"/>
                  </a:lnTo>
                  <a:cubicBezTo>
                    <a:pt x="21228" y="1350"/>
                    <a:pt x="21600" y="1048"/>
                    <a:pt x="21600" y="675"/>
                  </a:cubicBezTo>
                  <a:cubicBezTo>
                    <a:pt x="21600" y="302"/>
                    <a:pt x="21228" y="0"/>
                    <a:pt x="20769" y="0"/>
                  </a:cubicBezTo>
                  <a:lnTo>
                    <a:pt x="831" y="0"/>
                  </a:lnTo>
                  <a:close/>
                  <a:moveTo>
                    <a:pt x="831" y="2025"/>
                  </a:moveTo>
                  <a:lnTo>
                    <a:pt x="831" y="15525"/>
                  </a:lnTo>
                  <a:cubicBezTo>
                    <a:pt x="831" y="15525"/>
                    <a:pt x="20769" y="15525"/>
                    <a:pt x="20769" y="15525"/>
                  </a:cubicBezTo>
                  <a:lnTo>
                    <a:pt x="20769" y="2025"/>
                  </a:lnTo>
                  <a:lnTo>
                    <a:pt x="831" y="2025"/>
                  </a:lnTo>
                  <a:close/>
                  <a:moveTo>
                    <a:pt x="15785" y="4050"/>
                  </a:moveTo>
                  <a:lnTo>
                    <a:pt x="18277" y="4050"/>
                  </a:lnTo>
                  <a:cubicBezTo>
                    <a:pt x="18277" y="4050"/>
                    <a:pt x="18277" y="13500"/>
                    <a:pt x="18277" y="13500"/>
                  </a:cubicBezTo>
                  <a:lnTo>
                    <a:pt x="15785" y="13500"/>
                  </a:lnTo>
                  <a:lnTo>
                    <a:pt x="15785" y="4050"/>
                  </a:lnTo>
                  <a:close/>
                  <a:moveTo>
                    <a:pt x="7477" y="6750"/>
                  </a:moveTo>
                  <a:lnTo>
                    <a:pt x="9969" y="6750"/>
                  </a:lnTo>
                  <a:cubicBezTo>
                    <a:pt x="9969" y="6750"/>
                    <a:pt x="9969" y="13500"/>
                    <a:pt x="9969" y="13500"/>
                  </a:cubicBezTo>
                  <a:lnTo>
                    <a:pt x="7477" y="13500"/>
                  </a:lnTo>
                  <a:lnTo>
                    <a:pt x="7477" y="6750"/>
                  </a:lnTo>
                  <a:close/>
                  <a:moveTo>
                    <a:pt x="11631" y="8775"/>
                  </a:moveTo>
                  <a:lnTo>
                    <a:pt x="14123" y="8775"/>
                  </a:lnTo>
                  <a:cubicBezTo>
                    <a:pt x="14123" y="8775"/>
                    <a:pt x="14123" y="13500"/>
                    <a:pt x="14123" y="13500"/>
                  </a:cubicBezTo>
                  <a:lnTo>
                    <a:pt x="11631" y="13500"/>
                  </a:lnTo>
                  <a:lnTo>
                    <a:pt x="11631" y="8775"/>
                  </a:lnTo>
                  <a:close/>
                  <a:moveTo>
                    <a:pt x="3323" y="10800"/>
                  </a:moveTo>
                  <a:lnTo>
                    <a:pt x="5815" y="10800"/>
                  </a:lnTo>
                  <a:cubicBezTo>
                    <a:pt x="5815" y="10800"/>
                    <a:pt x="5815" y="13500"/>
                    <a:pt x="5815" y="13500"/>
                  </a:cubicBezTo>
                  <a:lnTo>
                    <a:pt x="3323" y="13500"/>
                  </a:lnTo>
                  <a:lnTo>
                    <a:pt x="3323" y="10800"/>
                  </a:lnTo>
                  <a:close/>
                  <a:moveTo>
                    <a:pt x="3323" y="16200"/>
                  </a:moveTo>
                  <a:lnTo>
                    <a:pt x="1662" y="21600"/>
                  </a:lnTo>
                  <a:lnTo>
                    <a:pt x="3323" y="21600"/>
                  </a:lnTo>
                  <a:lnTo>
                    <a:pt x="4985" y="16200"/>
                  </a:lnTo>
                  <a:cubicBezTo>
                    <a:pt x="4985" y="16200"/>
                    <a:pt x="3323" y="16200"/>
                    <a:pt x="3323" y="16200"/>
                  </a:cubicBezTo>
                  <a:close/>
                  <a:moveTo>
                    <a:pt x="9969" y="16200"/>
                  </a:moveTo>
                  <a:lnTo>
                    <a:pt x="9969" y="21600"/>
                  </a:lnTo>
                  <a:lnTo>
                    <a:pt x="11615" y="21600"/>
                  </a:lnTo>
                  <a:cubicBezTo>
                    <a:pt x="11615" y="21600"/>
                    <a:pt x="11631" y="16200"/>
                    <a:pt x="11631" y="16200"/>
                  </a:cubicBezTo>
                  <a:lnTo>
                    <a:pt x="9969" y="16200"/>
                  </a:lnTo>
                  <a:close/>
                  <a:moveTo>
                    <a:pt x="16615" y="16200"/>
                  </a:moveTo>
                  <a:lnTo>
                    <a:pt x="18277" y="21600"/>
                  </a:lnTo>
                  <a:lnTo>
                    <a:pt x="19938" y="21600"/>
                  </a:lnTo>
                  <a:cubicBezTo>
                    <a:pt x="19938" y="21600"/>
                    <a:pt x="18277" y="16200"/>
                    <a:pt x="18277" y="16200"/>
                  </a:cubicBezTo>
                  <a:lnTo>
                    <a:pt x="16615" y="16200"/>
                  </a:ln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9" name="Shape 34222">
              <a:extLst>
                <a:ext uri="{FF2B5EF4-FFF2-40B4-BE49-F238E27FC236}">
                  <a16:creationId xmlns:a16="http://schemas.microsoft.com/office/drawing/2014/main" xmlns="" id="{9C49DAF9-2982-4A17-9671-61AD3DD09A57}"/>
                </a:ext>
              </a:extLst>
            </p:cNvPr>
            <p:cNvSpPr/>
            <p:nvPr/>
          </p:nvSpPr>
          <p:spPr>
            <a:xfrm>
              <a:off x="4836856" y="5005067"/>
              <a:ext cx="125797" cy="134156"/>
            </a:xfrm>
            <a:custGeom>
              <a:avLst/>
              <a:gdLst/>
              <a:ahLst/>
              <a:cxnLst>
                <a:cxn ang="0">
                  <a:pos x="wd2" y="hd2"/>
                </a:cxn>
                <a:cxn ang="5400000">
                  <a:pos x="wd2" y="hd2"/>
                </a:cxn>
                <a:cxn ang="10800000">
                  <a:pos x="wd2" y="hd2"/>
                </a:cxn>
                <a:cxn ang="16200000">
                  <a:pos x="wd2" y="hd2"/>
                </a:cxn>
              </a:cxnLst>
              <a:rect l="0" t="0" r="r" b="b"/>
              <a:pathLst>
                <a:path w="21317" h="21317" extrusionOk="0">
                  <a:moveTo>
                    <a:pt x="7792" y="27"/>
                  </a:moveTo>
                  <a:cubicBezTo>
                    <a:pt x="7372" y="141"/>
                    <a:pt x="7122" y="573"/>
                    <a:pt x="7234" y="993"/>
                  </a:cubicBezTo>
                  <a:lnTo>
                    <a:pt x="7836" y="3244"/>
                  </a:lnTo>
                  <a:cubicBezTo>
                    <a:pt x="8357" y="3022"/>
                    <a:pt x="8864" y="2878"/>
                    <a:pt x="9346" y="2789"/>
                  </a:cubicBezTo>
                  <a:lnTo>
                    <a:pt x="8758" y="585"/>
                  </a:lnTo>
                  <a:cubicBezTo>
                    <a:pt x="8645" y="164"/>
                    <a:pt x="8213" y="-85"/>
                    <a:pt x="7792" y="27"/>
                  </a:cubicBezTo>
                  <a:close/>
                  <a:moveTo>
                    <a:pt x="13442" y="41"/>
                  </a:moveTo>
                  <a:cubicBezTo>
                    <a:pt x="13020" y="-71"/>
                    <a:pt x="12588" y="179"/>
                    <a:pt x="12475" y="600"/>
                  </a:cubicBezTo>
                  <a:lnTo>
                    <a:pt x="11888" y="2784"/>
                  </a:lnTo>
                  <a:cubicBezTo>
                    <a:pt x="12441" y="2878"/>
                    <a:pt x="12949" y="3027"/>
                    <a:pt x="13408" y="3203"/>
                  </a:cubicBezTo>
                  <a:lnTo>
                    <a:pt x="13998" y="1007"/>
                  </a:lnTo>
                  <a:cubicBezTo>
                    <a:pt x="14110" y="585"/>
                    <a:pt x="13862" y="154"/>
                    <a:pt x="13442" y="41"/>
                  </a:cubicBezTo>
                  <a:close/>
                  <a:moveTo>
                    <a:pt x="585" y="12411"/>
                  </a:moveTo>
                  <a:cubicBezTo>
                    <a:pt x="164" y="12524"/>
                    <a:pt x="-86" y="12956"/>
                    <a:pt x="27" y="13377"/>
                  </a:cubicBezTo>
                  <a:cubicBezTo>
                    <a:pt x="139" y="13798"/>
                    <a:pt x="571" y="14047"/>
                    <a:pt x="992" y="13934"/>
                  </a:cubicBezTo>
                  <a:lnTo>
                    <a:pt x="3181" y="13347"/>
                  </a:lnTo>
                  <a:cubicBezTo>
                    <a:pt x="3009" y="12885"/>
                    <a:pt x="2865" y="12376"/>
                    <a:pt x="2775" y="11823"/>
                  </a:cubicBezTo>
                  <a:cubicBezTo>
                    <a:pt x="2775" y="11823"/>
                    <a:pt x="585" y="12411"/>
                    <a:pt x="585" y="12411"/>
                  </a:cubicBezTo>
                  <a:close/>
                  <a:moveTo>
                    <a:pt x="1013" y="7169"/>
                  </a:moveTo>
                  <a:cubicBezTo>
                    <a:pt x="592" y="7056"/>
                    <a:pt x="160" y="7306"/>
                    <a:pt x="47" y="7727"/>
                  </a:cubicBezTo>
                  <a:cubicBezTo>
                    <a:pt x="-66" y="8148"/>
                    <a:pt x="184" y="8580"/>
                    <a:pt x="604" y="8692"/>
                  </a:cubicBezTo>
                  <a:lnTo>
                    <a:pt x="2805" y="9281"/>
                  </a:lnTo>
                  <a:cubicBezTo>
                    <a:pt x="2896" y="8799"/>
                    <a:pt x="3046" y="8293"/>
                    <a:pt x="3273" y="7773"/>
                  </a:cubicBezTo>
                  <a:cubicBezTo>
                    <a:pt x="3273" y="7773"/>
                    <a:pt x="1013" y="7169"/>
                    <a:pt x="1013" y="7169"/>
                  </a:cubicBezTo>
                  <a:close/>
                  <a:moveTo>
                    <a:pt x="2889" y="2841"/>
                  </a:moveTo>
                  <a:cubicBezTo>
                    <a:pt x="2581" y="3148"/>
                    <a:pt x="2580" y="3648"/>
                    <a:pt x="2888" y="3956"/>
                  </a:cubicBezTo>
                  <a:lnTo>
                    <a:pt x="4607" y="5675"/>
                  </a:lnTo>
                  <a:cubicBezTo>
                    <a:pt x="4732" y="5529"/>
                    <a:pt x="5572" y="4695"/>
                    <a:pt x="5727" y="4563"/>
                  </a:cubicBezTo>
                  <a:lnTo>
                    <a:pt x="4004" y="2840"/>
                  </a:lnTo>
                  <a:cubicBezTo>
                    <a:pt x="3696" y="2532"/>
                    <a:pt x="3197" y="2533"/>
                    <a:pt x="2889" y="2841"/>
                  </a:cubicBezTo>
                  <a:close/>
                  <a:moveTo>
                    <a:pt x="15285" y="5439"/>
                  </a:moveTo>
                  <a:cubicBezTo>
                    <a:pt x="13524" y="3930"/>
                    <a:pt x="9472" y="2164"/>
                    <a:pt x="5822" y="5814"/>
                  </a:cubicBezTo>
                  <a:cubicBezTo>
                    <a:pt x="5821" y="5815"/>
                    <a:pt x="5821" y="5815"/>
                    <a:pt x="5821" y="5816"/>
                  </a:cubicBezTo>
                  <a:cubicBezTo>
                    <a:pt x="5820" y="5816"/>
                    <a:pt x="5819" y="5817"/>
                    <a:pt x="5819" y="5817"/>
                  </a:cubicBezTo>
                  <a:cubicBezTo>
                    <a:pt x="5819" y="5818"/>
                    <a:pt x="5818" y="5818"/>
                    <a:pt x="5818" y="5819"/>
                  </a:cubicBezTo>
                  <a:cubicBezTo>
                    <a:pt x="5817" y="5819"/>
                    <a:pt x="5817" y="5820"/>
                    <a:pt x="5816" y="5820"/>
                  </a:cubicBezTo>
                  <a:cubicBezTo>
                    <a:pt x="2166" y="9471"/>
                    <a:pt x="3932" y="13524"/>
                    <a:pt x="5440" y="15285"/>
                  </a:cubicBezTo>
                  <a:cubicBezTo>
                    <a:pt x="6807" y="16868"/>
                    <a:pt x="9202" y="17222"/>
                    <a:pt x="9535" y="17322"/>
                  </a:cubicBezTo>
                  <a:cubicBezTo>
                    <a:pt x="10076" y="17484"/>
                    <a:pt x="12612" y="17632"/>
                    <a:pt x="13467" y="18402"/>
                  </a:cubicBezTo>
                  <a:cubicBezTo>
                    <a:pt x="14644" y="19461"/>
                    <a:pt x="14810" y="19354"/>
                    <a:pt x="15487" y="18942"/>
                  </a:cubicBezTo>
                  <a:cubicBezTo>
                    <a:pt x="16178" y="18522"/>
                    <a:pt x="18522" y="16178"/>
                    <a:pt x="18942" y="15487"/>
                  </a:cubicBezTo>
                  <a:cubicBezTo>
                    <a:pt x="19354" y="14810"/>
                    <a:pt x="19461" y="14644"/>
                    <a:pt x="18401" y="13467"/>
                  </a:cubicBezTo>
                  <a:cubicBezTo>
                    <a:pt x="17632" y="12612"/>
                    <a:pt x="17484" y="10075"/>
                    <a:pt x="17321" y="9534"/>
                  </a:cubicBezTo>
                  <a:cubicBezTo>
                    <a:pt x="17222" y="9201"/>
                    <a:pt x="16868" y="6805"/>
                    <a:pt x="15285" y="5439"/>
                  </a:cubicBezTo>
                  <a:close/>
                  <a:moveTo>
                    <a:pt x="20706" y="16780"/>
                  </a:moveTo>
                  <a:cubicBezTo>
                    <a:pt x="20530" y="16603"/>
                    <a:pt x="20243" y="16603"/>
                    <a:pt x="20066" y="16780"/>
                  </a:cubicBezTo>
                  <a:lnTo>
                    <a:pt x="16780" y="20067"/>
                  </a:lnTo>
                  <a:cubicBezTo>
                    <a:pt x="16603" y="20244"/>
                    <a:pt x="16603" y="20531"/>
                    <a:pt x="16780" y="20707"/>
                  </a:cubicBezTo>
                  <a:lnTo>
                    <a:pt x="16780" y="20707"/>
                  </a:lnTo>
                  <a:cubicBezTo>
                    <a:pt x="16956" y="20884"/>
                    <a:pt x="17243" y="20884"/>
                    <a:pt x="17419" y="20707"/>
                  </a:cubicBezTo>
                  <a:lnTo>
                    <a:pt x="20706" y="17420"/>
                  </a:lnTo>
                  <a:cubicBezTo>
                    <a:pt x="20883" y="17243"/>
                    <a:pt x="20883" y="16956"/>
                    <a:pt x="20706" y="16780"/>
                  </a:cubicBezTo>
                  <a:cubicBezTo>
                    <a:pt x="20706" y="16780"/>
                    <a:pt x="20706" y="16780"/>
                    <a:pt x="20706" y="16780"/>
                  </a:cubicBezTo>
                  <a:close/>
                  <a:moveTo>
                    <a:pt x="19833" y="15906"/>
                  </a:moveTo>
                  <a:cubicBezTo>
                    <a:pt x="19656" y="15729"/>
                    <a:pt x="19370" y="15730"/>
                    <a:pt x="19193" y="15906"/>
                  </a:cubicBezTo>
                  <a:lnTo>
                    <a:pt x="15906" y="19194"/>
                  </a:lnTo>
                  <a:cubicBezTo>
                    <a:pt x="15729" y="19370"/>
                    <a:pt x="15729" y="19657"/>
                    <a:pt x="15906" y="19833"/>
                  </a:cubicBezTo>
                  <a:lnTo>
                    <a:pt x="15906" y="19833"/>
                  </a:lnTo>
                  <a:cubicBezTo>
                    <a:pt x="16082" y="20010"/>
                    <a:pt x="16369" y="20010"/>
                    <a:pt x="16546" y="19833"/>
                  </a:cubicBezTo>
                  <a:lnTo>
                    <a:pt x="19833" y="16546"/>
                  </a:lnTo>
                  <a:cubicBezTo>
                    <a:pt x="20009" y="16369"/>
                    <a:pt x="20009" y="16083"/>
                    <a:pt x="19833" y="15906"/>
                  </a:cubicBezTo>
                  <a:cubicBezTo>
                    <a:pt x="19833" y="15906"/>
                    <a:pt x="19833" y="15906"/>
                    <a:pt x="19833" y="15906"/>
                  </a:cubicBezTo>
                  <a:close/>
                  <a:moveTo>
                    <a:pt x="17867" y="20727"/>
                  </a:moveTo>
                  <a:lnTo>
                    <a:pt x="20726" y="17867"/>
                  </a:lnTo>
                  <a:cubicBezTo>
                    <a:pt x="21514" y="18656"/>
                    <a:pt x="21513" y="19935"/>
                    <a:pt x="20724" y="20724"/>
                  </a:cubicBezTo>
                  <a:cubicBezTo>
                    <a:pt x="19934" y="21514"/>
                    <a:pt x="18655" y="21515"/>
                    <a:pt x="17867" y="20727"/>
                  </a:cubicBezTo>
                  <a:close/>
                </a:path>
              </a:pathLst>
            </a:custGeom>
            <a:grp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70" name="Shape 34223">
              <a:extLst>
                <a:ext uri="{FF2B5EF4-FFF2-40B4-BE49-F238E27FC236}">
                  <a16:creationId xmlns:a16="http://schemas.microsoft.com/office/drawing/2014/main" xmlns="" id="{88078019-856B-4631-8991-BE4E07FB4945}"/>
                </a:ext>
              </a:extLst>
            </p:cNvPr>
            <p:cNvSpPr/>
            <p:nvPr/>
          </p:nvSpPr>
          <p:spPr>
            <a:xfrm>
              <a:off x="4790421" y="5340273"/>
              <a:ext cx="125480" cy="122964"/>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1" name="Shape 34224">
              <a:extLst>
                <a:ext uri="{FF2B5EF4-FFF2-40B4-BE49-F238E27FC236}">
                  <a16:creationId xmlns:a16="http://schemas.microsoft.com/office/drawing/2014/main" xmlns="" id="{010D9E70-549A-4C95-B0B9-56AC0033B585}"/>
                </a:ext>
              </a:extLst>
            </p:cNvPr>
            <p:cNvSpPr/>
            <p:nvPr/>
          </p:nvSpPr>
          <p:spPr>
            <a:xfrm>
              <a:off x="4688785" y="5012974"/>
              <a:ext cx="100808" cy="207724"/>
            </a:xfrm>
            <a:custGeom>
              <a:avLst/>
              <a:gdLst/>
              <a:ahLst/>
              <a:cxnLst>
                <a:cxn ang="0">
                  <a:pos x="wd2" y="hd2"/>
                </a:cxn>
                <a:cxn ang="5400000">
                  <a:pos x="wd2" y="hd2"/>
                </a:cxn>
                <a:cxn ang="10800000">
                  <a:pos x="wd2" y="hd2"/>
                </a:cxn>
                <a:cxn ang="16200000">
                  <a:pos x="wd2" y="hd2"/>
                </a:cxn>
              </a:cxnLst>
              <a:rect l="0" t="0" r="r" b="b"/>
              <a:pathLst>
                <a:path w="21436" h="21532" extrusionOk="0">
                  <a:moveTo>
                    <a:pt x="17698" y="0"/>
                  </a:moveTo>
                  <a:lnTo>
                    <a:pt x="16138" y="1685"/>
                  </a:lnTo>
                  <a:cubicBezTo>
                    <a:pt x="16052" y="1663"/>
                    <a:pt x="15626" y="1553"/>
                    <a:pt x="15626" y="1553"/>
                  </a:cubicBezTo>
                  <a:lnTo>
                    <a:pt x="14403" y="2878"/>
                  </a:lnTo>
                  <a:lnTo>
                    <a:pt x="14914" y="3010"/>
                  </a:lnTo>
                  <a:lnTo>
                    <a:pt x="14546" y="3408"/>
                  </a:lnTo>
                  <a:lnTo>
                    <a:pt x="2184" y="16751"/>
                  </a:lnTo>
                  <a:cubicBezTo>
                    <a:pt x="1744" y="17225"/>
                    <a:pt x="202" y="19746"/>
                    <a:pt x="516" y="20547"/>
                  </a:cubicBezTo>
                  <a:cubicBezTo>
                    <a:pt x="560" y="20662"/>
                    <a:pt x="644" y="20742"/>
                    <a:pt x="773" y="20775"/>
                  </a:cubicBezTo>
                  <a:cubicBezTo>
                    <a:pt x="1807" y="21040"/>
                    <a:pt x="5426" y="18252"/>
                    <a:pt x="5928" y="17710"/>
                  </a:cubicBezTo>
                  <a:lnTo>
                    <a:pt x="18283" y="4367"/>
                  </a:lnTo>
                  <a:lnTo>
                    <a:pt x="18652" y="3969"/>
                  </a:lnTo>
                  <a:lnTo>
                    <a:pt x="19186" y="4106"/>
                  </a:lnTo>
                  <a:lnTo>
                    <a:pt x="14380" y="9291"/>
                  </a:lnTo>
                  <a:lnTo>
                    <a:pt x="15147" y="9488"/>
                  </a:lnTo>
                  <a:lnTo>
                    <a:pt x="21176" y="2979"/>
                  </a:lnTo>
                  <a:cubicBezTo>
                    <a:pt x="21176" y="2979"/>
                    <a:pt x="20341" y="2767"/>
                    <a:pt x="19876" y="2647"/>
                  </a:cubicBezTo>
                  <a:lnTo>
                    <a:pt x="21436" y="963"/>
                  </a:lnTo>
                  <a:cubicBezTo>
                    <a:pt x="21436" y="963"/>
                    <a:pt x="17698" y="0"/>
                    <a:pt x="17698" y="0"/>
                  </a:cubicBezTo>
                  <a:close/>
                  <a:moveTo>
                    <a:pt x="516" y="20547"/>
                  </a:moveTo>
                  <a:cubicBezTo>
                    <a:pt x="504" y="20509"/>
                    <a:pt x="483" y="20481"/>
                    <a:pt x="479" y="20436"/>
                  </a:cubicBezTo>
                  <a:lnTo>
                    <a:pt x="223" y="20708"/>
                  </a:lnTo>
                  <a:cubicBezTo>
                    <a:pt x="120" y="20820"/>
                    <a:pt x="-164" y="21449"/>
                    <a:pt x="129" y="21525"/>
                  </a:cubicBezTo>
                  <a:cubicBezTo>
                    <a:pt x="423" y="21600"/>
                    <a:pt x="1188" y="21095"/>
                    <a:pt x="1291" y="20984"/>
                  </a:cubicBezTo>
                  <a:lnTo>
                    <a:pt x="1546" y="20707"/>
                  </a:lnTo>
                  <a:cubicBezTo>
                    <a:pt x="1228" y="20825"/>
                    <a:pt x="959" y="20878"/>
                    <a:pt x="774" y="20830"/>
                  </a:cubicBezTo>
                  <a:cubicBezTo>
                    <a:pt x="630" y="20793"/>
                    <a:pt x="555" y="20685"/>
                    <a:pt x="516" y="20547"/>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2" name="Shape 34225">
              <a:extLst>
                <a:ext uri="{FF2B5EF4-FFF2-40B4-BE49-F238E27FC236}">
                  <a16:creationId xmlns:a16="http://schemas.microsoft.com/office/drawing/2014/main" xmlns="" id="{775DBFF1-C290-45E9-BBFC-F16599B2015E}"/>
                </a:ext>
              </a:extLst>
            </p:cNvPr>
            <p:cNvSpPr/>
            <p:nvPr/>
          </p:nvSpPr>
          <p:spPr>
            <a:xfrm>
              <a:off x="5060357" y="5082022"/>
              <a:ext cx="119496" cy="35397"/>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9" name="Shape 34232">
              <a:extLst>
                <a:ext uri="{FF2B5EF4-FFF2-40B4-BE49-F238E27FC236}">
                  <a16:creationId xmlns:a16="http://schemas.microsoft.com/office/drawing/2014/main" xmlns="" id="{C4CF1790-3CFF-4974-9976-2B2ADFC2CC42}"/>
                </a:ext>
              </a:extLst>
            </p:cNvPr>
            <p:cNvSpPr/>
            <p:nvPr/>
          </p:nvSpPr>
          <p:spPr>
            <a:xfrm>
              <a:off x="4779882" y="5090974"/>
              <a:ext cx="36672" cy="83833"/>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4" name="Shape 34247">
              <a:extLst>
                <a:ext uri="{FF2B5EF4-FFF2-40B4-BE49-F238E27FC236}">
                  <a16:creationId xmlns:a16="http://schemas.microsoft.com/office/drawing/2014/main" xmlns="" id="{0B2EFFA9-2EA3-466B-B846-8BE57490F876}"/>
                </a:ext>
              </a:extLst>
            </p:cNvPr>
            <p:cNvSpPr/>
            <p:nvPr/>
          </p:nvSpPr>
          <p:spPr>
            <a:xfrm>
              <a:off x="4481101" y="5278695"/>
              <a:ext cx="101093" cy="107826"/>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grp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95" name="Shape 34248">
              <a:extLst>
                <a:ext uri="{FF2B5EF4-FFF2-40B4-BE49-F238E27FC236}">
                  <a16:creationId xmlns:a16="http://schemas.microsoft.com/office/drawing/2014/main" xmlns="" id="{9BA16AC0-C8B5-4D11-9D61-26275AE15410}"/>
                </a:ext>
              </a:extLst>
            </p:cNvPr>
            <p:cNvSpPr/>
            <p:nvPr/>
          </p:nvSpPr>
          <p:spPr>
            <a:xfrm>
              <a:off x="4610095" y="5099909"/>
              <a:ext cx="74776" cy="74761"/>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6" name="Shape 34249">
              <a:extLst>
                <a:ext uri="{FF2B5EF4-FFF2-40B4-BE49-F238E27FC236}">
                  <a16:creationId xmlns:a16="http://schemas.microsoft.com/office/drawing/2014/main" xmlns="" id="{7D01EEEC-9B58-49FD-BD20-666F7056297E}"/>
                </a:ext>
              </a:extLst>
            </p:cNvPr>
            <p:cNvSpPr/>
            <p:nvPr/>
          </p:nvSpPr>
          <p:spPr>
            <a:xfrm>
              <a:off x="4584961" y="5188105"/>
              <a:ext cx="102239" cy="146717"/>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7" name="Shape 34250">
              <a:extLst>
                <a:ext uri="{FF2B5EF4-FFF2-40B4-BE49-F238E27FC236}">
                  <a16:creationId xmlns:a16="http://schemas.microsoft.com/office/drawing/2014/main" xmlns="" id="{8DFF47AA-403F-49CA-8BAF-D1936C379BC9}"/>
                </a:ext>
              </a:extLst>
            </p:cNvPr>
            <p:cNvSpPr/>
            <p:nvPr/>
          </p:nvSpPr>
          <p:spPr>
            <a:xfrm>
              <a:off x="4691038" y="5339576"/>
              <a:ext cx="61340" cy="84421"/>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8" name="Shape 34251">
              <a:extLst>
                <a:ext uri="{FF2B5EF4-FFF2-40B4-BE49-F238E27FC236}">
                  <a16:creationId xmlns:a16="http://schemas.microsoft.com/office/drawing/2014/main" xmlns="" id="{1D69E9D1-EE27-4623-9553-502CA96B973E}"/>
                </a:ext>
              </a:extLst>
            </p:cNvPr>
            <p:cNvSpPr/>
            <p:nvPr/>
          </p:nvSpPr>
          <p:spPr>
            <a:xfrm>
              <a:off x="4557812" y="5365429"/>
              <a:ext cx="68022" cy="8383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9" name="Shape 34252">
              <a:extLst>
                <a:ext uri="{FF2B5EF4-FFF2-40B4-BE49-F238E27FC236}">
                  <a16:creationId xmlns:a16="http://schemas.microsoft.com/office/drawing/2014/main" xmlns="" id="{503C5D0B-EAFD-4574-9E5B-6E6961DF0B81}"/>
                </a:ext>
              </a:extLst>
            </p:cNvPr>
            <p:cNvSpPr/>
            <p:nvPr/>
          </p:nvSpPr>
          <p:spPr>
            <a:xfrm>
              <a:off x="4697866" y="5535210"/>
              <a:ext cx="99403" cy="72891"/>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grpFill/>
            <a:ln w="12700" cap="flat">
              <a:noFill/>
              <a:miter lim="400000"/>
            </a:ln>
            <a:effectLst/>
          </p:spPr>
          <p:txBody>
            <a:bodyPr wrap="square" lIns="20097" tIns="20097" rIns="20097" bIns="20097" numCol="1" anchor="b">
              <a:noAutofit/>
            </a:bodyPr>
            <a:lstStyle/>
            <a:p>
              <a:endParaRPr lang="en-GB" sz="1899" dirty="0">
                <a:latin typeface="Lato Light" panose="020F0502020204030203" pitchFamily="34" charset="0"/>
              </a:endParaRPr>
            </a:p>
          </p:txBody>
        </p:sp>
        <p:sp>
          <p:nvSpPr>
            <p:cNvPr id="100" name="Shape 34253">
              <a:extLst>
                <a:ext uri="{FF2B5EF4-FFF2-40B4-BE49-F238E27FC236}">
                  <a16:creationId xmlns:a16="http://schemas.microsoft.com/office/drawing/2014/main" xmlns="" id="{6BD9D872-C1E2-497D-B5FA-F73488E65123}"/>
                </a:ext>
              </a:extLst>
            </p:cNvPr>
            <p:cNvSpPr/>
            <p:nvPr/>
          </p:nvSpPr>
          <p:spPr>
            <a:xfrm rot="1920000">
              <a:off x="4911528" y="5486768"/>
              <a:ext cx="129150" cy="38257"/>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7" name="Shape 34260">
              <a:extLst>
                <a:ext uri="{FF2B5EF4-FFF2-40B4-BE49-F238E27FC236}">
                  <a16:creationId xmlns:a16="http://schemas.microsoft.com/office/drawing/2014/main" xmlns="" id="{1E576DAF-3BA5-44D5-97DA-01521F521545}"/>
                </a:ext>
              </a:extLst>
            </p:cNvPr>
            <p:cNvSpPr/>
            <p:nvPr/>
          </p:nvSpPr>
          <p:spPr>
            <a:xfrm>
              <a:off x="4520365" y="4987200"/>
              <a:ext cx="78425" cy="74761"/>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8" name="Shape 34261">
              <a:extLst>
                <a:ext uri="{FF2B5EF4-FFF2-40B4-BE49-F238E27FC236}">
                  <a16:creationId xmlns:a16="http://schemas.microsoft.com/office/drawing/2014/main" xmlns="" id="{0A470D7C-960B-499D-8E76-EF36C01475CC}"/>
                </a:ext>
              </a:extLst>
            </p:cNvPr>
            <p:cNvSpPr/>
            <p:nvPr/>
          </p:nvSpPr>
          <p:spPr>
            <a:xfrm>
              <a:off x="5042557" y="5407997"/>
              <a:ext cx="104862" cy="90885"/>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grpSp>
      <p:sp>
        <p:nvSpPr>
          <p:cNvPr id="113" name="Circle">
            <a:extLst>
              <a:ext uri="{FF2B5EF4-FFF2-40B4-BE49-F238E27FC236}">
                <a16:creationId xmlns:a16="http://schemas.microsoft.com/office/drawing/2014/main" xmlns="" id="{37660198-79D8-4DBE-9D72-924665D39D39}"/>
              </a:ext>
            </a:extLst>
          </p:cNvPr>
          <p:cNvSpPr/>
          <p:nvPr/>
        </p:nvSpPr>
        <p:spPr>
          <a:xfrm flipV="1">
            <a:off x="7384922" y="2766886"/>
            <a:ext cx="129333" cy="129333"/>
          </a:xfrm>
          <a:prstGeom prst="diamond">
            <a:avLst/>
          </a:prstGeom>
          <a:solidFill>
            <a:schemeClr val="tx2"/>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15" name="TextBox 148">
            <a:extLst>
              <a:ext uri="{FF2B5EF4-FFF2-40B4-BE49-F238E27FC236}">
                <a16:creationId xmlns:a16="http://schemas.microsoft.com/office/drawing/2014/main" xmlns="" id="{A93EE695-8723-485F-A395-5BEF5F341720}"/>
              </a:ext>
            </a:extLst>
          </p:cNvPr>
          <p:cNvSpPr txBox="1"/>
          <p:nvPr/>
        </p:nvSpPr>
        <p:spPr>
          <a:xfrm>
            <a:off x="7634777" y="2630727"/>
            <a:ext cx="3366947" cy="400110"/>
          </a:xfrm>
          <a:prstGeom prst="rect">
            <a:avLst/>
          </a:prstGeom>
          <a:noFill/>
        </p:spPr>
        <p:txBody>
          <a:bodyPr wrap="none" rtlCol="0" anchor="ctr" anchorCtr="0">
            <a:spAutoFit/>
          </a:bodyPr>
          <a:lstStyle/>
          <a:p>
            <a:r>
              <a:rPr lang="en-GB" sz="2000" dirty="0">
                <a:solidFill>
                  <a:srgbClr val="F95C2C"/>
                </a:solidFill>
                <a:latin typeface="+mj-lt"/>
                <a:ea typeface="League Spartan" charset="0"/>
                <a:cs typeface="Poppins" pitchFamily="2" charset="77"/>
              </a:rPr>
              <a:t>Las personas se centran en objetivos comunes</a:t>
            </a:r>
          </a:p>
        </p:txBody>
      </p:sp>
      <p:sp>
        <p:nvSpPr>
          <p:cNvPr id="125" name="TextBox 148">
            <a:extLst>
              <a:ext uri="{FF2B5EF4-FFF2-40B4-BE49-F238E27FC236}">
                <a16:creationId xmlns:a16="http://schemas.microsoft.com/office/drawing/2014/main" xmlns="" id="{E7F2FC67-D2C3-4AFB-89B8-B044FF5E280B}"/>
              </a:ext>
            </a:extLst>
          </p:cNvPr>
          <p:cNvSpPr txBox="1"/>
          <p:nvPr/>
        </p:nvSpPr>
        <p:spPr>
          <a:xfrm>
            <a:off x="7449588" y="1956890"/>
            <a:ext cx="3648948" cy="461665"/>
          </a:xfrm>
          <a:prstGeom prst="rect">
            <a:avLst/>
          </a:prstGeom>
          <a:noFill/>
        </p:spPr>
        <p:txBody>
          <a:bodyPr wrap="none" rtlCol="0" anchor="ctr" anchorCtr="0">
            <a:spAutoFit/>
          </a:bodyPr>
          <a:lstStyle/>
          <a:p>
            <a:r>
              <a:rPr lang="en-GB" sz="2400" b="1" dirty="0">
                <a:solidFill>
                  <a:schemeClr val="tx2"/>
                </a:solidFill>
                <a:latin typeface="+mj-lt"/>
                <a:ea typeface="League Spartan" charset="0"/>
                <a:cs typeface="Poppins" pitchFamily="2" charset="77"/>
              </a:rPr>
              <a:t>¿Qué ocurre durante la crisis?</a:t>
            </a:r>
          </a:p>
        </p:txBody>
      </p:sp>
      <p:sp>
        <p:nvSpPr>
          <p:cNvPr id="126" name="Circle">
            <a:extLst>
              <a:ext uri="{FF2B5EF4-FFF2-40B4-BE49-F238E27FC236}">
                <a16:creationId xmlns:a16="http://schemas.microsoft.com/office/drawing/2014/main" xmlns="" id="{67C959B5-6699-4C69-A124-EE96E3C78173}"/>
              </a:ext>
            </a:extLst>
          </p:cNvPr>
          <p:cNvSpPr/>
          <p:nvPr/>
        </p:nvSpPr>
        <p:spPr>
          <a:xfrm flipV="1">
            <a:off x="7384922" y="3398980"/>
            <a:ext cx="129333" cy="129333"/>
          </a:xfrm>
          <a:prstGeom prst="diamond">
            <a:avLst/>
          </a:prstGeom>
          <a:solidFill>
            <a:schemeClr val="tx2"/>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27" name="TextBox 148">
            <a:extLst>
              <a:ext uri="{FF2B5EF4-FFF2-40B4-BE49-F238E27FC236}">
                <a16:creationId xmlns:a16="http://schemas.microsoft.com/office/drawing/2014/main" xmlns="" id="{42CC3528-E2DC-417A-A107-66D134D8541B}"/>
              </a:ext>
            </a:extLst>
          </p:cNvPr>
          <p:cNvSpPr txBox="1"/>
          <p:nvPr/>
        </p:nvSpPr>
        <p:spPr>
          <a:xfrm>
            <a:off x="7634777" y="3262821"/>
            <a:ext cx="4274632" cy="400110"/>
          </a:xfrm>
          <a:prstGeom prst="rect">
            <a:avLst/>
          </a:prstGeom>
          <a:noFill/>
        </p:spPr>
        <p:txBody>
          <a:bodyPr wrap="none" rtlCol="0" anchor="ctr" anchorCtr="0">
            <a:spAutoFit/>
          </a:bodyPr>
          <a:lstStyle/>
          <a:p>
            <a:r>
              <a:rPr lang="en-GB" sz="2000" dirty="0">
                <a:solidFill>
                  <a:srgbClr val="F95C2C"/>
                </a:solidFill>
                <a:latin typeface="+mj-lt"/>
                <a:ea typeface="League Spartan" charset="0"/>
                <a:cs typeface="Poppins" pitchFamily="2" charset="77"/>
              </a:rPr>
              <a:t>La gente muestra un alto grado de franqueza</a:t>
            </a:r>
          </a:p>
        </p:txBody>
      </p:sp>
      <p:sp>
        <p:nvSpPr>
          <p:cNvPr id="128" name="Circle">
            <a:extLst>
              <a:ext uri="{FF2B5EF4-FFF2-40B4-BE49-F238E27FC236}">
                <a16:creationId xmlns:a16="http://schemas.microsoft.com/office/drawing/2014/main" xmlns="" id="{D778CC44-E217-49B4-8EE8-8082A368BCBE}"/>
              </a:ext>
            </a:extLst>
          </p:cNvPr>
          <p:cNvSpPr/>
          <p:nvPr/>
        </p:nvSpPr>
        <p:spPr>
          <a:xfrm flipV="1">
            <a:off x="7384922" y="4030788"/>
            <a:ext cx="129333" cy="129333"/>
          </a:xfrm>
          <a:prstGeom prst="diamond">
            <a:avLst/>
          </a:prstGeom>
          <a:solidFill>
            <a:schemeClr val="tx2"/>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29" name="TextBox 148">
            <a:extLst>
              <a:ext uri="{FF2B5EF4-FFF2-40B4-BE49-F238E27FC236}">
                <a16:creationId xmlns:a16="http://schemas.microsoft.com/office/drawing/2014/main" xmlns="" id="{BF346E9F-3023-4BE6-9931-F8F8646EA717}"/>
              </a:ext>
            </a:extLst>
          </p:cNvPr>
          <p:cNvSpPr txBox="1"/>
          <p:nvPr/>
        </p:nvSpPr>
        <p:spPr>
          <a:xfrm>
            <a:off x="7634778" y="3645923"/>
            <a:ext cx="4467362" cy="707886"/>
          </a:xfrm>
          <a:prstGeom prst="rect">
            <a:avLst/>
          </a:prstGeom>
          <a:noFill/>
        </p:spPr>
        <p:txBody>
          <a:bodyPr wrap="square" rtlCol="0" anchor="ctr" anchorCtr="0">
            <a:spAutoFit/>
          </a:bodyPr>
          <a:lstStyle/>
          <a:p>
            <a:r>
              <a:rPr lang="en-GB" sz="2000" dirty="0">
                <a:solidFill>
                  <a:srgbClr val="F95C2C"/>
                </a:solidFill>
                <a:latin typeface="+mj-lt"/>
                <a:ea typeface="League Spartan" charset="0"/>
                <a:cs typeface="Poppins" pitchFamily="2" charset="77"/>
              </a:rPr>
              <a:t>Se deja de lado la jerarquía estructural de la organización</a:t>
            </a:r>
          </a:p>
        </p:txBody>
      </p:sp>
      <p:sp>
        <p:nvSpPr>
          <p:cNvPr id="130" name="Circle">
            <a:extLst>
              <a:ext uri="{FF2B5EF4-FFF2-40B4-BE49-F238E27FC236}">
                <a16:creationId xmlns:a16="http://schemas.microsoft.com/office/drawing/2014/main" xmlns="" id="{44AFA874-E578-49B3-89A6-8D927256E3ED}"/>
              </a:ext>
            </a:extLst>
          </p:cNvPr>
          <p:cNvSpPr/>
          <p:nvPr/>
        </p:nvSpPr>
        <p:spPr>
          <a:xfrm flipV="1">
            <a:off x="7384922" y="4659106"/>
            <a:ext cx="129333" cy="129333"/>
          </a:xfrm>
          <a:prstGeom prst="diamond">
            <a:avLst/>
          </a:prstGeom>
          <a:solidFill>
            <a:schemeClr val="tx2"/>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31" name="TextBox 148">
            <a:extLst>
              <a:ext uri="{FF2B5EF4-FFF2-40B4-BE49-F238E27FC236}">
                <a16:creationId xmlns:a16="http://schemas.microsoft.com/office/drawing/2014/main" xmlns="" id="{B2354F85-BA58-4F91-995F-6D1DE2D00A79}"/>
              </a:ext>
            </a:extLst>
          </p:cNvPr>
          <p:cNvSpPr txBox="1"/>
          <p:nvPr/>
        </p:nvSpPr>
        <p:spPr>
          <a:xfrm>
            <a:off x="7634777" y="4522947"/>
            <a:ext cx="3142335" cy="400110"/>
          </a:xfrm>
          <a:prstGeom prst="rect">
            <a:avLst/>
          </a:prstGeom>
          <a:noFill/>
        </p:spPr>
        <p:txBody>
          <a:bodyPr wrap="none" rtlCol="0" anchor="ctr" anchorCtr="0">
            <a:spAutoFit/>
          </a:bodyPr>
          <a:lstStyle/>
          <a:p>
            <a:r>
              <a:rPr lang="en-GB" sz="2000" dirty="0">
                <a:solidFill>
                  <a:srgbClr val="F95C2C"/>
                </a:solidFill>
                <a:latin typeface="+mj-lt"/>
                <a:ea typeface="League Spartan" charset="0"/>
                <a:cs typeface="Poppins" pitchFamily="2" charset="77"/>
              </a:rPr>
              <a:t>Se mejoran las habilidades cognitivas</a:t>
            </a:r>
          </a:p>
        </p:txBody>
      </p:sp>
      <p:sp>
        <p:nvSpPr>
          <p:cNvPr id="132" name="Circle">
            <a:extLst>
              <a:ext uri="{FF2B5EF4-FFF2-40B4-BE49-F238E27FC236}">
                <a16:creationId xmlns:a16="http://schemas.microsoft.com/office/drawing/2014/main" xmlns="" id="{C9DB4A34-8F97-4DFC-8FEF-FB6121C51A7F}"/>
              </a:ext>
            </a:extLst>
          </p:cNvPr>
          <p:cNvSpPr/>
          <p:nvPr/>
        </p:nvSpPr>
        <p:spPr>
          <a:xfrm flipV="1">
            <a:off x="7384922" y="5291003"/>
            <a:ext cx="129333" cy="129333"/>
          </a:xfrm>
          <a:prstGeom prst="diamond">
            <a:avLst/>
          </a:prstGeom>
          <a:solidFill>
            <a:schemeClr val="tx2"/>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33" name="TextBox 148">
            <a:extLst>
              <a:ext uri="{FF2B5EF4-FFF2-40B4-BE49-F238E27FC236}">
                <a16:creationId xmlns:a16="http://schemas.microsoft.com/office/drawing/2014/main" xmlns="" id="{2FC92D9B-7A4B-4F29-9E6B-D9BE367CDE92}"/>
              </a:ext>
            </a:extLst>
          </p:cNvPr>
          <p:cNvSpPr txBox="1"/>
          <p:nvPr/>
        </p:nvSpPr>
        <p:spPr>
          <a:xfrm>
            <a:off x="7634777" y="5154844"/>
            <a:ext cx="3949223" cy="400110"/>
          </a:xfrm>
          <a:prstGeom prst="rect">
            <a:avLst/>
          </a:prstGeom>
          <a:noFill/>
        </p:spPr>
        <p:txBody>
          <a:bodyPr wrap="none" rtlCol="0" anchor="ctr" anchorCtr="0">
            <a:spAutoFit/>
          </a:bodyPr>
          <a:lstStyle/>
          <a:p>
            <a:r>
              <a:rPr lang="en-GB" sz="2000" dirty="0">
                <a:solidFill>
                  <a:srgbClr val="F95C2C"/>
                </a:solidFill>
                <a:latin typeface="+mj-lt"/>
                <a:ea typeface="League Spartan" charset="0"/>
                <a:cs typeface="Poppins" pitchFamily="2" charset="77"/>
              </a:rPr>
              <a:t>Los líderes asignan las tareas de forma más eficaz</a:t>
            </a:r>
          </a:p>
        </p:txBody>
      </p:sp>
      <p:grpSp>
        <p:nvGrpSpPr>
          <p:cNvPr id="6" name="Gruppieren 5">
            <a:extLst>
              <a:ext uri="{FF2B5EF4-FFF2-40B4-BE49-F238E27FC236}">
                <a16:creationId xmlns:a16="http://schemas.microsoft.com/office/drawing/2014/main" xmlns="" id="{FC619656-2086-4677-B753-A0AFE1BBBD7A}"/>
              </a:ext>
            </a:extLst>
          </p:cNvPr>
          <p:cNvGrpSpPr/>
          <p:nvPr/>
        </p:nvGrpSpPr>
        <p:grpSpPr>
          <a:xfrm>
            <a:off x="6285202" y="2599978"/>
            <a:ext cx="599320" cy="2320829"/>
            <a:chOff x="4532537" y="2369784"/>
            <a:chExt cx="599320" cy="2320829"/>
          </a:xfrm>
          <a:solidFill>
            <a:schemeClr val="accent2"/>
          </a:solidFill>
        </p:grpSpPr>
        <p:sp>
          <p:nvSpPr>
            <p:cNvPr id="14" name="Shape 34173">
              <a:extLst>
                <a:ext uri="{FF2B5EF4-FFF2-40B4-BE49-F238E27FC236}">
                  <a16:creationId xmlns:a16="http://schemas.microsoft.com/office/drawing/2014/main" xmlns="" id="{9642B620-7390-47DD-B61D-787D0344267A}"/>
                </a:ext>
              </a:extLst>
            </p:cNvPr>
            <p:cNvSpPr/>
            <p:nvPr/>
          </p:nvSpPr>
          <p:spPr>
            <a:xfrm>
              <a:off x="4532537" y="3870593"/>
              <a:ext cx="223505" cy="208685"/>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5" name="Shape 34174">
              <a:extLst>
                <a:ext uri="{FF2B5EF4-FFF2-40B4-BE49-F238E27FC236}">
                  <a16:creationId xmlns:a16="http://schemas.microsoft.com/office/drawing/2014/main" xmlns="" id="{70840DA8-47AA-43C7-99CF-68A621019445}"/>
                </a:ext>
              </a:extLst>
            </p:cNvPr>
            <p:cNvSpPr/>
            <p:nvPr/>
          </p:nvSpPr>
          <p:spPr>
            <a:xfrm>
              <a:off x="5001411" y="2621751"/>
              <a:ext cx="88898" cy="189636"/>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1" name="Shape 34179">
              <a:extLst>
                <a:ext uri="{FF2B5EF4-FFF2-40B4-BE49-F238E27FC236}">
                  <a16:creationId xmlns:a16="http://schemas.microsoft.com/office/drawing/2014/main" xmlns="" id="{AA9FC13B-9948-4CFB-85DF-824A26F453F4}"/>
                </a:ext>
              </a:extLst>
            </p:cNvPr>
            <p:cNvSpPr/>
            <p:nvPr/>
          </p:nvSpPr>
          <p:spPr>
            <a:xfrm>
              <a:off x="4723377" y="2369784"/>
              <a:ext cx="251721" cy="284432"/>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8" name="Shape 34186">
              <a:extLst>
                <a:ext uri="{FF2B5EF4-FFF2-40B4-BE49-F238E27FC236}">
                  <a16:creationId xmlns:a16="http://schemas.microsoft.com/office/drawing/2014/main" xmlns="" id="{B9E89E04-1C72-47A3-B50A-64CC7E4F9051}"/>
                </a:ext>
              </a:extLst>
            </p:cNvPr>
            <p:cNvSpPr/>
            <p:nvPr/>
          </p:nvSpPr>
          <p:spPr>
            <a:xfrm>
              <a:off x="4570672" y="2869116"/>
              <a:ext cx="169348" cy="234706"/>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9" name="Shape 34187">
              <a:extLst>
                <a:ext uri="{FF2B5EF4-FFF2-40B4-BE49-F238E27FC236}">
                  <a16:creationId xmlns:a16="http://schemas.microsoft.com/office/drawing/2014/main" xmlns="" id="{12A1301A-FC0A-48D3-AC20-1EB2B797C6DD}"/>
                </a:ext>
              </a:extLst>
            </p:cNvPr>
            <p:cNvSpPr/>
            <p:nvPr/>
          </p:nvSpPr>
          <p:spPr>
            <a:xfrm>
              <a:off x="4801256" y="3967320"/>
              <a:ext cx="182276" cy="137806"/>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3" name="Shape 34188">
              <a:extLst>
                <a:ext uri="{FF2B5EF4-FFF2-40B4-BE49-F238E27FC236}">
                  <a16:creationId xmlns:a16="http://schemas.microsoft.com/office/drawing/2014/main" xmlns="" id="{1149FFB0-F92F-440F-B555-0F0C56017F53}"/>
                </a:ext>
              </a:extLst>
            </p:cNvPr>
            <p:cNvSpPr/>
            <p:nvPr/>
          </p:nvSpPr>
          <p:spPr>
            <a:xfrm>
              <a:off x="4864839" y="3232659"/>
              <a:ext cx="267018" cy="137486"/>
            </a:xfrm>
            <a:custGeom>
              <a:avLst/>
              <a:gdLst/>
              <a:ahLst/>
              <a:cxnLst>
                <a:cxn ang="0">
                  <a:pos x="wd2" y="hd2"/>
                </a:cxn>
                <a:cxn ang="5400000">
                  <a:pos x="wd2" y="hd2"/>
                </a:cxn>
                <a:cxn ang="10800000">
                  <a:pos x="wd2" y="hd2"/>
                </a:cxn>
                <a:cxn ang="16200000">
                  <a:pos x="wd2" y="hd2"/>
                </a:cxn>
              </a:cxnLst>
              <a:rect l="0" t="0" r="r" b="b"/>
              <a:pathLst>
                <a:path w="21600" h="21600" extrusionOk="0">
                  <a:moveTo>
                    <a:pt x="470" y="21600"/>
                  </a:moveTo>
                  <a:cubicBezTo>
                    <a:pt x="3196" y="21301"/>
                    <a:pt x="4520" y="17446"/>
                    <a:pt x="5606" y="13579"/>
                  </a:cubicBezTo>
                  <a:cubicBezTo>
                    <a:pt x="6868" y="17109"/>
                    <a:pt x="8385" y="20522"/>
                    <a:pt x="11056" y="20229"/>
                  </a:cubicBezTo>
                  <a:cubicBezTo>
                    <a:pt x="13700" y="19938"/>
                    <a:pt x="15043" y="16273"/>
                    <a:pt x="16113" y="12527"/>
                  </a:cubicBezTo>
                  <a:cubicBezTo>
                    <a:pt x="17383" y="16099"/>
                    <a:pt x="18898" y="19587"/>
                    <a:pt x="21600" y="19290"/>
                  </a:cubicBezTo>
                  <a:lnTo>
                    <a:pt x="21545" y="16807"/>
                  </a:lnTo>
                  <a:cubicBezTo>
                    <a:pt x="19258" y="17058"/>
                    <a:pt x="18061" y="13947"/>
                    <a:pt x="16772" y="10222"/>
                  </a:cubicBezTo>
                  <a:cubicBezTo>
                    <a:pt x="17878" y="6171"/>
                    <a:pt x="18899" y="2735"/>
                    <a:pt x="21214" y="2481"/>
                  </a:cubicBezTo>
                  <a:lnTo>
                    <a:pt x="21142" y="0"/>
                  </a:lnTo>
                  <a:cubicBezTo>
                    <a:pt x="18416" y="300"/>
                    <a:pt x="17080" y="4165"/>
                    <a:pt x="15994" y="8031"/>
                  </a:cubicBezTo>
                  <a:cubicBezTo>
                    <a:pt x="14732" y="4504"/>
                    <a:pt x="13210" y="1123"/>
                    <a:pt x="10541" y="1416"/>
                  </a:cubicBezTo>
                  <a:cubicBezTo>
                    <a:pt x="7892" y="1708"/>
                    <a:pt x="6571" y="5362"/>
                    <a:pt x="5501" y="9116"/>
                  </a:cubicBezTo>
                  <a:cubicBezTo>
                    <a:pt x="4229" y="5537"/>
                    <a:pt x="2706" y="2023"/>
                    <a:pt x="0" y="2320"/>
                  </a:cubicBezTo>
                  <a:cubicBezTo>
                    <a:pt x="0" y="2320"/>
                    <a:pt x="67" y="4802"/>
                    <a:pt x="67" y="4802"/>
                  </a:cubicBezTo>
                  <a:cubicBezTo>
                    <a:pt x="2361" y="4550"/>
                    <a:pt x="3548" y="7681"/>
                    <a:pt x="4841" y="11421"/>
                  </a:cubicBezTo>
                  <a:cubicBezTo>
                    <a:pt x="3737" y="15462"/>
                    <a:pt x="2709" y="18874"/>
                    <a:pt x="399" y="19128"/>
                  </a:cubicBezTo>
                  <a:lnTo>
                    <a:pt x="470" y="21600"/>
                  </a:lnTo>
                  <a:close/>
                  <a:moveTo>
                    <a:pt x="571" y="17516"/>
                  </a:moveTo>
                  <a:cubicBezTo>
                    <a:pt x="973" y="17463"/>
                    <a:pt x="1323" y="17289"/>
                    <a:pt x="1641" y="17020"/>
                  </a:cubicBezTo>
                  <a:cubicBezTo>
                    <a:pt x="1641" y="17020"/>
                    <a:pt x="1387" y="6572"/>
                    <a:pt x="1387" y="6572"/>
                  </a:cubicBezTo>
                  <a:cubicBezTo>
                    <a:pt x="1058" y="6378"/>
                    <a:pt x="699" y="6290"/>
                    <a:pt x="296" y="6330"/>
                  </a:cubicBezTo>
                  <a:lnTo>
                    <a:pt x="571" y="17516"/>
                  </a:lnTo>
                  <a:close/>
                  <a:moveTo>
                    <a:pt x="2649" y="15637"/>
                  </a:moveTo>
                  <a:cubicBezTo>
                    <a:pt x="3008" y="15009"/>
                    <a:pt x="3317" y="14212"/>
                    <a:pt x="3611" y="13297"/>
                  </a:cubicBezTo>
                  <a:lnTo>
                    <a:pt x="3530" y="9777"/>
                  </a:lnTo>
                  <a:cubicBezTo>
                    <a:pt x="3194" y="8935"/>
                    <a:pt x="2849" y="8211"/>
                    <a:pt x="2462" y="7671"/>
                  </a:cubicBezTo>
                  <a:lnTo>
                    <a:pt x="2649" y="15637"/>
                  </a:lnTo>
                  <a:close/>
                  <a:moveTo>
                    <a:pt x="6265" y="11274"/>
                  </a:moveTo>
                  <a:cubicBezTo>
                    <a:pt x="7335" y="7383"/>
                    <a:pt x="8366" y="4144"/>
                    <a:pt x="10612" y="3897"/>
                  </a:cubicBezTo>
                  <a:cubicBezTo>
                    <a:pt x="12876" y="3648"/>
                    <a:pt x="14062" y="6687"/>
                    <a:pt x="15336" y="10361"/>
                  </a:cubicBezTo>
                  <a:cubicBezTo>
                    <a:pt x="14269" y="14240"/>
                    <a:pt x="13242" y="17500"/>
                    <a:pt x="11001" y="17746"/>
                  </a:cubicBezTo>
                  <a:cubicBezTo>
                    <a:pt x="8738" y="17995"/>
                    <a:pt x="7539" y="14948"/>
                    <a:pt x="6265" y="11274"/>
                  </a:cubicBezTo>
                  <a:close/>
                  <a:moveTo>
                    <a:pt x="8019" y="13315"/>
                  </a:moveTo>
                  <a:cubicBezTo>
                    <a:pt x="8416" y="14295"/>
                    <a:pt x="8827" y="15128"/>
                    <a:pt x="9287" y="15750"/>
                  </a:cubicBezTo>
                  <a:lnTo>
                    <a:pt x="9038" y="6172"/>
                  </a:lnTo>
                  <a:cubicBezTo>
                    <a:pt x="8613" y="6892"/>
                    <a:pt x="8251" y="7817"/>
                    <a:pt x="7906" y="8878"/>
                  </a:cubicBezTo>
                  <a:lnTo>
                    <a:pt x="8019" y="13315"/>
                  </a:lnTo>
                  <a:close/>
                  <a:moveTo>
                    <a:pt x="10389" y="16077"/>
                  </a:moveTo>
                  <a:cubicBezTo>
                    <a:pt x="10611" y="16140"/>
                    <a:pt x="10842" y="16161"/>
                    <a:pt x="11095" y="16128"/>
                  </a:cubicBezTo>
                  <a:cubicBezTo>
                    <a:pt x="11223" y="16112"/>
                    <a:pt x="11344" y="16080"/>
                    <a:pt x="11463" y="16041"/>
                  </a:cubicBezTo>
                  <a:lnTo>
                    <a:pt x="11227" y="5045"/>
                  </a:lnTo>
                  <a:cubicBezTo>
                    <a:pt x="11108" y="5036"/>
                    <a:pt x="10985" y="5039"/>
                    <a:pt x="10857" y="5056"/>
                  </a:cubicBezTo>
                  <a:cubicBezTo>
                    <a:pt x="10605" y="5088"/>
                    <a:pt x="10374" y="5166"/>
                    <a:pt x="10157" y="5285"/>
                  </a:cubicBezTo>
                  <a:lnTo>
                    <a:pt x="10389" y="16077"/>
                  </a:lnTo>
                  <a:close/>
                  <a:moveTo>
                    <a:pt x="12594" y="15655"/>
                  </a:moveTo>
                  <a:cubicBezTo>
                    <a:pt x="12999" y="15123"/>
                    <a:pt x="13343" y="14414"/>
                    <a:pt x="13661" y="13573"/>
                  </a:cubicBezTo>
                  <a:lnTo>
                    <a:pt x="13528" y="7680"/>
                  </a:lnTo>
                  <a:cubicBezTo>
                    <a:pt x="13173" y="6920"/>
                    <a:pt x="12798" y="6300"/>
                    <a:pt x="12371" y="5869"/>
                  </a:cubicBezTo>
                  <a:lnTo>
                    <a:pt x="12594" y="15655"/>
                  </a:lnTo>
                  <a:close/>
                  <a:moveTo>
                    <a:pt x="18081" y="11798"/>
                  </a:moveTo>
                  <a:cubicBezTo>
                    <a:pt x="18416" y="12578"/>
                    <a:pt x="18758" y="13235"/>
                    <a:pt x="19139" y="13718"/>
                  </a:cubicBezTo>
                  <a:lnTo>
                    <a:pt x="18884" y="6051"/>
                  </a:lnTo>
                  <a:cubicBezTo>
                    <a:pt x="18541" y="6694"/>
                    <a:pt x="18245" y="7495"/>
                    <a:pt x="17967" y="8411"/>
                  </a:cubicBezTo>
                  <a:lnTo>
                    <a:pt x="18081" y="11798"/>
                  </a:lnTo>
                  <a:close/>
                  <a:moveTo>
                    <a:pt x="20486" y="14708"/>
                  </a:moveTo>
                  <a:cubicBezTo>
                    <a:pt x="20804" y="14878"/>
                    <a:pt x="21150" y="14947"/>
                    <a:pt x="21538" y="14889"/>
                  </a:cubicBezTo>
                  <a:lnTo>
                    <a:pt x="21229" y="4150"/>
                  </a:lnTo>
                  <a:cubicBezTo>
                    <a:pt x="20842" y="4223"/>
                    <a:pt x="20502" y="4409"/>
                    <a:pt x="20197" y="4684"/>
                  </a:cubicBezTo>
                  <a:cubicBezTo>
                    <a:pt x="20197" y="4684"/>
                    <a:pt x="20486" y="14708"/>
                    <a:pt x="20486" y="14708"/>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7" name="Shape 34190">
              <a:extLst>
                <a:ext uri="{FF2B5EF4-FFF2-40B4-BE49-F238E27FC236}">
                  <a16:creationId xmlns:a16="http://schemas.microsoft.com/office/drawing/2014/main" xmlns="" id="{68ED09DC-0E8D-4331-BF9B-CB78EDFD42B2}"/>
                </a:ext>
              </a:extLst>
            </p:cNvPr>
            <p:cNvSpPr/>
            <p:nvPr/>
          </p:nvSpPr>
          <p:spPr>
            <a:xfrm>
              <a:off x="4536500" y="3639878"/>
              <a:ext cx="272005" cy="246056"/>
            </a:xfrm>
            <a:custGeom>
              <a:avLst/>
              <a:gdLst/>
              <a:ahLst/>
              <a:cxnLst>
                <a:cxn ang="0">
                  <a:pos x="wd2" y="hd2"/>
                </a:cxn>
                <a:cxn ang="5400000">
                  <a:pos x="wd2" y="hd2"/>
                </a:cxn>
                <a:cxn ang="10800000">
                  <a:pos x="wd2" y="hd2"/>
                </a:cxn>
                <a:cxn ang="16200000">
                  <a:pos x="wd2" y="hd2"/>
                </a:cxn>
              </a:cxnLst>
              <a:rect l="0" t="0" r="r" b="b"/>
              <a:pathLst>
                <a:path w="21275" h="21218" extrusionOk="0">
                  <a:moveTo>
                    <a:pt x="17160" y="16531"/>
                  </a:moveTo>
                  <a:lnTo>
                    <a:pt x="3281" y="10266"/>
                  </a:lnTo>
                  <a:lnTo>
                    <a:pt x="6158" y="1453"/>
                  </a:lnTo>
                  <a:lnTo>
                    <a:pt x="20037" y="7718"/>
                  </a:lnTo>
                  <a:cubicBezTo>
                    <a:pt x="20037" y="7718"/>
                    <a:pt x="17160" y="16531"/>
                    <a:pt x="17160" y="16531"/>
                  </a:cubicBezTo>
                  <a:close/>
                  <a:moveTo>
                    <a:pt x="20480" y="6363"/>
                  </a:moveTo>
                  <a:lnTo>
                    <a:pt x="6600" y="98"/>
                  </a:lnTo>
                  <a:cubicBezTo>
                    <a:pt x="5961" y="-191"/>
                    <a:pt x="5246" y="183"/>
                    <a:pt x="5001" y="931"/>
                  </a:cubicBezTo>
                  <a:cubicBezTo>
                    <a:pt x="5001" y="931"/>
                    <a:pt x="1682" y="11100"/>
                    <a:pt x="1694" y="11105"/>
                  </a:cubicBezTo>
                  <a:lnTo>
                    <a:pt x="17862" y="18403"/>
                  </a:lnTo>
                  <a:cubicBezTo>
                    <a:pt x="17874" y="18409"/>
                    <a:pt x="21194" y="8240"/>
                    <a:pt x="21194" y="8240"/>
                  </a:cubicBezTo>
                  <a:cubicBezTo>
                    <a:pt x="21438" y="7492"/>
                    <a:pt x="21118" y="6651"/>
                    <a:pt x="20480" y="6363"/>
                  </a:cubicBezTo>
                  <a:close/>
                  <a:moveTo>
                    <a:pt x="16989" y="21121"/>
                  </a:moveTo>
                  <a:lnTo>
                    <a:pt x="797" y="13812"/>
                  </a:lnTo>
                  <a:cubicBezTo>
                    <a:pt x="157" y="13523"/>
                    <a:pt x="-162" y="12683"/>
                    <a:pt x="83" y="11934"/>
                  </a:cubicBezTo>
                  <a:lnTo>
                    <a:pt x="304" y="11256"/>
                  </a:lnTo>
                  <a:lnTo>
                    <a:pt x="7822" y="14649"/>
                  </a:lnTo>
                  <a:lnTo>
                    <a:pt x="7600" y="15327"/>
                  </a:lnTo>
                  <a:lnTo>
                    <a:pt x="11070" y="16893"/>
                  </a:lnTo>
                  <a:lnTo>
                    <a:pt x="11291" y="16216"/>
                  </a:lnTo>
                  <a:lnTo>
                    <a:pt x="18810" y="19609"/>
                  </a:lnTo>
                  <a:lnTo>
                    <a:pt x="18588" y="20287"/>
                  </a:lnTo>
                  <a:cubicBezTo>
                    <a:pt x="18344" y="21036"/>
                    <a:pt x="17627" y="21409"/>
                    <a:pt x="16989" y="21121"/>
                  </a:cubicBezTo>
                  <a:cubicBezTo>
                    <a:pt x="16989" y="21121"/>
                    <a:pt x="16989" y="21121"/>
                    <a:pt x="16989" y="21121"/>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9" name="Shape 34192">
              <a:extLst>
                <a:ext uri="{FF2B5EF4-FFF2-40B4-BE49-F238E27FC236}">
                  <a16:creationId xmlns:a16="http://schemas.microsoft.com/office/drawing/2014/main" xmlns="" id="{E80EC25B-A57A-4C11-87E6-FE8DBC420001}"/>
                </a:ext>
              </a:extLst>
            </p:cNvPr>
            <p:cNvSpPr/>
            <p:nvPr/>
          </p:nvSpPr>
          <p:spPr>
            <a:xfrm>
              <a:off x="4747505" y="3406138"/>
              <a:ext cx="227593" cy="263010"/>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5" name="Shape 34198">
              <a:extLst>
                <a:ext uri="{FF2B5EF4-FFF2-40B4-BE49-F238E27FC236}">
                  <a16:creationId xmlns:a16="http://schemas.microsoft.com/office/drawing/2014/main" xmlns="" id="{78D0D440-747F-482B-9C51-8DFF90B7CDEC}"/>
                </a:ext>
              </a:extLst>
            </p:cNvPr>
            <p:cNvSpPr/>
            <p:nvPr/>
          </p:nvSpPr>
          <p:spPr>
            <a:xfrm>
              <a:off x="4532537" y="2564010"/>
              <a:ext cx="174693" cy="287920"/>
            </a:xfrm>
            <a:custGeom>
              <a:avLst/>
              <a:gdLst/>
              <a:ahLst/>
              <a:cxnLst>
                <a:cxn ang="0">
                  <a:pos x="wd2" y="hd2"/>
                </a:cxn>
                <a:cxn ang="5400000">
                  <a:pos x="wd2" y="hd2"/>
                </a:cxn>
                <a:cxn ang="10800000">
                  <a:pos x="wd2" y="hd2"/>
                </a:cxn>
                <a:cxn ang="16200000">
                  <a:pos x="wd2" y="hd2"/>
                </a:cxn>
              </a:cxnLst>
              <a:rect l="0" t="0" r="r" b="b"/>
              <a:pathLst>
                <a:path w="21220" h="21353" extrusionOk="0">
                  <a:moveTo>
                    <a:pt x="15021" y="3564"/>
                  </a:moveTo>
                  <a:lnTo>
                    <a:pt x="1858" y="5543"/>
                  </a:lnTo>
                  <a:lnTo>
                    <a:pt x="6199" y="17788"/>
                  </a:lnTo>
                  <a:lnTo>
                    <a:pt x="19362" y="15809"/>
                  </a:lnTo>
                  <a:cubicBezTo>
                    <a:pt x="19362" y="15809"/>
                    <a:pt x="15021" y="3564"/>
                    <a:pt x="15021" y="3564"/>
                  </a:cubicBezTo>
                  <a:close/>
                  <a:moveTo>
                    <a:pt x="10139" y="2364"/>
                  </a:moveTo>
                  <a:lnTo>
                    <a:pt x="5438" y="3070"/>
                  </a:lnTo>
                  <a:cubicBezTo>
                    <a:pt x="5178" y="3109"/>
                    <a:pt x="5016" y="3278"/>
                    <a:pt x="5076" y="3447"/>
                  </a:cubicBezTo>
                  <a:cubicBezTo>
                    <a:pt x="5136" y="3616"/>
                    <a:pt x="5395" y="3722"/>
                    <a:pt x="5655" y="3683"/>
                  </a:cubicBezTo>
                  <a:lnTo>
                    <a:pt x="10356" y="2976"/>
                  </a:lnTo>
                  <a:cubicBezTo>
                    <a:pt x="10615" y="2937"/>
                    <a:pt x="10777" y="2768"/>
                    <a:pt x="10717" y="2599"/>
                  </a:cubicBezTo>
                  <a:cubicBezTo>
                    <a:pt x="10657" y="2430"/>
                    <a:pt x="10398" y="2325"/>
                    <a:pt x="10139" y="2364"/>
                  </a:cubicBezTo>
                  <a:close/>
                  <a:moveTo>
                    <a:pt x="14119" y="19177"/>
                  </a:moveTo>
                  <a:cubicBezTo>
                    <a:pt x="14897" y="19060"/>
                    <a:pt x="15383" y="18554"/>
                    <a:pt x="15204" y="18046"/>
                  </a:cubicBezTo>
                  <a:cubicBezTo>
                    <a:pt x="15024" y="17539"/>
                    <a:pt x="14246" y="17223"/>
                    <a:pt x="13468" y="17340"/>
                  </a:cubicBezTo>
                  <a:cubicBezTo>
                    <a:pt x="12689" y="17457"/>
                    <a:pt x="12203" y="17963"/>
                    <a:pt x="12383" y="18470"/>
                  </a:cubicBezTo>
                  <a:cubicBezTo>
                    <a:pt x="12563" y="18978"/>
                    <a:pt x="13340" y="19294"/>
                    <a:pt x="14119" y="19177"/>
                  </a:cubicBezTo>
                  <a:close/>
                  <a:moveTo>
                    <a:pt x="19724" y="19624"/>
                  </a:moveTo>
                  <a:lnTo>
                    <a:pt x="8442" y="21320"/>
                  </a:lnTo>
                  <a:cubicBezTo>
                    <a:pt x="7403" y="21476"/>
                    <a:pt x="6367" y="21054"/>
                    <a:pt x="6127" y="20378"/>
                  </a:cubicBezTo>
                  <a:lnTo>
                    <a:pt x="50" y="3235"/>
                  </a:lnTo>
                  <a:cubicBezTo>
                    <a:pt x="-190" y="2559"/>
                    <a:pt x="458" y="1884"/>
                    <a:pt x="1496" y="1728"/>
                  </a:cubicBezTo>
                  <a:lnTo>
                    <a:pt x="12778" y="32"/>
                  </a:lnTo>
                  <a:cubicBezTo>
                    <a:pt x="13817" y="-124"/>
                    <a:pt x="14853" y="298"/>
                    <a:pt x="15093" y="974"/>
                  </a:cubicBezTo>
                  <a:lnTo>
                    <a:pt x="21170" y="18117"/>
                  </a:lnTo>
                  <a:cubicBezTo>
                    <a:pt x="21410" y="18793"/>
                    <a:pt x="20762" y="19468"/>
                    <a:pt x="19724" y="19624"/>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6" name="Shape 34199">
              <a:extLst>
                <a:ext uri="{FF2B5EF4-FFF2-40B4-BE49-F238E27FC236}">
                  <a16:creationId xmlns:a16="http://schemas.microsoft.com/office/drawing/2014/main" xmlns="" id="{2897DC20-4EC4-45E4-80E7-81FCE5187EBB}"/>
                </a:ext>
              </a:extLst>
            </p:cNvPr>
            <p:cNvSpPr/>
            <p:nvPr/>
          </p:nvSpPr>
          <p:spPr>
            <a:xfrm>
              <a:off x="4772810" y="2678701"/>
              <a:ext cx="151769" cy="205585"/>
            </a:xfrm>
            <a:custGeom>
              <a:avLst/>
              <a:gdLst/>
              <a:ahLst/>
              <a:cxnLst>
                <a:cxn ang="0">
                  <a:pos x="wd2" y="hd2"/>
                </a:cxn>
                <a:cxn ang="5400000">
                  <a:pos x="wd2" y="hd2"/>
                </a:cxn>
                <a:cxn ang="10800000">
                  <a:pos x="wd2" y="hd2"/>
                </a:cxn>
                <a:cxn ang="16200000">
                  <a:pos x="wd2" y="hd2"/>
                </a:cxn>
              </a:cxnLst>
              <a:rect l="0" t="0" r="r" b="b"/>
              <a:pathLst>
                <a:path w="21600" h="21600" extrusionOk="0">
                  <a:moveTo>
                    <a:pt x="0" y="837"/>
                  </a:moveTo>
                  <a:lnTo>
                    <a:pt x="1844" y="21600"/>
                  </a:lnTo>
                  <a:lnTo>
                    <a:pt x="21600" y="20512"/>
                  </a:lnTo>
                  <a:lnTo>
                    <a:pt x="20076" y="3352"/>
                  </a:lnTo>
                  <a:lnTo>
                    <a:pt x="15202" y="0"/>
                  </a:lnTo>
                  <a:lnTo>
                    <a:pt x="0" y="837"/>
                  </a:lnTo>
                  <a:close/>
                  <a:moveTo>
                    <a:pt x="6705" y="5273"/>
                  </a:moveTo>
                  <a:lnTo>
                    <a:pt x="13900" y="4876"/>
                  </a:lnTo>
                  <a:lnTo>
                    <a:pt x="13951" y="5450"/>
                  </a:lnTo>
                  <a:lnTo>
                    <a:pt x="6756" y="5846"/>
                  </a:lnTo>
                  <a:lnTo>
                    <a:pt x="6705" y="5273"/>
                  </a:lnTo>
                  <a:close/>
                  <a:moveTo>
                    <a:pt x="3609" y="11120"/>
                  </a:moveTo>
                  <a:lnTo>
                    <a:pt x="18000" y="10328"/>
                  </a:lnTo>
                  <a:lnTo>
                    <a:pt x="18049" y="10884"/>
                  </a:lnTo>
                  <a:lnTo>
                    <a:pt x="3658" y="11677"/>
                  </a:lnTo>
                  <a:lnTo>
                    <a:pt x="3609" y="11120"/>
                  </a:lnTo>
                  <a:close/>
                  <a:moveTo>
                    <a:pt x="3859" y="13936"/>
                  </a:moveTo>
                  <a:lnTo>
                    <a:pt x="18250" y="13144"/>
                  </a:lnTo>
                  <a:lnTo>
                    <a:pt x="18301" y="13717"/>
                  </a:lnTo>
                  <a:lnTo>
                    <a:pt x="3910" y="14509"/>
                  </a:lnTo>
                  <a:lnTo>
                    <a:pt x="3859" y="13936"/>
                  </a:lnTo>
                  <a:close/>
                  <a:moveTo>
                    <a:pt x="4109" y="16753"/>
                  </a:moveTo>
                  <a:lnTo>
                    <a:pt x="11305" y="16357"/>
                  </a:lnTo>
                  <a:lnTo>
                    <a:pt x="11356" y="16930"/>
                  </a:lnTo>
                  <a:lnTo>
                    <a:pt x="4160" y="17326"/>
                  </a:lnTo>
                  <a:lnTo>
                    <a:pt x="4109" y="16753"/>
                  </a:ln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8" name="Shape 34201">
              <a:extLst>
                <a:ext uri="{FF2B5EF4-FFF2-40B4-BE49-F238E27FC236}">
                  <a16:creationId xmlns:a16="http://schemas.microsoft.com/office/drawing/2014/main" xmlns="" id="{F0473AF5-038B-42A4-BC7C-169EC4E9B713}"/>
                </a:ext>
              </a:extLst>
            </p:cNvPr>
            <p:cNvSpPr/>
            <p:nvPr/>
          </p:nvSpPr>
          <p:spPr>
            <a:xfrm>
              <a:off x="4816797" y="2951890"/>
              <a:ext cx="124074" cy="115120"/>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3" name="Shape 34206">
              <a:extLst>
                <a:ext uri="{FF2B5EF4-FFF2-40B4-BE49-F238E27FC236}">
                  <a16:creationId xmlns:a16="http://schemas.microsoft.com/office/drawing/2014/main" xmlns="" id="{B0CFACEF-7528-488E-BFDC-97D81C8A6849}"/>
                </a:ext>
              </a:extLst>
            </p:cNvPr>
            <p:cNvSpPr/>
            <p:nvPr/>
          </p:nvSpPr>
          <p:spPr>
            <a:xfrm>
              <a:off x="4532537" y="4325112"/>
              <a:ext cx="218146" cy="137806"/>
            </a:xfrm>
            <a:custGeom>
              <a:avLst/>
              <a:gdLst/>
              <a:ahLst/>
              <a:cxnLst>
                <a:cxn ang="0">
                  <a:pos x="wd2" y="hd2"/>
                </a:cxn>
                <a:cxn ang="5400000">
                  <a:pos x="wd2" y="hd2"/>
                </a:cxn>
                <a:cxn ang="10800000">
                  <a:pos x="wd2" y="hd2"/>
                </a:cxn>
                <a:cxn ang="16200000">
                  <a:pos x="wd2" y="hd2"/>
                </a:cxn>
              </a:cxnLst>
              <a:rect l="0" t="0" r="r" b="b"/>
              <a:pathLst>
                <a:path w="21428" h="21311" extrusionOk="0">
                  <a:moveTo>
                    <a:pt x="3736" y="4687"/>
                  </a:moveTo>
                  <a:lnTo>
                    <a:pt x="4986" y="19624"/>
                  </a:lnTo>
                  <a:lnTo>
                    <a:pt x="17693" y="16625"/>
                  </a:lnTo>
                  <a:lnTo>
                    <a:pt x="16443" y="1688"/>
                  </a:lnTo>
                  <a:cubicBezTo>
                    <a:pt x="16443" y="1688"/>
                    <a:pt x="3736" y="4687"/>
                    <a:pt x="3736" y="4687"/>
                  </a:cubicBezTo>
                  <a:close/>
                  <a:moveTo>
                    <a:pt x="2231" y="9938"/>
                  </a:moveTo>
                  <a:lnTo>
                    <a:pt x="2678" y="15273"/>
                  </a:lnTo>
                  <a:cubicBezTo>
                    <a:pt x="2702" y="15567"/>
                    <a:pt x="2864" y="15772"/>
                    <a:pt x="3040" y="15731"/>
                  </a:cubicBezTo>
                  <a:cubicBezTo>
                    <a:pt x="3215" y="15690"/>
                    <a:pt x="3338" y="15417"/>
                    <a:pt x="3313" y="15123"/>
                  </a:cubicBezTo>
                  <a:lnTo>
                    <a:pt x="2867" y="9788"/>
                  </a:lnTo>
                  <a:cubicBezTo>
                    <a:pt x="2842" y="9494"/>
                    <a:pt x="2680" y="9288"/>
                    <a:pt x="2504" y="9330"/>
                  </a:cubicBezTo>
                  <a:cubicBezTo>
                    <a:pt x="2329" y="9371"/>
                    <a:pt x="2207" y="9644"/>
                    <a:pt x="2231" y="9938"/>
                  </a:cubicBezTo>
                  <a:close/>
                  <a:moveTo>
                    <a:pt x="19564" y="8023"/>
                  </a:moveTo>
                  <a:cubicBezTo>
                    <a:pt x="19490" y="7140"/>
                    <a:pt x="19004" y="6524"/>
                    <a:pt x="18477" y="6648"/>
                  </a:cubicBezTo>
                  <a:cubicBezTo>
                    <a:pt x="17951" y="6772"/>
                    <a:pt x="17584" y="7590"/>
                    <a:pt x="17658" y="8473"/>
                  </a:cubicBezTo>
                  <a:cubicBezTo>
                    <a:pt x="17732" y="9357"/>
                    <a:pt x="18219" y="9973"/>
                    <a:pt x="18745" y="9849"/>
                  </a:cubicBezTo>
                  <a:cubicBezTo>
                    <a:pt x="19272" y="9724"/>
                    <a:pt x="19638" y="8907"/>
                    <a:pt x="19564" y="8023"/>
                  </a:cubicBezTo>
                  <a:close/>
                  <a:moveTo>
                    <a:pt x="20344" y="1856"/>
                  </a:moveTo>
                  <a:lnTo>
                    <a:pt x="21415" y="14658"/>
                  </a:lnTo>
                  <a:cubicBezTo>
                    <a:pt x="21514" y="15837"/>
                    <a:pt x="21025" y="16926"/>
                    <a:pt x="20323" y="17092"/>
                  </a:cubicBezTo>
                  <a:lnTo>
                    <a:pt x="2533" y="21290"/>
                  </a:lnTo>
                  <a:cubicBezTo>
                    <a:pt x="1832" y="21456"/>
                    <a:pt x="1183" y="20635"/>
                    <a:pt x="1084" y="19456"/>
                  </a:cubicBezTo>
                  <a:lnTo>
                    <a:pt x="13" y="6654"/>
                  </a:lnTo>
                  <a:cubicBezTo>
                    <a:pt x="-86" y="5475"/>
                    <a:pt x="403" y="4386"/>
                    <a:pt x="1105" y="4220"/>
                  </a:cubicBezTo>
                  <a:lnTo>
                    <a:pt x="18895" y="22"/>
                  </a:lnTo>
                  <a:cubicBezTo>
                    <a:pt x="19596" y="-144"/>
                    <a:pt x="20245" y="677"/>
                    <a:pt x="20344" y="1856"/>
                  </a:cubicBezTo>
                  <a:close/>
                </a:path>
              </a:pathLst>
            </a:cu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4" name="Shape 34207">
              <a:extLst>
                <a:ext uri="{FF2B5EF4-FFF2-40B4-BE49-F238E27FC236}">
                  <a16:creationId xmlns:a16="http://schemas.microsoft.com/office/drawing/2014/main" xmlns="" id="{FB9F01C1-1774-4436-A4DE-0BCA6A15A21B}"/>
                </a:ext>
              </a:extLst>
            </p:cNvPr>
            <p:cNvSpPr/>
            <p:nvPr/>
          </p:nvSpPr>
          <p:spPr>
            <a:xfrm>
              <a:off x="4913531" y="4409238"/>
              <a:ext cx="195114" cy="191203"/>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5" name="Shape 34208">
              <a:extLst>
                <a:ext uri="{FF2B5EF4-FFF2-40B4-BE49-F238E27FC236}">
                  <a16:creationId xmlns:a16="http://schemas.microsoft.com/office/drawing/2014/main" xmlns="" id="{4E538418-07A1-487E-A672-D434DEB68A30}"/>
                </a:ext>
              </a:extLst>
            </p:cNvPr>
            <p:cNvSpPr/>
            <p:nvPr/>
          </p:nvSpPr>
          <p:spPr>
            <a:xfrm>
              <a:off x="4708113" y="4433209"/>
              <a:ext cx="83656" cy="9877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6" name="Shape 34209">
              <a:extLst>
                <a:ext uri="{FF2B5EF4-FFF2-40B4-BE49-F238E27FC236}">
                  <a16:creationId xmlns:a16="http://schemas.microsoft.com/office/drawing/2014/main" xmlns="" id="{78E5B88A-A67A-418A-B378-78FBD2CE577E}"/>
                </a:ext>
              </a:extLst>
            </p:cNvPr>
            <p:cNvSpPr/>
            <p:nvPr/>
          </p:nvSpPr>
          <p:spPr>
            <a:xfrm>
              <a:off x="5015150" y="3895742"/>
              <a:ext cx="116707" cy="1438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7" name="Shape 34210">
              <a:extLst>
                <a:ext uri="{FF2B5EF4-FFF2-40B4-BE49-F238E27FC236}">
                  <a16:creationId xmlns:a16="http://schemas.microsoft.com/office/drawing/2014/main" xmlns="" id="{3624B19E-4A3E-412B-B43A-2E785A544158}"/>
                </a:ext>
              </a:extLst>
            </p:cNvPr>
            <p:cNvSpPr/>
            <p:nvPr/>
          </p:nvSpPr>
          <p:spPr>
            <a:xfrm>
              <a:off x="4801256" y="4164494"/>
              <a:ext cx="106045" cy="105286"/>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8" name="Shape 34211">
              <a:extLst>
                <a:ext uri="{FF2B5EF4-FFF2-40B4-BE49-F238E27FC236}">
                  <a16:creationId xmlns:a16="http://schemas.microsoft.com/office/drawing/2014/main" xmlns="" id="{64EBB6A9-A0DA-4E02-9CBF-A09158BC8B5E}"/>
                </a:ext>
              </a:extLst>
            </p:cNvPr>
            <p:cNvSpPr/>
            <p:nvPr/>
          </p:nvSpPr>
          <p:spPr>
            <a:xfrm>
              <a:off x="4958144" y="3569239"/>
              <a:ext cx="134471" cy="205079"/>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9" name="Shape 34212">
              <a:extLst>
                <a:ext uri="{FF2B5EF4-FFF2-40B4-BE49-F238E27FC236}">
                  <a16:creationId xmlns:a16="http://schemas.microsoft.com/office/drawing/2014/main" xmlns="" id="{34E654D4-BA86-4AF2-8C68-82244BEFB203}"/>
                </a:ext>
              </a:extLst>
            </p:cNvPr>
            <p:cNvSpPr/>
            <p:nvPr/>
          </p:nvSpPr>
          <p:spPr>
            <a:xfrm>
              <a:off x="4532537" y="3462317"/>
              <a:ext cx="189676" cy="143401"/>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0" name="Shape 34213">
              <a:extLst>
                <a:ext uri="{FF2B5EF4-FFF2-40B4-BE49-F238E27FC236}">
                  <a16:creationId xmlns:a16="http://schemas.microsoft.com/office/drawing/2014/main" xmlns="" id="{0A73C994-546A-4A00-914B-53A915419382}"/>
                </a:ext>
              </a:extLst>
            </p:cNvPr>
            <p:cNvSpPr/>
            <p:nvPr/>
          </p:nvSpPr>
          <p:spPr>
            <a:xfrm>
              <a:off x="4919315" y="3000679"/>
              <a:ext cx="212542" cy="197787"/>
            </a:xfrm>
            <a:custGeom>
              <a:avLst/>
              <a:gdLst/>
              <a:ahLst/>
              <a:cxnLst>
                <a:cxn ang="0">
                  <a:pos x="wd2" y="hd2"/>
                </a:cxn>
                <a:cxn ang="5400000">
                  <a:pos x="wd2" y="hd2"/>
                </a:cxn>
                <a:cxn ang="10800000">
                  <a:pos x="wd2" y="hd2"/>
                </a:cxn>
                <a:cxn ang="16200000">
                  <a:pos x="wd2" y="hd2"/>
                </a:cxn>
              </a:cxnLst>
              <a:rect l="0" t="0" r="r" b="b"/>
              <a:pathLst>
                <a:path w="21600" h="21600" extrusionOk="0">
                  <a:moveTo>
                    <a:pt x="6294" y="3457"/>
                  </a:moveTo>
                  <a:lnTo>
                    <a:pt x="148" y="16086"/>
                  </a:lnTo>
                  <a:lnTo>
                    <a:pt x="0" y="16165"/>
                  </a:lnTo>
                  <a:lnTo>
                    <a:pt x="1008" y="21600"/>
                  </a:lnTo>
                  <a:lnTo>
                    <a:pt x="10415" y="19280"/>
                  </a:lnTo>
                  <a:lnTo>
                    <a:pt x="10816" y="21443"/>
                  </a:lnTo>
                  <a:lnTo>
                    <a:pt x="12402" y="20369"/>
                  </a:lnTo>
                  <a:lnTo>
                    <a:pt x="14220" y="20613"/>
                  </a:lnTo>
                  <a:lnTo>
                    <a:pt x="13819" y="18450"/>
                  </a:lnTo>
                  <a:lnTo>
                    <a:pt x="17113" y="17634"/>
                  </a:lnTo>
                  <a:lnTo>
                    <a:pt x="17471" y="17546"/>
                  </a:lnTo>
                  <a:lnTo>
                    <a:pt x="21600" y="5952"/>
                  </a:lnTo>
                  <a:lnTo>
                    <a:pt x="20486" y="14"/>
                  </a:lnTo>
                  <a:cubicBezTo>
                    <a:pt x="20486" y="14"/>
                    <a:pt x="20484" y="0"/>
                    <a:pt x="20484" y="0"/>
                  </a:cubicBezTo>
                  <a:lnTo>
                    <a:pt x="6294" y="3457"/>
                  </a:lnTo>
                  <a:close/>
                  <a:moveTo>
                    <a:pt x="19860" y="1754"/>
                  </a:moveTo>
                  <a:cubicBezTo>
                    <a:pt x="19941" y="2188"/>
                    <a:pt x="20020" y="2621"/>
                    <a:pt x="20101" y="3055"/>
                  </a:cubicBezTo>
                  <a:cubicBezTo>
                    <a:pt x="20278" y="3996"/>
                    <a:pt x="20448" y="4934"/>
                    <a:pt x="20624" y="5875"/>
                  </a:cubicBezTo>
                  <a:lnTo>
                    <a:pt x="16762" y="16617"/>
                  </a:lnTo>
                  <a:lnTo>
                    <a:pt x="13623" y="17396"/>
                  </a:lnTo>
                  <a:lnTo>
                    <a:pt x="13219" y="15220"/>
                  </a:lnTo>
                  <a:cubicBezTo>
                    <a:pt x="13219" y="15220"/>
                    <a:pt x="9815" y="16049"/>
                    <a:pt x="9815" y="16049"/>
                  </a:cubicBezTo>
                  <a:lnTo>
                    <a:pt x="10222" y="18239"/>
                  </a:lnTo>
                  <a:lnTo>
                    <a:pt x="1723" y="20338"/>
                  </a:lnTo>
                  <a:lnTo>
                    <a:pt x="908" y="15944"/>
                  </a:lnTo>
                  <a:lnTo>
                    <a:pt x="16076" y="12248"/>
                  </a:lnTo>
                  <a:cubicBezTo>
                    <a:pt x="16076" y="12249"/>
                    <a:pt x="18931" y="4332"/>
                    <a:pt x="19860" y="1754"/>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2" name="Shape 34215">
              <a:extLst>
                <a:ext uri="{FF2B5EF4-FFF2-40B4-BE49-F238E27FC236}">
                  <a16:creationId xmlns:a16="http://schemas.microsoft.com/office/drawing/2014/main" xmlns="" id="{27B5398E-8F1A-424E-A895-78751EA2F323}"/>
                </a:ext>
              </a:extLst>
            </p:cNvPr>
            <p:cNvSpPr/>
            <p:nvPr/>
          </p:nvSpPr>
          <p:spPr>
            <a:xfrm>
              <a:off x="4998225" y="3402616"/>
              <a:ext cx="133632" cy="142532"/>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grp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68" name="Shape 34221">
              <a:extLst>
                <a:ext uri="{FF2B5EF4-FFF2-40B4-BE49-F238E27FC236}">
                  <a16:creationId xmlns:a16="http://schemas.microsoft.com/office/drawing/2014/main" xmlns="" id="{64561C0D-684A-44ED-AEC8-BB968EA71B2D}"/>
                </a:ext>
              </a:extLst>
            </p:cNvPr>
            <p:cNvSpPr/>
            <p:nvPr/>
          </p:nvSpPr>
          <p:spPr>
            <a:xfrm>
              <a:off x="4816770" y="4501995"/>
              <a:ext cx="133925" cy="188618"/>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grp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74" name="Shape 34227">
              <a:extLst>
                <a:ext uri="{FF2B5EF4-FFF2-40B4-BE49-F238E27FC236}">
                  <a16:creationId xmlns:a16="http://schemas.microsoft.com/office/drawing/2014/main" xmlns="" id="{62CD8CE1-BFBF-4664-A303-D00845D9B2A2}"/>
                </a:ext>
              </a:extLst>
            </p:cNvPr>
            <p:cNvSpPr/>
            <p:nvPr/>
          </p:nvSpPr>
          <p:spPr>
            <a:xfrm>
              <a:off x="4790242" y="4360487"/>
              <a:ext cx="101093" cy="107826"/>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grp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75" name="Shape 34228">
              <a:extLst>
                <a:ext uri="{FF2B5EF4-FFF2-40B4-BE49-F238E27FC236}">
                  <a16:creationId xmlns:a16="http://schemas.microsoft.com/office/drawing/2014/main" xmlns="" id="{FB44C638-5210-46DD-A5BA-D7D10F466A4F}"/>
                </a:ext>
              </a:extLst>
            </p:cNvPr>
            <p:cNvSpPr/>
            <p:nvPr/>
          </p:nvSpPr>
          <p:spPr>
            <a:xfrm>
              <a:off x="4532537" y="4073013"/>
              <a:ext cx="158836" cy="194505"/>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8" name="Shape 34231">
              <a:extLst>
                <a:ext uri="{FF2B5EF4-FFF2-40B4-BE49-F238E27FC236}">
                  <a16:creationId xmlns:a16="http://schemas.microsoft.com/office/drawing/2014/main" xmlns="" id="{D4AC2323-C4B8-4B8E-BE82-973A21916247}"/>
                </a:ext>
              </a:extLst>
            </p:cNvPr>
            <p:cNvSpPr/>
            <p:nvPr/>
          </p:nvSpPr>
          <p:spPr>
            <a:xfrm>
              <a:off x="5011522" y="2896492"/>
              <a:ext cx="120335" cy="104295"/>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0" name="Shape 34233">
              <a:extLst>
                <a:ext uri="{FF2B5EF4-FFF2-40B4-BE49-F238E27FC236}">
                  <a16:creationId xmlns:a16="http://schemas.microsoft.com/office/drawing/2014/main" xmlns="" id="{54E4DBA8-24CF-40F8-8D1E-F966F569ADDB}"/>
                </a:ext>
              </a:extLst>
            </p:cNvPr>
            <p:cNvSpPr/>
            <p:nvPr/>
          </p:nvSpPr>
          <p:spPr>
            <a:xfrm>
              <a:off x="4638725" y="3153967"/>
              <a:ext cx="85576" cy="117777"/>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1" name="Shape 34234">
              <a:extLst>
                <a:ext uri="{FF2B5EF4-FFF2-40B4-BE49-F238E27FC236}">
                  <a16:creationId xmlns:a16="http://schemas.microsoft.com/office/drawing/2014/main" xmlns="" id="{FF4FB81F-078D-43BC-A44D-E785668DE194}"/>
                </a:ext>
              </a:extLst>
            </p:cNvPr>
            <p:cNvSpPr/>
            <p:nvPr/>
          </p:nvSpPr>
          <p:spPr>
            <a:xfrm>
              <a:off x="4532537" y="3046156"/>
              <a:ext cx="117801" cy="117777"/>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2" name="Shape 34235">
              <a:extLst>
                <a:ext uri="{FF2B5EF4-FFF2-40B4-BE49-F238E27FC236}">
                  <a16:creationId xmlns:a16="http://schemas.microsoft.com/office/drawing/2014/main" xmlns="" id="{4DC3933C-6C6B-4108-A796-4E5040A972CF}"/>
                </a:ext>
              </a:extLst>
            </p:cNvPr>
            <p:cNvSpPr/>
            <p:nvPr/>
          </p:nvSpPr>
          <p:spPr>
            <a:xfrm>
              <a:off x="4801256" y="3686501"/>
              <a:ext cx="120335" cy="104295"/>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4" name="Shape 34237">
              <a:extLst>
                <a:ext uri="{FF2B5EF4-FFF2-40B4-BE49-F238E27FC236}">
                  <a16:creationId xmlns:a16="http://schemas.microsoft.com/office/drawing/2014/main" xmlns="" id="{27C3E58C-A485-42BE-9A31-C1B45A5B6D17}"/>
                </a:ext>
              </a:extLst>
            </p:cNvPr>
            <p:cNvSpPr/>
            <p:nvPr/>
          </p:nvSpPr>
          <p:spPr>
            <a:xfrm>
              <a:off x="4532537" y="4486025"/>
              <a:ext cx="46058" cy="105286"/>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7" name="Shape 34240">
              <a:extLst>
                <a:ext uri="{FF2B5EF4-FFF2-40B4-BE49-F238E27FC236}">
                  <a16:creationId xmlns:a16="http://schemas.microsoft.com/office/drawing/2014/main" xmlns="" id="{9DC20FCC-F862-4D00-AEFA-0913CF555F71}"/>
                </a:ext>
              </a:extLst>
            </p:cNvPr>
            <p:cNvSpPr/>
            <p:nvPr/>
          </p:nvSpPr>
          <p:spPr>
            <a:xfrm>
              <a:off x="5070517" y="4362115"/>
              <a:ext cx="61340" cy="84421"/>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0" name="Shape 34243">
              <a:extLst>
                <a:ext uri="{FF2B5EF4-FFF2-40B4-BE49-F238E27FC236}">
                  <a16:creationId xmlns:a16="http://schemas.microsoft.com/office/drawing/2014/main" xmlns="" id="{0DD9BDB9-2B03-48B5-8EF7-832BB00F2E9C}"/>
                </a:ext>
              </a:extLst>
            </p:cNvPr>
            <p:cNvSpPr/>
            <p:nvPr/>
          </p:nvSpPr>
          <p:spPr>
            <a:xfrm>
              <a:off x="4801256" y="4141265"/>
              <a:ext cx="105120" cy="10509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2" name="Shape 34245">
              <a:extLst>
                <a:ext uri="{FF2B5EF4-FFF2-40B4-BE49-F238E27FC236}">
                  <a16:creationId xmlns:a16="http://schemas.microsoft.com/office/drawing/2014/main" xmlns="" id="{A3BA6BD5-DA1F-41AC-9799-E186BC1BD3FA}"/>
                </a:ext>
              </a:extLst>
            </p:cNvPr>
            <p:cNvSpPr/>
            <p:nvPr/>
          </p:nvSpPr>
          <p:spPr>
            <a:xfrm>
              <a:off x="4937952" y="4602840"/>
              <a:ext cx="74776" cy="74761"/>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1" name="Shape 34254">
              <a:extLst>
                <a:ext uri="{FF2B5EF4-FFF2-40B4-BE49-F238E27FC236}">
                  <a16:creationId xmlns:a16="http://schemas.microsoft.com/office/drawing/2014/main" xmlns="" id="{148CA4DB-A798-44AB-A777-1DF8373EF961}"/>
                </a:ext>
              </a:extLst>
            </p:cNvPr>
            <p:cNvSpPr/>
            <p:nvPr/>
          </p:nvSpPr>
          <p:spPr>
            <a:xfrm>
              <a:off x="4960546" y="4121119"/>
              <a:ext cx="171311" cy="163308"/>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2" name="Shape 34255">
              <a:extLst>
                <a:ext uri="{FF2B5EF4-FFF2-40B4-BE49-F238E27FC236}">
                  <a16:creationId xmlns:a16="http://schemas.microsoft.com/office/drawing/2014/main" xmlns="" id="{2846FB29-18F5-41B4-A6BB-EB42E8A6FDAC}"/>
                </a:ext>
              </a:extLst>
            </p:cNvPr>
            <p:cNvSpPr/>
            <p:nvPr/>
          </p:nvSpPr>
          <p:spPr>
            <a:xfrm>
              <a:off x="4801256" y="3818696"/>
              <a:ext cx="141383" cy="137806"/>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3" name="Shape 34256">
              <a:extLst>
                <a:ext uri="{FF2B5EF4-FFF2-40B4-BE49-F238E27FC236}">
                  <a16:creationId xmlns:a16="http://schemas.microsoft.com/office/drawing/2014/main" xmlns="" id="{ED769ECF-CDCE-4F80-ABDE-87159968A5D0}"/>
                </a:ext>
              </a:extLst>
            </p:cNvPr>
            <p:cNvSpPr/>
            <p:nvPr/>
          </p:nvSpPr>
          <p:spPr>
            <a:xfrm>
              <a:off x="4532537" y="3280663"/>
              <a:ext cx="97694" cy="90644"/>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4" name="Shape 34257">
              <a:extLst>
                <a:ext uri="{FF2B5EF4-FFF2-40B4-BE49-F238E27FC236}">
                  <a16:creationId xmlns:a16="http://schemas.microsoft.com/office/drawing/2014/main" xmlns="" id="{BD27900D-25EB-4209-A161-5C222A216BA6}"/>
                </a:ext>
              </a:extLst>
            </p:cNvPr>
            <p:cNvSpPr/>
            <p:nvPr/>
          </p:nvSpPr>
          <p:spPr>
            <a:xfrm>
              <a:off x="5035475" y="3815043"/>
              <a:ext cx="96382" cy="90644"/>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1" name="Shape 34264">
              <a:extLst>
                <a:ext uri="{FF2B5EF4-FFF2-40B4-BE49-F238E27FC236}">
                  <a16:creationId xmlns:a16="http://schemas.microsoft.com/office/drawing/2014/main" xmlns="" id="{1FE0A415-3DEB-493F-9FA2-A43B3EABFCF3}"/>
                </a:ext>
              </a:extLst>
            </p:cNvPr>
            <p:cNvSpPr/>
            <p:nvPr/>
          </p:nvSpPr>
          <p:spPr>
            <a:xfrm>
              <a:off x="4654338" y="4550918"/>
              <a:ext cx="148393" cy="117509"/>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4" name="Shape 34215">
              <a:extLst>
                <a:ext uri="{FF2B5EF4-FFF2-40B4-BE49-F238E27FC236}">
                  <a16:creationId xmlns:a16="http://schemas.microsoft.com/office/drawing/2014/main" xmlns="" id="{F8EFD91E-1D0E-4761-B227-810D89E5432B}"/>
                </a:ext>
              </a:extLst>
            </p:cNvPr>
            <p:cNvSpPr/>
            <p:nvPr/>
          </p:nvSpPr>
          <p:spPr>
            <a:xfrm>
              <a:off x="4731788" y="3224609"/>
              <a:ext cx="74434" cy="106855"/>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grp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grpSp>
    </p:spTree>
    <p:extLst>
      <p:ext uri="{BB962C8B-B14F-4D97-AF65-F5344CB8AC3E}">
        <p14:creationId xmlns:p14="http://schemas.microsoft.com/office/powerpoint/2010/main" val="9177474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89064" y="469666"/>
            <a:ext cx="8852375" cy="697353"/>
          </a:xfrm>
        </p:spPr>
        <p:txBody>
          <a:bodyPr>
            <a:normAutofit fontScale="92500"/>
          </a:bodyPr>
          <a:lstStyle/>
          <a:p>
            <a:r>
              <a:rPr lang="en-GB" dirty="0"/>
              <a:t>Aprender de la gestión de tareas en la crisis (</a:t>
            </a:r>
            <a:r>
              <a:rPr lang="en-GB"/>
              <a:t>cont.)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35518" y="1877238"/>
            <a:ext cx="3655317" cy="403730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latin typeface="+mj-lt"/>
                <a:sym typeface="Wingdings" panose="05000000000000000000" pitchFamily="2" charset="2"/>
              </a:rPr>
              <a:t>El reto es mantener lo que ocurrió durante la crisis y lo que se ha aprendido cuando las cosas vuelven a la normalidad.</a:t>
            </a:r>
            <a:endParaRPr lang="en-GB" sz="2200" dirty="0">
              <a:latin typeface="+mj-lt"/>
            </a:endParaRPr>
          </a:p>
          <a:p>
            <a:pPr marL="342900" indent="-342900" algn="l">
              <a:lnSpc>
                <a:spcPct val="100000"/>
              </a:lnSpc>
              <a:spcBef>
                <a:spcPts val="600"/>
              </a:spcBef>
              <a:buFont typeface="Arial" panose="020B0604020202020204" pitchFamily="34" charset="0"/>
              <a:buChar char="•"/>
            </a:pPr>
            <a:r>
              <a:rPr lang="en-GB" sz="2200" b="1" dirty="0">
                <a:latin typeface="+mj-lt"/>
                <a:sym typeface="Wingdings" panose="05000000000000000000" pitchFamily="2" charset="2"/>
              </a:rPr>
              <a:t>Desgraciadamente, el buen comportamiento que se produjo durante la crisis se desvanece cuando las cosas vuelven a la normalidad</a:t>
            </a:r>
            <a:endParaRPr lang="en-GB" sz="2200" b="1" dirty="0">
              <a:latin typeface="+mj-lt"/>
            </a:endParaRPr>
          </a:p>
          <a:p>
            <a:pPr marL="342900" indent="-342900" algn="l">
              <a:lnSpc>
                <a:spcPct val="100000"/>
              </a:lnSpc>
              <a:spcBef>
                <a:spcPts val="600"/>
              </a:spcBef>
              <a:buFont typeface="Arial" panose="020B0604020202020204" pitchFamily="34" charset="0"/>
              <a:buChar char="•"/>
            </a:pPr>
            <a:r>
              <a:rPr lang="en-GB" sz="2200" b="1" dirty="0">
                <a:latin typeface="+mj-lt"/>
                <a:sym typeface="Wingdings" panose="05000000000000000000" pitchFamily="2" charset="2"/>
              </a:rPr>
              <a:t>Muchas lecciones se pierden</a:t>
            </a:r>
            <a:endParaRPr lang="en-GB" sz="2200" b="1" dirty="0">
              <a:latin typeface="+mj-lt"/>
            </a:endParaRPr>
          </a:p>
          <a:p>
            <a:pPr marL="285750" indent="-285750" algn="l">
              <a:lnSpc>
                <a:spcPct val="100000"/>
              </a:lnSpc>
              <a:spcBef>
                <a:spcPts val="600"/>
              </a:spcBef>
              <a:buFont typeface="Wingdings" panose="05000000000000000000" pitchFamily="2" charset="2"/>
              <a:buChar char="à"/>
            </a:pPr>
            <a:endParaRPr lang="en-GB" sz="2200" b="1" dirty="0">
              <a:latin typeface="+mj-lt"/>
            </a:endParaRPr>
          </a:p>
        </p:txBody>
      </p:sp>
      <p:sp>
        <p:nvSpPr>
          <p:cNvPr id="125" name="TextBox 148">
            <a:extLst>
              <a:ext uri="{FF2B5EF4-FFF2-40B4-BE49-F238E27FC236}">
                <a16:creationId xmlns:a16="http://schemas.microsoft.com/office/drawing/2014/main" xmlns="" id="{E7F2FC67-D2C3-4AFB-89B8-B044FF5E280B}"/>
              </a:ext>
            </a:extLst>
          </p:cNvPr>
          <p:cNvSpPr txBox="1"/>
          <p:nvPr/>
        </p:nvSpPr>
        <p:spPr>
          <a:xfrm>
            <a:off x="4641396" y="1849394"/>
            <a:ext cx="1942006" cy="523220"/>
          </a:xfrm>
          <a:prstGeom prst="rect">
            <a:avLst/>
          </a:prstGeom>
          <a:noFill/>
        </p:spPr>
        <p:txBody>
          <a:bodyPr wrap="none" rtlCol="0" anchor="ctr" anchorCtr="0">
            <a:spAutoFit/>
          </a:bodyPr>
          <a:lstStyle/>
          <a:p>
            <a:r>
              <a:rPr lang="en-GB" sz="2800" b="1" dirty="0">
                <a:solidFill>
                  <a:srgbClr val="E53292"/>
                </a:solidFill>
                <a:latin typeface="+mj-lt"/>
                <a:ea typeface="League Spartan" charset="0"/>
                <a:cs typeface="Poppins" pitchFamily="2" charset="77"/>
              </a:rPr>
              <a:t>Lecciones perdidas</a:t>
            </a:r>
          </a:p>
        </p:txBody>
      </p:sp>
      <p:sp>
        <p:nvSpPr>
          <p:cNvPr id="83" name="Shape 55411">
            <a:extLst>
              <a:ext uri="{FF2B5EF4-FFF2-40B4-BE49-F238E27FC236}">
                <a16:creationId xmlns:a16="http://schemas.microsoft.com/office/drawing/2014/main" xmlns="" id="{CC084AA3-5508-4827-BDFA-82303B52AB23}"/>
              </a:ext>
            </a:extLst>
          </p:cNvPr>
          <p:cNvSpPr/>
          <p:nvPr/>
        </p:nvSpPr>
        <p:spPr>
          <a:xfrm>
            <a:off x="8189198" y="4628665"/>
            <a:ext cx="2252241" cy="568970"/>
          </a:xfrm>
          <a:custGeom>
            <a:avLst/>
            <a:gdLst/>
            <a:ahLst/>
            <a:cxnLst>
              <a:cxn ang="0">
                <a:pos x="wd2" y="hd2"/>
              </a:cxn>
              <a:cxn ang="5400000">
                <a:pos x="wd2" y="hd2"/>
              </a:cxn>
              <a:cxn ang="10800000">
                <a:pos x="wd2" y="hd2"/>
              </a:cxn>
              <a:cxn ang="16200000">
                <a:pos x="wd2" y="hd2"/>
              </a:cxn>
            </a:cxnLst>
            <a:rect l="0" t="0" r="r" b="b"/>
            <a:pathLst>
              <a:path w="21600" h="21600" extrusionOk="0">
                <a:moveTo>
                  <a:pt x="2725" y="0"/>
                </a:moveTo>
                <a:lnTo>
                  <a:pt x="21600" y="0"/>
                </a:lnTo>
                <a:cubicBezTo>
                  <a:pt x="20700" y="2441"/>
                  <a:pt x="20162" y="6481"/>
                  <a:pt x="20162" y="10800"/>
                </a:cubicBezTo>
                <a:cubicBezTo>
                  <a:pt x="20162" y="15119"/>
                  <a:pt x="20700" y="19159"/>
                  <a:pt x="21600" y="21600"/>
                </a:cubicBezTo>
                <a:lnTo>
                  <a:pt x="2725" y="21600"/>
                </a:lnTo>
                <a:cubicBezTo>
                  <a:pt x="1219" y="21592"/>
                  <a:pt x="0" y="16759"/>
                  <a:pt x="0" y="10800"/>
                </a:cubicBezTo>
                <a:cubicBezTo>
                  <a:pt x="0" y="4841"/>
                  <a:pt x="1219" y="8"/>
                  <a:pt x="2725" y="0"/>
                </a:cubicBez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400" dirty="0">
              <a:latin typeface="+mj-lt"/>
            </a:endParaRPr>
          </a:p>
        </p:txBody>
      </p:sp>
      <p:sp>
        <p:nvSpPr>
          <p:cNvPr id="85" name="Shape 55412">
            <a:extLst>
              <a:ext uri="{FF2B5EF4-FFF2-40B4-BE49-F238E27FC236}">
                <a16:creationId xmlns:a16="http://schemas.microsoft.com/office/drawing/2014/main" xmlns="" id="{B35FA552-77DF-4DE1-9E4A-BD0D9783FD87}"/>
              </a:ext>
            </a:extLst>
          </p:cNvPr>
          <p:cNvSpPr/>
          <p:nvPr/>
        </p:nvSpPr>
        <p:spPr>
          <a:xfrm>
            <a:off x="8143972" y="4598700"/>
            <a:ext cx="2365599" cy="629125"/>
          </a:xfrm>
          <a:custGeom>
            <a:avLst/>
            <a:gdLst/>
            <a:ahLst/>
            <a:cxnLst>
              <a:cxn ang="0">
                <a:pos x="wd2" y="hd2"/>
              </a:cxn>
              <a:cxn ang="5400000">
                <a:pos x="wd2" y="hd2"/>
              </a:cxn>
              <a:cxn ang="10800000">
                <a:pos x="wd2" y="hd2"/>
              </a:cxn>
              <a:cxn ang="16200000">
                <a:pos x="wd2" y="hd2"/>
              </a:cxn>
            </a:cxnLst>
            <a:rect l="0" t="0" r="r" b="b"/>
            <a:pathLst>
              <a:path w="21319" h="21498" extrusionOk="0">
                <a:moveTo>
                  <a:pt x="2865" y="1"/>
                </a:moveTo>
                <a:cubicBezTo>
                  <a:pt x="2850" y="0"/>
                  <a:pt x="2834" y="0"/>
                  <a:pt x="2819" y="0"/>
                </a:cubicBezTo>
                <a:cubicBezTo>
                  <a:pt x="2078" y="11"/>
                  <a:pt x="1360" y="1057"/>
                  <a:pt x="835" y="3039"/>
                </a:cubicBezTo>
                <a:cubicBezTo>
                  <a:pt x="-281" y="7253"/>
                  <a:pt x="-275" y="14186"/>
                  <a:pt x="835" y="18445"/>
                </a:cubicBezTo>
                <a:cubicBezTo>
                  <a:pt x="1369" y="20495"/>
                  <a:pt x="2106" y="21600"/>
                  <a:pt x="2865" y="21491"/>
                </a:cubicBezTo>
                <a:lnTo>
                  <a:pt x="21319" y="21491"/>
                </a:lnTo>
                <a:lnTo>
                  <a:pt x="21319" y="19604"/>
                </a:lnTo>
                <a:lnTo>
                  <a:pt x="2936" y="19604"/>
                </a:lnTo>
                <a:cubicBezTo>
                  <a:pt x="1619" y="19753"/>
                  <a:pt x="529" y="15744"/>
                  <a:pt x="529" y="10746"/>
                </a:cubicBezTo>
                <a:cubicBezTo>
                  <a:pt x="529" y="5748"/>
                  <a:pt x="1619" y="1739"/>
                  <a:pt x="2936" y="1889"/>
                </a:cubicBezTo>
                <a:lnTo>
                  <a:pt x="21319" y="1889"/>
                </a:lnTo>
                <a:lnTo>
                  <a:pt x="21319" y="1"/>
                </a:lnTo>
                <a:lnTo>
                  <a:pt x="2865" y="1"/>
                </a:lnTo>
                <a:close/>
              </a:path>
            </a:pathLst>
          </a:custGeom>
          <a:solidFill>
            <a:schemeClr val="accent5"/>
          </a:solidFill>
          <a:ln w="12700" cap="flat">
            <a:noFill/>
            <a:miter lim="400000"/>
          </a:ln>
          <a:effectLst/>
        </p:spPr>
        <p:txBody>
          <a:bodyPr wrap="square" lIns="0" tIns="0" rIns="0" bIns="0" numCol="1" anchor="t">
            <a:noAutofit/>
          </a:bodyPr>
          <a:lstStyle/>
          <a:p>
            <a:endParaRPr lang="en-GB" sz="1400" dirty="0">
              <a:latin typeface="+mj-lt"/>
            </a:endParaRPr>
          </a:p>
        </p:txBody>
      </p:sp>
      <p:sp>
        <p:nvSpPr>
          <p:cNvPr id="86" name="Shape 55414">
            <a:extLst>
              <a:ext uri="{FF2B5EF4-FFF2-40B4-BE49-F238E27FC236}">
                <a16:creationId xmlns:a16="http://schemas.microsoft.com/office/drawing/2014/main" xmlns="" id="{4D91321A-2BBE-405D-A62A-BFB147675ED0}"/>
              </a:ext>
            </a:extLst>
          </p:cNvPr>
          <p:cNvSpPr/>
          <p:nvPr/>
        </p:nvSpPr>
        <p:spPr>
          <a:xfrm>
            <a:off x="8444919" y="2417228"/>
            <a:ext cx="388784" cy="209041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8573"/>
                </a:lnTo>
                <a:lnTo>
                  <a:pt x="21600" y="18573"/>
                </a:lnTo>
                <a:lnTo>
                  <a:pt x="21600" y="0"/>
                </a:lnTo>
                <a:lnTo>
                  <a:pt x="0" y="0"/>
                </a:lnTo>
                <a:close/>
                <a:moveTo>
                  <a:pt x="10800" y="2562"/>
                </a:moveTo>
                <a:cubicBezTo>
                  <a:pt x="12459" y="2562"/>
                  <a:pt x="14121" y="2679"/>
                  <a:pt x="15386" y="2914"/>
                </a:cubicBezTo>
                <a:cubicBezTo>
                  <a:pt x="17917" y="3385"/>
                  <a:pt x="17917" y="4149"/>
                  <a:pt x="15386" y="4620"/>
                </a:cubicBezTo>
                <a:cubicBezTo>
                  <a:pt x="12855" y="5091"/>
                  <a:pt x="8745" y="5091"/>
                  <a:pt x="6214" y="4620"/>
                </a:cubicBezTo>
                <a:cubicBezTo>
                  <a:pt x="3683" y="4149"/>
                  <a:pt x="3683" y="3385"/>
                  <a:pt x="6214" y="2914"/>
                </a:cubicBezTo>
                <a:cubicBezTo>
                  <a:pt x="7479" y="2679"/>
                  <a:pt x="9141" y="2562"/>
                  <a:pt x="10800" y="2562"/>
                </a:cubicBezTo>
                <a:close/>
                <a:moveTo>
                  <a:pt x="0" y="19353"/>
                </a:moveTo>
                <a:lnTo>
                  <a:pt x="0" y="21600"/>
                </a:lnTo>
                <a:lnTo>
                  <a:pt x="21600" y="21600"/>
                </a:lnTo>
                <a:lnTo>
                  <a:pt x="21600" y="19353"/>
                </a:lnTo>
                <a:lnTo>
                  <a:pt x="0" y="19353"/>
                </a:lnTo>
                <a:close/>
              </a:path>
            </a:pathLst>
          </a:custGeom>
          <a:solidFill>
            <a:schemeClr val="accent1"/>
          </a:solidFill>
          <a:ln w="12700" cap="flat">
            <a:noFill/>
            <a:miter lim="400000"/>
          </a:ln>
          <a:effectLst/>
        </p:spPr>
        <p:txBody>
          <a:bodyPr wrap="square" lIns="0" tIns="0" rIns="0" bIns="0" numCol="1" anchor="t">
            <a:noAutofit/>
          </a:bodyPr>
          <a:lstStyle/>
          <a:p>
            <a:endParaRPr lang="en-GB" sz="1400" dirty="0">
              <a:latin typeface="+mj-lt"/>
            </a:endParaRPr>
          </a:p>
        </p:txBody>
      </p:sp>
      <p:sp>
        <p:nvSpPr>
          <p:cNvPr id="88" name="Shape 55415">
            <a:extLst>
              <a:ext uri="{FF2B5EF4-FFF2-40B4-BE49-F238E27FC236}">
                <a16:creationId xmlns:a16="http://schemas.microsoft.com/office/drawing/2014/main" xmlns="" id="{02D802A2-2584-4D1F-9A17-1BA10AAC5846}"/>
              </a:ext>
            </a:extLst>
          </p:cNvPr>
          <p:cNvSpPr/>
          <p:nvPr/>
        </p:nvSpPr>
        <p:spPr>
          <a:xfrm>
            <a:off x="9054900" y="2417228"/>
            <a:ext cx="543734" cy="209041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6942"/>
                </a:lnTo>
                <a:lnTo>
                  <a:pt x="21600" y="16942"/>
                </a:lnTo>
                <a:lnTo>
                  <a:pt x="21600" y="0"/>
                </a:lnTo>
                <a:lnTo>
                  <a:pt x="0" y="0"/>
                </a:lnTo>
                <a:close/>
                <a:moveTo>
                  <a:pt x="10800" y="2562"/>
                </a:moveTo>
                <a:cubicBezTo>
                  <a:pt x="11986" y="2562"/>
                  <a:pt x="13174" y="2679"/>
                  <a:pt x="14079" y="2914"/>
                </a:cubicBezTo>
                <a:cubicBezTo>
                  <a:pt x="15889" y="3385"/>
                  <a:pt x="15889" y="4149"/>
                  <a:pt x="14079" y="4620"/>
                </a:cubicBezTo>
                <a:cubicBezTo>
                  <a:pt x="12270" y="5091"/>
                  <a:pt x="9330" y="5091"/>
                  <a:pt x="7521" y="4620"/>
                </a:cubicBezTo>
                <a:cubicBezTo>
                  <a:pt x="5711" y="4149"/>
                  <a:pt x="5711" y="3385"/>
                  <a:pt x="7521" y="2914"/>
                </a:cubicBezTo>
                <a:cubicBezTo>
                  <a:pt x="8426" y="2679"/>
                  <a:pt x="9614" y="2562"/>
                  <a:pt x="10800" y="2562"/>
                </a:cubicBezTo>
                <a:close/>
                <a:moveTo>
                  <a:pt x="0" y="17720"/>
                </a:moveTo>
                <a:lnTo>
                  <a:pt x="0" y="18573"/>
                </a:lnTo>
                <a:lnTo>
                  <a:pt x="21600" y="18573"/>
                </a:lnTo>
                <a:lnTo>
                  <a:pt x="21600" y="17720"/>
                </a:lnTo>
                <a:lnTo>
                  <a:pt x="0" y="17720"/>
                </a:lnTo>
                <a:close/>
                <a:moveTo>
                  <a:pt x="0" y="19353"/>
                </a:moveTo>
                <a:lnTo>
                  <a:pt x="0" y="21600"/>
                </a:lnTo>
                <a:lnTo>
                  <a:pt x="21600" y="21600"/>
                </a:lnTo>
                <a:lnTo>
                  <a:pt x="21600" y="19353"/>
                </a:lnTo>
                <a:lnTo>
                  <a:pt x="0" y="19353"/>
                </a:lnTo>
                <a:close/>
              </a:path>
            </a:pathLst>
          </a:custGeom>
          <a:solidFill>
            <a:schemeClr val="accent2"/>
          </a:solidFill>
          <a:ln w="12700" cap="flat">
            <a:noFill/>
            <a:miter lim="400000"/>
          </a:ln>
          <a:effectLst/>
        </p:spPr>
        <p:txBody>
          <a:bodyPr wrap="square" lIns="0" tIns="0" rIns="0" bIns="0" numCol="1" anchor="t">
            <a:noAutofit/>
          </a:bodyPr>
          <a:lstStyle/>
          <a:p>
            <a:endParaRPr lang="en-GB" sz="1400" dirty="0">
              <a:latin typeface="+mj-lt"/>
            </a:endParaRPr>
          </a:p>
        </p:txBody>
      </p:sp>
      <p:sp>
        <p:nvSpPr>
          <p:cNvPr id="89" name="Shape 55416">
            <a:extLst>
              <a:ext uri="{FF2B5EF4-FFF2-40B4-BE49-F238E27FC236}">
                <a16:creationId xmlns:a16="http://schemas.microsoft.com/office/drawing/2014/main" xmlns="" id="{E8ABD047-00DF-4947-B70B-3F99C8608E3D}"/>
              </a:ext>
            </a:extLst>
          </p:cNvPr>
          <p:cNvSpPr/>
          <p:nvPr/>
        </p:nvSpPr>
        <p:spPr>
          <a:xfrm>
            <a:off x="9781514" y="2417228"/>
            <a:ext cx="465414" cy="209041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247"/>
                </a:lnTo>
                <a:lnTo>
                  <a:pt x="21600" y="2247"/>
                </a:lnTo>
                <a:lnTo>
                  <a:pt x="21600" y="0"/>
                </a:lnTo>
                <a:lnTo>
                  <a:pt x="0" y="0"/>
                </a:lnTo>
                <a:close/>
                <a:moveTo>
                  <a:pt x="0" y="4658"/>
                </a:moveTo>
                <a:lnTo>
                  <a:pt x="0" y="16942"/>
                </a:lnTo>
                <a:lnTo>
                  <a:pt x="21600" y="16942"/>
                </a:lnTo>
                <a:lnTo>
                  <a:pt x="21600" y="4658"/>
                </a:lnTo>
                <a:lnTo>
                  <a:pt x="0" y="4658"/>
                </a:lnTo>
                <a:close/>
                <a:moveTo>
                  <a:pt x="10800" y="9595"/>
                </a:moveTo>
                <a:cubicBezTo>
                  <a:pt x="12185" y="9595"/>
                  <a:pt x="13574" y="9712"/>
                  <a:pt x="14631" y="9947"/>
                </a:cubicBezTo>
                <a:cubicBezTo>
                  <a:pt x="16745" y="10418"/>
                  <a:pt x="16745" y="11182"/>
                  <a:pt x="14631" y="11653"/>
                </a:cubicBezTo>
                <a:cubicBezTo>
                  <a:pt x="12517" y="12124"/>
                  <a:pt x="9083" y="12124"/>
                  <a:pt x="6969" y="11653"/>
                </a:cubicBezTo>
                <a:cubicBezTo>
                  <a:pt x="4855" y="11182"/>
                  <a:pt x="4855" y="10418"/>
                  <a:pt x="6969" y="9947"/>
                </a:cubicBezTo>
                <a:cubicBezTo>
                  <a:pt x="8026" y="9712"/>
                  <a:pt x="9415" y="9595"/>
                  <a:pt x="10800" y="9595"/>
                </a:cubicBezTo>
                <a:close/>
                <a:moveTo>
                  <a:pt x="0" y="19353"/>
                </a:moveTo>
                <a:lnTo>
                  <a:pt x="0" y="21600"/>
                </a:lnTo>
                <a:lnTo>
                  <a:pt x="21600" y="21600"/>
                </a:lnTo>
                <a:lnTo>
                  <a:pt x="21600" y="19353"/>
                </a:lnTo>
                <a:lnTo>
                  <a:pt x="0" y="19353"/>
                </a:lnTo>
                <a:close/>
              </a:path>
            </a:pathLst>
          </a:custGeom>
          <a:solidFill>
            <a:schemeClr val="accent3"/>
          </a:solidFill>
          <a:ln w="12700" cap="flat">
            <a:noFill/>
            <a:miter lim="400000"/>
          </a:ln>
          <a:effectLst/>
        </p:spPr>
        <p:txBody>
          <a:bodyPr wrap="square" lIns="0" tIns="0" rIns="0" bIns="0" numCol="1" anchor="t">
            <a:noAutofit/>
          </a:bodyPr>
          <a:lstStyle/>
          <a:p>
            <a:endParaRPr lang="en-GB" sz="1400" dirty="0">
              <a:latin typeface="+mj-lt"/>
            </a:endParaRPr>
          </a:p>
        </p:txBody>
      </p:sp>
      <p:sp>
        <p:nvSpPr>
          <p:cNvPr id="91" name="Shape 55418">
            <a:extLst>
              <a:ext uri="{FF2B5EF4-FFF2-40B4-BE49-F238E27FC236}">
                <a16:creationId xmlns:a16="http://schemas.microsoft.com/office/drawing/2014/main" xmlns="" id="{CC96FCB3-49FC-4701-8B96-F89EB3A4C654}"/>
              </a:ext>
            </a:extLst>
          </p:cNvPr>
          <p:cNvSpPr/>
          <p:nvPr/>
        </p:nvSpPr>
        <p:spPr>
          <a:xfrm flipH="1">
            <a:off x="8221802" y="5353103"/>
            <a:ext cx="2572833" cy="649958"/>
          </a:xfrm>
          <a:custGeom>
            <a:avLst/>
            <a:gdLst/>
            <a:ahLst/>
            <a:cxnLst>
              <a:cxn ang="0">
                <a:pos x="wd2" y="hd2"/>
              </a:cxn>
              <a:cxn ang="5400000">
                <a:pos x="wd2" y="hd2"/>
              </a:cxn>
              <a:cxn ang="10800000">
                <a:pos x="wd2" y="hd2"/>
              </a:cxn>
              <a:cxn ang="16200000">
                <a:pos x="wd2" y="hd2"/>
              </a:cxn>
            </a:cxnLst>
            <a:rect l="0" t="0" r="r" b="b"/>
            <a:pathLst>
              <a:path w="21600" h="21600" extrusionOk="0">
                <a:moveTo>
                  <a:pt x="2725" y="0"/>
                </a:moveTo>
                <a:lnTo>
                  <a:pt x="21600" y="0"/>
                </a:lnTo>
                <a:cubicBezTo>
                  <a:pt x="20700" y="2441"/>
                  <a:pt x="20162" y="6481"/>
                  <a:pt x="20162" y="10800"/>
                </a:cubicBezTo>
                <a:cubicBezTo>
                  <a:pt x="20162" y="15119"/>
                  <a:pt x="20700" y="19159"/>
                  <a:pt x="21600" y="21600"/>
                </a:cubicBezTo>
                <a:lnTo>
                  <a:pt x="2725" y="21600"/>
                </a:lnTo>
                <a:cubicBezTo>
                  <a:pt x="1219" y="21592"/>
                  <a:pt x="0" y="16759"/>
                  <a:pt x="0" y="10800"/>
                </a:cubicBezTo>
                <a:cubicBezTo>
                  <a:pt x="0" y="4841"/>
                  <a:pt x="1219" y="8"/>
                  <a:pt x="2725" y="0"/>
                </a:cubicBez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400" dirty="0">
              <a:latin typeface="+mj-lt"/>
            </a:endParaRPr>
          </a:p>
        </p:txBody>
      </p:sp>
      <p:sp>
        <p:nvSpPr>
          <p:cNvPr id="93" name="Shape 55419">
            <a:extLst>
              <a:ext uri="{FF2B5EF4-FFF2-40B4-BE49-F238E27FC236}">
                <a16:creationId xmlns:a16="http://schemas.microsoft.com/office/drawing/2014/main" xmlns="" id="{FD01F183-C980-479B-867D-233B865E8687}"/>
              </a:ext>
            </a:extLst>
          </p:cNvPr>
          <p:cNvSpPr/>
          <p:nvPr/>
        </p:nvSpPr>
        <p:spPr>
          <a:xfrm flipH="1">
            <a:off x="8143971" y="5318871"/>
            <a:ext cx="2702325" cy="718676"/>
          </a:xfrm>
          <a:custGeom>
            <a:avLst/>
            <a:gdLst/>
            <a:ahLst/>
            <a:cxnLst>
              <a:cxn ang="0">
                <a:pos x="wd2" y="hd2"/>
              </a:cxn>
              <a:cxn ang="5400000">
                <a:pos x="wd2" y="hd2"/>
              </a:cxn>
              <a:cxn ang="10800000">
                <a:pos x="wd2" y="hd2"/>
              </a:cxn>
              <a:cxn ang="16200000">
                <a:pos x="wd2" y="hd2"/>
              </a:cxn>
            </a:cxnLst>
            <a:rect l="0" t="0" r="r" b="b"/>
            <a:pathLst>
              <a:path w="21319" h="21498" extrusionOk="0">
                <a:moveTo>
                  <a:pt x="2865" y="1"/>
                </a:moveTo>
                <a:cubicBezTo>
                  <a:pt x="2850" y="0"/>
                  <a:pt x="2834" y="0"/>
                  <a:pt x="2819" y="0"/>
                </a:cubicBezTo>
                <a:cubicBezTo>
                  <a:pt x="2078" y="11"/>
                  <a:pt x="1360" y="1057"/>
                  <a:pt x="835" y="3039"/>
                </a:cubicBezTo>
                <a:cubicBezTo>
                  <a:pt x="-281" y="7253"/>
                  <a:pt x="-275" y="14186"/>
                  <a:pt x="835" y="18445"/>
                </a:cubicBezTo>
                <a:cubicBezTo>
                  <a:pt x="1369" y="20495"/>
                  <a:pt x="2106" y="21600"/>
                  <a:pt x="2865" y="21491"/>
                </a:cubicBezTo>
                <a:lnTo>
                  <a:pt x="21319" y="21491"/>
                </a:lnTo>
                <a:lnTo>
                  <a:pt x="21319" y="19604"/>
                </a:lnTo>
                <a:lnTo>
                  <a:pt x="2936" y="19604"/>
                </a:lnTo>
                <a:cubicBezTo>
                  <a:pt x="1619" y="19753"/>
                  <a:pt x="529" y="15744"/>
                  <a:pt x="529" y="10746"/>
                </a:cubicBezTo>
                <a:cubicBezTo>
                  <a:pt x="529" y="5748"/>
                  <a:pt x="1619" y="1739"/>
                  <a:pt x="2936" y="1889"/>
                </a:cubicBezTo>
                <a:lnTo>
                  <a:pt x="21319" y="1889"/>
                </a:lnTo>
                <a:lnTo>
                  <a:pt x="21319" y="1"/>
                </a:lnTo>
                <a:lnTo>
                  <a:pt x="2865" y="1"/>
                </a:lnTo>
                <a:close/>
              </a:path>
            </a:pathLst>
          </a:custGeom>
          <a:solidFill>
            <a:schemeClr val="accent6"/>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05" name="Shape 55421">
            <a:extLst>
              <a:ext uri="{FF2B5EF4-FFF2-40B4-BE49-F238E27FC236}">
                <a16:creationId xmlns:a16="http://schemas.microsoft.com/office/drawing/2014/main" xmlns="" id="{82E33E53-6069-4C4B-BD96-37B2F0AD592F}"/>
              </a:ext>
            </a:extLst>
          </p:cNvPr>
          <p:cNvSpPr/>
          <p:nvPr/>
        </p:nvSpPr>
        <p:spPr>
          <a:xfrm rot="21000000">
            <a:off x="10735903" y="3597087"/>
            <a:ext cx="450200" cy="241975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8572"/>
                </a:lnTo>
                <a:lnTo>
                  <a:pt x="21600" y="18572"/>
                </a:lnTo>
                <a:lnTo>
                  <a:pt x="21600" y="0"/>
                </a:lnTo>
                <a:lnTo>
                  <a:pt x="0" y="0"/>
                </a:lnTo>
                <a:close/>
                <a:moveTo>
                  <a:pt x="10800" y="2563"/>
                </a:moveTo>
                <a:cubicBezTo>
                  <a:pt x="12458" y="2563"/>
                  <a:pt x="14117" y="2679"/>
                  <a:pt x="15382" y="2915"/>
                </a:cubicBezTo>
                <a:cubicBezTo>
                  <a:pt x="17912" y="3385"/>
                  <a:pt x="17912" y="4149"/>
                  <a:pt x="15382" y="4620"/>
                </a:cubicBezTo>
                <a:cubicBezTo>
                  <a:pt x="12852" y="5090"/>
                  <a:pt x="8748" y="5090"/>
                  <a:pt x="6218" y="4620"/>
                </a:cubicBezTo>
                <a:cubicBezTo>
                  <a:pt x="3688" y="4149"/>
                  <a:pt x="3688" y="3385"/>
                  <a:pt x="6218" y="2915"/>
                </a:cubicBezTo>
                <a:cubicBezTo>
                  <a:pt x="7483" y="2679"/>
                  <a:pt x="9142" y="2563"/>
                  <a:pt x="10800" y="2563"/>
                </a:cubicBezTo>
                <a:close/>
                <a:moveTo>
                  <a:pt x="0" y="19352"/>
                </a:moveTo>
                <a:lnTo>
                  <a:pt x="0" y="21600"/>
                </a:lnTo>
                <a:lnTo>
                  <a:pt x="21600" y="21600"/>
                </a:lnTo>
                <a:lnTo>
                  <a:pt x="21600" y="19352"/>
                </a:lnTo>
                <a:lnTo>
                  <a:pt x="0" y="19352"/>
                </a:lnTo>
                <a:close/>
              </a:path>
            </a:pathLst>
          </a:custGeom>
          <a:solidFill>
            <a:schemeClr val="accent4"/>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06" name="Shape 63921">
            <a:extLst>
              <a:ext uri="{FF2B5EF4-FFF2-40B4-BE49-F238E27FC236}">
                <a16:creationId xmlns:a16="http://schemas.microsoft.com/office/drawing/2014/main" xmlns="" id="{125E607E-47C8-4CE8-B0C7-9C2E5CB89E58}"/>
              </a:ext>
            </a:extLst>
          </p:cNvPr>
          <p:cNvSpPr/>
          <p:nvPr/>
        </p:nvSpPr>
        <p:spPr>
          <a:xfrm>
            <a:off x="4393575" y="4653954"/>
            <a:ext cx="213914" cy="213915"/>
          </a:xfrm>
          <a:prstGeom prst="diamond">
            <a:avLst/>
          </a:prstGeom>
          <a:solidFill>
            <a:schemeClr val="accent3"/>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09" name="Shape 63926">
            <a:extLst>
              <a:ext uri="{FF2B5EF4-FFF2-40B4-BE49-F238E27FC236}">
                <a16:creationId xmlns:a16="http://schemas.microsoft.com/office/drawing/2014/main" xmlns="" id="{14CEC68A-F589-4BAB-8531-B51C5576EDCC}"/>
              </a:ext>
            </a:extLst>
          </p:cNvPr>
          <p:cNvSpPr/>
          <p:nvPr/>
        </p:nvSpPr>
        <p:spPr>
          <a:xfrm>
            <a:off x="4393575" y="2625687"/>
            <a:ext cx="213914" cy="213914"/>
          </a:xfrm>
          <a:prstGeom prst="diamond">
            <a:avLst/>
          </a:prstGeom>
          <a:solidFill>
            <a:schemeClr val="accent1">
              <a:lumMod val="90000"/>
              <a:lumOff val="10000"/>
            </a:schemeClr>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10" name="Shape 63931">
            <a:extLst>
              <a:ext uri="{FF2B5EF4-FFF2-40B4-BE49-F238E27FC236}">
                <a16:creationId xmlns:a16="http://schemas.microsoft.com/office/drawing/2014/main" xmlns="" id="{313F64DC-367B-4D57-A323-FACA03F0277C}"/>
              </a:ext>
            </a:extLst>
          </p:cNvPr>
          <p:cNvSpPr/>
          <p:nvPr/>
        </p:nvSpPr>
        <p:spPr>
          <a:xfrm>
            <a:off x="4393575" y="3625533"/>
            <a:ext cx="213914" cy="213914"/>
          </a:xfrm>
          <a:prstGeom prst="diamond">
            <a:avLst/>
          </a:prstGeom>
          <a:solidFill>
            <a:schemeClr val="accent2"/>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12" name="Shape 63936">
            <a:extLst>
              <a:ext uri="{FF2B5EF4-FFF2-40B4-BE49-F238E27FC236}">
                <a16:creationId xmlns:a16="http://schemas.microsoft.com/office/drawing/2014/main" xmlns="" id="{33088128-3F82-493A-8A25-4A5A6502DB62}"/>
              </a:ext>
            </a:extLst>
          </p:cNvPr>
          <p:cNvSpPr/>
          <p:nvPr/>
        </p:nvSpPr>
        <p:spPr>
          <a:xfrm>
            <a:off x="4393575" y="5682375"/>
            <a:ext cx="213914" cy="213914"/>
          </a:xfrm>
          <a:prstGeom prst="diamond">
            <a:avLst/>
          </a:prstGeom>
          <a:solidFill>
            <a:schemeClr val="accent4"/>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17" name="Subtitle 2">
            <a:extLst>
              <a:ext uri="{FF2B5EF4-FFF2-40B4-BE49-F238E27FC236}">
                <a16:creationId xmlns:a16="http://schemas.microsoft.com/office/drawing/2014/main" xmlns="" id="{7C165CC1-1327-4937-91C6-2B756E8B065F}"/>
              </a:ext>
            </a:extLst>
          </p:cNvPr>
          <p:cNvSpPr txBox="1">
            <a:spLocks/>
          </p:cNvSpPr>
          <p:nvPr/>
        </p:nvSpPr>
        <p:spPr>
          <a:xfrm>
            <a:off x="4710331" y="2559199"/>
            <a:ext cx="3413917" cy="95796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Open Sans Light" panose="020B0306030504020204" pitchFamily="34" charset="0"/>
                <a:cs typeface="Open Sans Light" panose="020B0306030504020204" pitchFamily="34" charset="0"/>
              </a:rPr>
              <a:t>Los líderes no suelen criticar el porqué de las actuaciones extraordinarias</a:t>
            </a:r>
          </a:p>
        </p:txBody>
      </p:sp>
      <p:sp>
        <p:nvSpPr>
          <p:cNvPr id="119" name="Subtitle 2">
            <a:extLst>
              <a:ext uri="{FF2B5EF4-FFF2-40B4-BE49-F238E27FC236}">
                <a16:creationId xmlns:a16="http://schemas.microsoft.com/office/drawing/2014/main" xmlns="" id="{A41A0C23-F979-4084-9567-ED79F4435971}"/>
              </a:ext>
            </a:extLst>
          </p:cNvPr>
          <p:cNvSpPr txBox="1">
            <a:spLocks/>
          </p:cNvSpPr>
          <p:nvPr/>
        </p:nvSpPr>
        <p:spPr>
          <a:xfrm>
            <a:off x="4730053" y="3503184"/>
            <a:ext cx="3413917" cy="65018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Open Sans Light" panose="020B0306030504020204" pitchFamily="34" charset="0"/>
                <a:cs typeface="Open Sans Light" panose="020B0306030504020204" pitchFamily="34" charset="0"/>
              </a:rPr>
              <a:t>Los líderes racionalizan que la crisis no tiene nada que enseñarles</a:t>
            </a:r>
          </a:p>
        </p:txBody>
      </p:sp>
      <p:sp>
        <p:nvSpPr>
          <p:cNvPr id="121" name="Subtitle 2">
            <a:extLst>
              <a:ext uri="{FF2B5EF4-FFF2-40B4-BE49-F238E27FC236}">
                <a16:creationId xmlns:a16="http://schemas.microsoft.com/office/drawing/2014/main" xmlns="" id="{37DDC056-993D-47DF-9055-40C112E5B5CF}"/>
              </a:ext>
            </a:extLst>
          </p:cNvPr>
          <p:cNvSpPr txBox="1">
            <a:spLocks/>
          </p:cNvSpPr>
          <p:nvPr/>
        </p:nvSpPr>
        <p:spPr>
          <a:xfrm>
            <a:off x="4695825" y="4280280"/>
            <a:ext cx="2809875" cy="126573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Open Sans Light" panose="020B0306030504020204" pitchFamily="34" charset="0"/>
                <a:cs typeface="Open Sans Light" panose="020B0306030504020204" pitchFamily="34" charset="0"/>
              </a:rPr>
              <a:t>Los líderes aceptan que las personas involucradas en las mejoras vuelvan a sus hábitos normales</a:t>
            </a:r>
          </a:p>
        </p:txBody>
      </p:sp>
      <p:sp>
        <p:nvSpPr>
          <p:cNvPr id="123" name="Subtitle 2">
            <a:extLst>
              <a:ext uri="{FF2B5EF4-FFF2-40B4-BE49-F238E27FC236}">
                <a16:creationId xmlns:a16="http://schemas.microsoft.com/office/drawing/2014/main" xmlns="" id="{F4B0739E-8DB9-4C9B-9825-33F842739DF8}"/>
              </a:ext>
            </a:extLst>
          </p:cNvPr>
          <p:cNvSpPr txBox="1">
            <a:spLocks/>
          </p:cNvSpPr>
          <p:nvPr/>
        </p:nvSpPr>
        <p:spPr>
          <a:xfrm>
            <a:off x="4695825" y="5670183"/>
            <a:ext cx="2809875" cy="95796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Open Sans Light" panose="020B0306030504020204" pitchFamily="34" charset="0"/>
                <a:cs typeface="Open Sans Light" panose="020B0306030504020204" pitchFamily="34" charset="0"/>
              </a:rPr>
              <a:t>Los líderes pasan por alto el profundo significado de lo que la crisis reveló</a:t>
            </a:r>
          </a:p>
        </p:txBody>
      </p:sp>
    </p:spTree>
    <p:extLst>
      <p:ext uri="{BB962C8B-B14F-4D97-AF65-F5344CB8AC3E}">
        <p14:creationId xmlns:p14="http://schemas.microsoft.com/office/powerpoint/2010/main" val="27891815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2176" y="524626"/>
            <a:ext cx="8852375" cy="697353"/>
          </a:xfrm>
        </p:spPr>
        <p:txBody>
          <a:bodyPr>
            <a:normAutofit fontScale="92500"/>
          </a:bodyPr>
          <a:lstStyle/>
          <a:p>
            <a:r>
              <a:rPr lang="en-GB" dirty="0"/>
              <a:t>Aprender de la gestión de tareas en la crisis (co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45163" y="2099021"/>
            <a:ext cx="3599200" cy="429891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sym typeface="Wingdings" panose="05000000000000000000" pitchFamily="2" charset="2"/>
              </a:rPr>
              <a:t>La gestión suele ser muy eficaz en una crisis. Es impresionante ver lo que la organización es capaz de conseguir cuando tiene que hacerlo. </a:t>
            </a:r>
            <a:endParaRPr lang="en-US" sz="2200" dirty="0">
              <a:solidFill>
                <a:srgbClr val="245473"/>
              </a:solidFill>
              <a:latin typeface="+mj-lt"/>
            </a:endParaRPr>
          </a:p>
          <a:p>
            <a:pPr algn="l">
              <a:lnSpc>
                <a:spcPct val="100000"/>
              </a:lnSpc>
              <a:spcBef>
                <a:spcPts val="600"/>
              </a:spcBef>
            </a:pPr>
            <a:r>
              <a:rPr lang="en-US" sz="2200" dirty="0">
                <a:solidFill>
                  <a:srgbClr val="245473"/>
                </a:solidFill>
                <a:latin typeface="+mj-lt"/>
                <a:sym typeface="Wingdings" panose="05000000000000000000" pitchFamily="2" charset="2"/>
              </a:rPr>
              <a:t>Por lo tanto, hay varias lecciones aprendidas que definitivamente hay que mantener después de la crisis para salir de ella más fuerte como organización. </a:t>
            </a:r>
            <a:endParaRPr lang="en-GB" sz="2200" b="1"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endParaRPr lang="en-GB" sz="2200" b="1" dirty="0">
              <a:latin typeface="+mj-lt"/>
            </a:endParaRPr>
          </a:p>
        </p:txBody>
      </p:sp>
      <p:sp>
        <p:nvSpPr>
          <p:cNvPr id="125" name="TextBox 148">
            <a:extLst>
              <a:ext uri="{FF2B5EF4-FFF2-40B4-BE49-F238E27FC236}">
                <a16:creationId xmlns:a16="http://schemas.microsoft.com/office/drawing/2014/main" xmlns="" id="{E7F2FC67-D2C3-4AFB-89B8-B044FF5E280B}"/>
              </a:ext>
            </a:extLst>
          </p:cNvPr>
          <p:cNvSpPr txBox="1"/>
          <p:nvPr/>
        </p:nvSpPr>
        <p:spPr>
          <a:xfrm>
            <a:off x="3825118" y="1975863"/>
            <a:ext cx="2486578" cy="338554"/>
          </a:xfrm>
          <a:prstGeom prst="rect">
            <a:avLst/>
          </a:prstGeom>
          <a:noFill/>
        </p:spPr>
        <p:txBody>
          <a:bodyPr wrap="none" rtlCol="0" anchor="ctr" anchorCtr="0">
            <a:spAutoFit/>
          </a:bodyPr>
          <a:lstStyle/>
          <a:p>
            <a:r>
              <a:rPr lang="en-GB" sz="1600" b="1" dirty="0">
                <a:solidFill>
                  <a:schemeClr val="tx2"/>
                </a:solidFill>
                <a:latin typeface="+mj-lt"/>
                <a:ea typeface="League Spartan" charset="0"/>
                <a:cs typeface="Poppins" pitchFamily="2" charset="77"/>
              </a:rPr>
              <a:t>Lecciones aprendidas durante la crisis</a:t>
            </a:r>
          </a:p>
        </p:txBody>
      </p:sp>
      <p:sp>
        <p:nvSpPr>
          <p:cNvPr id="23" name="Shape 46482">
            <a:extLst>
              <a:ext uri="{FF2B5EF4-FFF2-40B4-BE49-F238E27FC236}">
                <a16:creationId xmlns:a16="http://schemas.microsoft.com/office/drawing/2014/main" xmlns="" id="{C20C522A-C503-4E90-9383-DB2E7F99EA26}"/>
              </a:ext>
            </a:extLst>
          </p:cNvPr>
          <p:cNvSpPr/>
          <p:nvPr/>
        </p:nvSpPr>
        <p:spPr>
          <a:xfrm>
            <a:off x="4509068" y="4270547"/>
            <a:ext cx="636153" cy="1829305"/>
          </a:xfrm>
          <a:custGeom>
            <a:avLst/>
            <a:gdLst/>
            <a:ahLst/>
            <a:cxnLst>
              <a:cxn ang="0">
                <a:pos x="wd2" y="hd2"/>
              </a:cxn>
              <a:cxn ang="5400000">
                <a:pos x="wd2" y="hd2"/>
              </a:cxn>
              <a:cxn ang="10800000">
                <a:pos x="wd2" y="hd2"/>
              </a:cxn>
              <a:cxn ang="16200000">
                <a:pos x="wd2" y="hd2"/>
              </a:cxn>
            </a:cxnLst>
            <a:rect l="0" t="0" r="r" b="b"/>
            <a:pathLst>
              <a:path w="21439" h="21600" extrusionOk="0">
                <a:moveTo>
                  <a:pt x="4374" y="0"/>
                </a:moveTo>
                <a:cubicBezTo>
                  <a:pt x="3813" y="0"/>
                  <a:pt x="3308" y="81"/>
                  <a:pt x="2940" y="210"/>
                </a:cubicBezTo>
                <a:cubicBezTo>
                  <a:pt x="2573" y="338"/>
                  <a:pt x="2342" y="515"/>
                  <a:pt x="2342" y="712"/>
                </a:cubicBezTo>
                <a:lnTo>
                  <a:pt x="2342" y="4349"/>
                </a:lnTo>
                <a:lnTo>
                  <a:pt x="2342" y="4805"/>
                </a:lnTo>
                <a:lnTo>
                  <a:pt x="2342" y="6642"/>
                </a:lnTo>
                <a:cubicBezTo>
                  <a:pt x="2216" y="6639"/>
                  <a:pt x="2090" y="6640"/>
                  <a:pt x="1965" y="6645"/>
                </a:cubicBezTo>
                <a:cubicBezTo>
                  <a:pt x="1216" y="6673"/>
                  <a:pt x="548" y="6826"/>
                  <a:pt x="212" y="7061"/>
                </a:cubicBezTo>
                <a:cubicBezTo>
                  <a:pt x="-22" y="7225"/>
                  <a:pt x="-74" y="7421"/>
                  <a:pt x="114" y="7607"/>
                </a:cubicBezTo>
                <a:cubicBezTo>
                  <a:pt x="628" y="8461"/>
                  <a:pt x="1448" y="9291"/>
                  <a:pt x="2563" y="10072"/>
                </a:cubicBezTo>
                <a:cubicBezTo>
                  <a:pt x="3170" y="10498"/>
                  <a:pt x="3866" y="10907"/>
                  <a:pt x="4456" y="11335"/>
                </a:cubicBezTo>
                <a:cubicBezTo>
                  <a:pt x="4970" y="11709"/>
                  <a:pt x="5440" y="12112"/>
                  <a:pt x="5811" y="12517"/>
                </a:cubicBezTo>
                <a:lnTo>
                  <a:pt x="5136" y="21600"/>
                </a:lnTo>
                <a:lnTo>
                  <a:pt x="18342" y="21600"/>
                </a:lnTo>
                <a:lnTo>
                  <a:pt x="17644" y="12280"/>
                </a:lnTo>
                <a:cubicBezTo>
                  <a:pt x="17875" y="12024"/>
                  <a:pt x="18142" y="11774"/>
                  <a:pt x="18424" y="11525"/>
                </a:cubicBezTo>
                <a:cubicBezTo>
                  <a:pt x="19452" y="10614"/>
                  <a:pt x="20903" y="9745"/>
                  <a:pt x="21300" y="8772"/>
                </a:cubicBezTo>
                <a:cubicBezTo>
                  <a:pt x="21526" y="8217"/>
                  <a:pt x="21419" y="7653"/>
                  <a:pt x="21374" y="7093"/>
                </a:cubicBezTo>
                <a:cubicBezTo>
                  <a:pt x="21323" y="6473"/>
                  <a:pt x="21360" y="5853"/>
                  <a:pt x="21365" y="5233"/>
                </a:cubicBezTo>
                <a:cubicBezTo>
                  <a:pt x="21367" y="5036"/>
                  <a:pt x="21143" y="4859"/>
                  <a:pt x="20775" y="4730"/>
                </a:cubicBezTo>
                <a:cubicBezTo>
                  <a:pt x="20408" y="4602"/>
                  <a:pt x="19894" y="4521"/>
                  <a:pt x="19334" y="4521"/>
                </a:cubicBezTo>
                <a:lnTo>
                  <a:pt x="19112" y="4521"/>
                </a:lnTo>
                <a:cubicBezTo>
                  <a:pt x="18551" y="4521"/>
                  <a:pt x="18046" y="4602"/>
                  <a:pt x="17679" y="4730"/>
                </a:cubicBezTo>
                <a:cubicBezTo>
                  <a:pt x="17332" y="4852"/>
                  <a:pt x="17121" y="5018"/>
                  <a:pt x="17097" y="5201"/>
                </a:cubicBezTo>
                <a:lnTo>
                  <a:pt x="16458" y="5164"/>
                </a:lnTo>
                <a:lnTo>
                  <a:pt x="16458" y="4865"/>
                </a:lnTo>
                <a:cubicBezTo>
                  <a:pt x="16458" y="4669"/>
                  <a:pt x="16228" y="4489"/>
                  <a:pt x="15860" y="4360"/>
                </a:cubicBezTo>
                <a:cubicBezTo>
                  <a:pt x="15492" y="4231"/>
                  <a:pt x="14987" y="4154"/>
                  <a:pt x="14426" y="4154"/>
                </a:cubicBezTo>
                <a:lnTo>
                  <a:pt x="14197" y="4154"/>
                </a:lnTo>
                <a:cubicBezTo>
                  <a:pt x="13636" y="4154"/>
                  <a:pt x="13129" y="4231"/>
                  <a:pt x="12763" y="4360"/>
                </a:cubicBezTo>
                <a:cubicBezTo>
                  <a:pt x="12397" y="4489"/>
                  <a:pt x="12173" y="4669"/>
                  <a:pt x="12173" y="4865"/>
                </a:cubicBezTo>
                <a:lnTo>
                  <a:pt x="12173" y="4914"/>
                </a:lnTo>
                <a:lnTo>
                  <a:pt x="11542" y="4880"/>
                </a:lnTo>
                <a:lnTo>
                  <a:pt x="11542" y="4400"/>
                </a:lnTo>
                <a:cubicBezTo>
                  <a:pt x="11542" y="4204"/>
                  <a:pt x="11312" y="4024"/>
                  <a:pt x="10944" y="3895"/>
                </a:cubicBezTo>
                <a:cubicBezTo>
                  <a:pt x="10577" y="3766"/>
                  <a:pt x="10072" y="3689"/>
                  <a:pt x="9511" y="3689"/>
                </a:cubicBezTo>
                <a:lnTo>
                  <a:pt x="9289" y="3689"/>
                </a:lnTo>
                <a:cubicBezTo>
                  <a:pt x="8728" y="3689"/>
                  <a:pt x="8223" y="3766"/>
                  <a:pt x="7856" y="3895"/>
                </a:cubicBezTo>
                <a:cubicBezTo>
                  <a:pt x="7488" y="4024"/>
                  <a:pt x="7258" y="4204"/>
                  <a:pt x="7258" y="4400"/>
                </a:cubicBezTo>
                <a:lnTo>
                  <a:pt x="7258" y="4630"/>
                </a:lnTo>
                <a:lnTo>
                  <a:pt x="6627" y="4593"/>
                </a:lnTo>
                <a:lnTo>
                  <a:pt x="6627" y="712"/>
                </a:lnTo>
                <a:cubicBezTo>
                  <a:pt x="6627" y="515"/>
                  <a:pt x="6405" y="338"/>
                  <a:pt x="6037" y="210"/>
                </a:cubicBezTo>
                <a:cubicBezTo>
                  <a:pt x="5669" y="81"/>
                  <a:pt x="5156" y="0"/>
                  <a:pt x="4595" y="0"/>
                </a:cubicBezTo>
                <a:lnTo>
                  <a:pt x="4374" y="0"/>
                </a:ln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24" name="Shape 46483">
            <a:extLst>
              <a:ext uri="{FF2B5EF4-FFF2-40B4-BE49-F238E27FC236}">
                <a16:creationId xmlns:a16="http://schemas.microsoft.com/office/drawing/2014/main" xmlns="" id="{C1A8F803-E578-4B47-B176-9DECA93281EF}"/>
              </a:ext>
            </a:extLst>
          </p:cNvPr>
          <p:cNvSpPr/>
          <p:nvPr/>
        </p:nvSpPr>
        <p:spPr>
          <a:xfrm>
            <a:off x="6489153" y="4270547"/>
            <a:ext cx="604304" cy="1829305"/>
          </a:xfrm>
          <a:custGeom>
            <a:avLst/>
            <a:gdLst/>
            <a:ahLst/>
            <a:cxnLst>
              <a:cxn ang="0">
                <a:pos x="wd2" y="hd2"/>
              </a:cxn>
              <a:cxn ang="5400000">
                <a:pos x="wd2" y="hd2"/>
              </a:cxn>
              <a:cxn ang="10800000">
                <a:pos x="wd2" y="hd2"/>
              </a:cxn>
              <a:cxn ang="16200000">
                <a:pos x="wd2" y="hd2"/>
              </a:cxn>
            </a:cxnLst>
            <a:rect l="0" t="0" r="r" b="b"/>
            <a:pathLst>
              <a:path w="21523" h="21584" extrusionOk="0">
                <a:moveTo>
                  <a:pt x="10411" y="3"/>
                </a:moveTo>
                <a:cubicBezTo>
                  <a:pt x="9856" y="-16"/>
                  <a:pt x="9330" y="39"/>
                  <a:pt x="8926" y="147"/>
                </a:cubicBezTo>
                <a:cubicBezTo>
                  <a:pt x="8523" y="254"/>
                  <a:pt x="8242" y="414"/>
                  <a:pt x="8184" y="598"/>
                </a:cubicBezTo>
                <a:lnTo>
                  <a:pt x="7376" y="5631"/>
                </a:lnTo>
                <a:lnTo>
                  <a:pt x="6568" y="5599"/>
                </a:lnTo>
                <a:lnTo>
                  <a:pt x="4757" y="1849"/>
                </a:lnTo>
                <a:cubicBezTo>
                  <a:pt x="4699" y="1665"/>
                  <a:pt x="4425" y="1506"/>
                  <a:pt x="4023" y="1398"/>
                </a:cubicBezTo>
                <a:cubicBezTo>
                  <a:pt x="3621" y="1290"/>
                  <a:pt x="3094" y="1233"/>
                  <a:pt x="2538" y="1252"/>
                </a:cubicBezTo>
                <a:lnTo>
                  <a:pt x="2318" y="1260"/>
                </a:lnTo>
                <a:cubicBezTo>
                  <a:pt x="1762" y="1280"/>
                  <a:pt x="1281" y="1373"/>
                  <a:pt x="955" y="1506"/>
                </a:cubicBezTo>
                <a:cubicBezTo>
                  <a:pt x="629" y="1639"/>
                  <a:pt x="456" y="1811"/>
                  <a:pt x="515" y="1995"/>
                </a:cubicBezTo>
                <a:lnTo>
                  <a:pt x="2832" y="7412"/>
                </a:lnTo>
                <a:cubicBezTo>
                  <a:pt x="1722" y="7352"/>
                  <a:pt x="631" y="7551"/>
                  <a:pt x="188" y="7893"/>
                </a:cubicBezTo>
                <a:cubicBezTo>
                  <a:pt x="-17" y="8052"/>
                  <a:pt x="-61" y="8233"/>
                  <a:pt x="90" y="8407"/>
                </a:cubicBezTo>
                <a:cubicBezTo>
                  <a:pt x="754" y="9197"/>
                  <a:pt x="1577" y="9972"/>
                  <a:pt x="2538" y="10729"/>
                </a:cubicBezTo>
                <a:cubicBezTo>
                  <a:pt x="3071" y="11149"/>
                  <a:pt x="3655" y="11561"/>
                  <a:pt x="4252" y="11972"/>
                </a:cubicBezTo>
                <a:cubicBezTo>
                  <a:pt x="4762" y="12323"/>
                  <a:pt x="5338" y="12691"/>
                  <a:pt x="5912" y="13045"/>
                </a:cubicBezTo>
                <a:lnTo>
                  <a:pt x="5239" y="21584"/>
                </a:lnTo>
                <a:lnTo>
                  <a:pt x="18399" y="21584"/>
                </a:lnTo>
                <a:lnTo>
                  <a:pt x="17723" y="13048"/>
                </a:lnTo>
                <a:cubicBezTo>
                  <a:pt x="18349" y="12671"/>
                  <a:pt x="18949" y="12295"/>
                  <a:pt x="19539" y="11916"/>
                </a:cubicBezTo>
                <a:cubicBezTo>
                  <a:pt x="20041" y="11594"/>
                  <a:pt x="20543" y="11266"/>
                  <a:pt x="20871" y="10910"/>
                </a:cubicBezTo>
                <a:cubicBezTo>
                  <a:pt x="21286" y="10459"/>
                  <a:pt x="21353" y="9980"/>
                  <a:pt x="21401" y="9507"/>
                </a:cubicBezTo>
                <a:cubicBezTo>
                  <a:pt x="21510" y="8453"/>
                  <a:pt x="21539" y="7399"/>
                  <a:pt x="21516" y="6345"/>
                </a:cubicBezTo>
                <a:cubicBezTo>
                  <a:pt x="21512" y="6160"/>
                  <a:pt x="21294" y="5993"/>
                  <a:pt x="20928" y="5872"/>
                </a:cubicBezTo>
                <a:cubicBezTo>
                  <a:pt x="20562" y="5750"/>
                  <a:pt x="20051" y="5674"/>
                  <a:pt x="19492" y="5674"/>
                </a:cubicBezTo>
                <a:lnTo>
                  <a:pt x="19272" y="5674"/>
                </a:lnTo>
                <a:cubicBezTo>
                  <a:pt x="18712" y="5671"/>
                  <a:pt x="18203" y="5747"/>
                  <a:pt x="17844" y="5872"/>
                </a:cubicBezTo>
                <a:cubicBezTo>
                  <a:pt x="17633" y="5945"/>
                  <a:pt x="17486" y="6033"/>
                  <a:pt x="17395" y="6131"/>
                </a:cubicBezTo>
                <a:lnTo>
                  <a:pt x="16628" y="6085"/>
                </a:lnTo>
                <a:lnTo>
                  <a:pt x="16628" y="5826"/>
                </a:lnTo>
                <a:cubicBezTo>
                  <a:pt x="16628" y="5640"/>
                  <a:pt x="16399" y="5471"/>
                  <a:pt x="16033" y="5350"/>
                </a:cubicBezTo>
                <a:cubicBezTo>
                  <a:pt x="15667" y="5229"/>
                  <a:pt x="15164" y="5155"/>
                  <a:pt x="14605" y="5155"/>
                </a:cubicBezTo>
                <a:lnTo>
                  <a:pt x="14385" y="5155"/>
                </a:lnTo>
                <a:cubicBezTo>
                  <a:pt x="13826" y="5156"/>
                  <a:pt x="13324" y="5229"/>
                  <a:pt x="12957" y="5350"/>
                </a:cubicBezTo>
                <a:cubicBezTo>
                  <a:pt x="12542" y="5487"/>
                  <a:pt x="12306" y="5683"/>
                  <a:pt x="12361" y="5890"/>
                </a:cubicBezTo>
                <a:lnTo>
                  <a:pt x="11594" y="5858"/>
                </a:lnTo>
                <a:lnTo>
                  <a:pt x="12435" y="747"/>
                </a:lnTo>
                <a:cubicBezTo>
                  <a:pt x="12493" y="563"/>
                  <a:pt x="12321" y="388"/>
                  <a:pt x="11994" y="255"/>
                </a:cubicBezTo>
                <a:cubicBezTo>
                  <a:pt x="11668" y="121"/>
                  <a:pt x="11187" y="28"/>
                  <a:pt x="10632" y="9"/>
                </a:cubicBezTo>
                <a:lnTo>
                  <a:pt x="10411" y="3"/>
                </a:ln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25" name="Shape 46484">
            <a:extLst>
              <a:ext uri="{FF2B5EF4-FFF2-40B4-BE49-F238E27FC236}">
                <a16:creationId xmlns:a16="http://schemas.microsoft.com/office/drawing/2014/main" xmlns="" id="{6D389EDD-D8BD-4831-8FD3-C560C59F33BB}"/>
              </a:ext>
            </a:extLst>
          </p:cNvPr>
          <p:cNvSpPr/>
          <p:nvPr/>
        </p:nvSpPr>
        <p:spPr>
          <a:xfrm>
            <a:off x="10408369" y="4267729"/>
            <a:ext cx="619523" cy="1829305"/>
          </a:xfrm>
          <a:custGeom>
            <a:avLst/>
            <a:gdLst/>
            <a:ahLst/>
            <a:cxnLst>
              <a:cxn ang="0">
                <a:pos x="wd2" y="hd2"/>
              </a:cxn>
              <a:cxn ang="5400000">
                <a:pos x="wd2" y="hd2"/>
              </a:cxn>
              <a:cxn ang="10800000">
                <a:pos x="wd2" y="hd2"/>
              </a:cxn>
              <a:cxn ang="16200000">
                <a:pos x="wd2" y="hd2"/>
              </a:cxn>
            </a:cxnLst>
            <a:rect l="0" t="0" r="r" b="b"/>
            <a:pathLst>
              <a:path w="21489" h="21585" extrusionOk="0">
                <a:moveTo>
                  <a:pt x="9556" y="3"/>
                </a:moveTo>
                <a:cubicBezTo>
                  <a:pt x="9046" y="-15"/>
                  <a:pt x="8562" y="37"/>
                  <a:pt x="8191" y="138"/>
                </a:cubicBezTo>
                <a:cubicBezTo>
                  <a:pt x="7821" y="240"/>
                  <a:pt x="7563" y="388"/>
                  <a:pt x="7509" y="562"/>
                </a:cubicBezTo>
                <a:lnTo>
                  <a:pt x="6766" y="5345"/>
                </a:lnTo>
                <a:lnTo>
                  <a:pt x="6023" y="5316"/>
                </a:lnTo>
                <a:lnTo>
                  <a:pt x="4365" y="1743"/>
                </a:lnTo>
                <a:cubicBezTo>
                  <a:pt x="4311" y="1569"/>
                  <a:pt x="4060" y="1418"/>
                  <a:pt x="3691" y="1317"/>
                </a:cubicBezTo>
                <a:cubicBezTo>
                  <a:pt x="3322" y="1215"/>
                  <a:pt x="2836" y="1160"/>
                  <a:pt x="2327" y="1179"/>
                </a:cubicBezTo>
                <a:lnTo>
                  <a:pt x="2128" y="1187"/>
                </a:lnTo>
                <a:cubicBezTo>
                  <a:pt x="1618" y="1206"/>
                  <a:pt x="1174" y="1294"/>
                  <a:pt x="875" y="1419"/>
                </a:cubicBezTo>
                <a:cubicBezTo>
                  <a:pt x="577" y="1545"/>
                  <a:pt x="416" y="1704"/>
                  <a:pt x="470" y="1878"/>
                </a:cubicBezTo>
                <a:lnTo>
                  <a:pt x="2594" y="6982"/>
                </a:lnTo>
                <a:cubicBezTo>
                  <a:pt x="1576" y="6925"/>
                  <a:pt x="582" y="7112"/>
                  <a:pt x="176" y="7434"/>
                </a:cubicBezTo>
                <a:cubicBezTo>
                  <a:pt x="-12" y="7583"/>
                  <a:pt x="-58" y="7755"/>
                  <a:pt x="81" y="7919"/>
                </a:cubicBezTo>
                <a:cubicBezTo>
                  <a:pt x="549" y="8678"/>
                  <a:pt x="1306" y="9415"/>
                  <a:pt x="2327" y="10108"/>
                </a:cubicBezTo>
                <a:cubicBezTo>
                  <a:pt x="2979" y="10551"/>
                  <a:pt x="3698" y="10988"/>
                  <a:pt x="4127" y="11463"/>
                </a:cubicBezTo>
                <a:cubicBezTo>
                  <a:pt x="4236" y="11583"/>
                  <a:pt x="4324" y="11705"/>
                  <a:pt x="4391" y="11828"/>
                </a:cubicBezTo>
                <a:cubicBezTo>
                  <a:pt x="4446" y="12001"/>
                  <a:pt x="4494" y="12173"/>
                  <a:pt x="4534" y="12345"/>
                </a:cubicBezTo>
                <a:cubicBezTo>
                  <a:pt x="4895" y="13874"/>
                  <a:pt x="4697" y="15410"/>
                  <a:pt x="4488" y="16942"/>
                </a:cubicBezTo>
                <a:cubicBezTo>
                  <a:pt x="4277" y="18490"/>
                  <a:pt x="4054" y="20037"/>
                  <a:pt x="3821" y="21585"/>
                </a:cubicBezTo>
                <a:lnTo>
                  <a:pt x="17745" y="21585"/>
                </a:lnTo>
                <a:cubicBezTo>
                  <a:pt x="17559" y="18474"/>
                  <a:pt x="17374" y="15363"/>
                  <a:pt x="17188" y="12252"/>
                </a:cubicBezTo>
                <a:cubicBezTo>
                  <a:pt x="17180" y="12109"/>
                  <a:pt x="17171" y="11966"/>
                  <a:pt x="17163" y="11824"/>
                </a:cubicBezTo>
                <a:cubicBezTo>
                  <a:pt x="17322" y="11658"/>
                  <a:pt x="17497" y="11493"/>
                  <a:pt x="17689" y="11331"/>
                </a:cubicBezTo>
                <a:cubicBezTo>
                  <a:pt x="18073" y="11007"/>
                  <a:pt x="18523" y="10692"/>
                  <a:pt x="18859" y="10355"/>
                </a:cubicBezTo>
                <a:cubicBezTo>
                  <a:pt x="19475" y="9738"/>
                  <a:pt x="19658" y="9079"/>
                  <a:pt x="19861" y="8427"/>
                </a:cubicBezTo>
                <a:cubicBezTo>
                  <a:pt x="20119" y="7599"/>
                  <a:pt x="20433" y="6772"/>
                  <a:pt x="20716" y="5944"/>
                </a:cubicBezTo>
                <a:cubicBezTo>
                  <a:pt x="20992" y="5135"/>
                  <a:pt x="21243" y="4325"/>
                  <a:pt x="21467" y="3514"/>
                </a:cubicBezTo>
                <a:cubicBezTo>
                  <a:pt x="21542" y="3343"/>
                  <a:pt x="21426" y="3176"/>
                  <a:pt x="21165" y="3041"/>
                </a:cubicBezTo>
                <a:cubicBezTo>
                  <a:pt x="20941" y="2926"/>
                  <a:pt x="20612" y="2834"/>
                  <a:pt x="20206" y="2783"/>
                </a:cubicBezTo>
                <a:lnTo>
                  <a:pt x="20241" y="2771"/>
                </a:lnTo>
                <a:cubicBezTo>
                  <a:pt x="19736" y="2741"/>
                  <a:pt x="19241" y="2781"/>
                  <a:pt x="18850" y="2874"/>
                </a:cubicBezTo>
                <a:cubicBezTo>
                  <a:pt x="18460" y="2967"/>
                  <a:pt x="18179" y="3111"/>
                  <a:pt x="18090" y="3282"/>
                </a:cubicBezTo>
                <a:lnTo>
                  <a:pt x="16060" y="5809"/>
                </a:lnTo>
                <a:lnTo>
                  <a:pt x="15430" y="5777"/>
                </a:lnTo>
                <a:lnTo>
                  <a:pt x="15438" y="5774"/>
                </a:lnTo>
                <a:lnTo>
                  <a:pt x="15274" y="5768"/>
                </a:lnTo>
                <a:lnTo>
                  <a:pt x="17373" y="1684"/>
                </a:lnTo>
                <a:cubicBezTo>
                  <a:pt x="17462" y="1512"/>
                  <a:pt x="17343" y="1343"/>
                  <a:pt x="17071" y="1211"/>
                </a:cubicBezTo>
                <a:cubicBezTo>
                  <a:pt x="16799" y="1079"/>
                  <a:pt x="16375" y="983"/>
                  <a:pt x="15870" y="952"/>
                </a:cubicBezTo>
                <a:lnTo>
                  <a:pt x="15672" y="941"/>
                </a:lnTo>
                <a:cubicBezTo>
                  <a:pt x="15167" y="910"/>
                  <a:pt x="14680" y="953"/>
                  <a:pt x="14290" y="1046"/>
                </a:cubicBezTo>
                <a:cubicBezTo>
                  <a:pt x="13899" y="1140"/>
                  <a:pt x="13610" y="1283"/>
                  <a:pt x="13521" y="1455"/>
                </a:cubicBezTo>
                <a:lnTo>
                  <a:pt x="11405" y="5571"/>
                </a:lnTo>
                <a:lnTo>
                  <a:pt x="10636" y="5539"/>
                </a:lnTo>
                <a:lnTo>
                  <a:pt x="11405" y="703"/>
                </a:lnTo>
                <a:cubicBezTo>
                  <a:pt x="11458" y="529"/>
                  <a:pt x="11307" y="364"/>
                  <a:pt x="11007" y="238"/>
                </a:cubicBezTo>
                <a:cubicBezTo>
                  <a:pt x="10708" y="112"/>
                  <a:pt x="10265" y="24"/>
                  <a:pt x="9755" y="6"/>
                </a:cubicBezTo>
                <a:lnTo>
                  <a:pt x="9556" y="3"/>
                </a:ln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27" name="Shape 46486">
            <a:extLst>
              <a:ext uri="{FF2B5EF4-FFF2-40B4-BE49-F238E27FC236}">
                <a16:creationId xmlns:a16="http://schemas.microsoft.com/office/drawing/2014/main" xmlns="" id="{BC1052CD-5386-4FDA-BEAA-1D26D6396BA2}"/>
              </a:ext>
            </a:extLst>
          </p:cNvPr>
          <p:cNvSpPr/>
          <p:nvPr/>
        </p:nvSpPr>
        <p:spPr>
          <a:xfrm>
            <a:off x="8432994" y="4248479"/>
            <a:ext cx="605587" cy="1829305"/>
          </a:xfrm>
          <a:custGeom>
            <a:avLst/>
            <a:gdLst/>
            <a:ahLst/>
            <a:cxnLst>
              <a:cxn ang="0">
                <a:pos x="wd2" y="hd2"/>
              </a:cxn>
              <a:cxn ang="5400000">
                <a:pos x="wd2" y="hd2"/>
              </a:cxn>
              <a:cxn ang="10800000">
                <a:pos x="wd2" y="hd2"/>
              </a:cxn>
              <a:cxn ang="16200000">
                <a:pos x="wd2" y="hd2"/>
              </a:cxn>
            </a:cxnLst>
            <a:rect l="0" t="0" r="r" b="b"/>
            <a:pathLst>
              <a:path w="21502" h="21584" extrusionOk="0">
                <a:moveTo>
                  <a:pt x="10379" y="3"/>
                </a:moveTo>
                <a:cubicBezTo>
                  <a:pt x="9825" y="-16"/>
                  <a:pt x="9301" y="42"/>
                  <a:pt x="8899" y="149"/>
                </a:cubicBezTo>
                <a:cubicBezTo>
                  <a:pt x="8497" y="257"/>
                  <a:pt x="8217" y="414"/>
                  <a:pt x="8158" y="598"/>
                </a:cubicBezTo>
                <a:lnTo>
                  <a:pt x="7353" y="5674"/>
                </a:lnTo>
                <a:lnTo>
                  <a:pt x="6548" y="5642"/>
                </a:lnTo>
                <a:lnTo>
                  <a:pt x="4742" y="1849"/>
                </a:lnTo>
                <a:cubicBezTo>
                  <a:pt x="4684" y="1665"/>
                  <a:pt x="4411" y="1506"/>
                  <a:pt x="4010" y="1398"/>
                </a:cubicBezTo>
                <a:cubicBezTo>
                  <a:pt x="3609" y="1290"/>
                  <a:pt x="3084" y="1233"/>
                  <a:pt x="2530" y="1252"/>
                </a:cubicBezTo>
                <a:lnTo>
                  <a:pt x="2310" y="1260"/>
                </a:lnTo>
                <a:cubicBezTo>
                  <a:pt x="1756" y="1280"/>
                  <a:pt x="1277" y="1373"/>
                  <a:pt x="952" y="1506"/>
                </a:cubicBezTo>
                <a:cubicBezTo>
                  <a:pt x="627" y="1639"/>
                  <a:pt x="455" y="1811"/>
                  <a:pt x="513" y="1995"/>
                </a:cubicBezTo>
                <a:lnTo>
                  <a:pt x="2823" y="7412"/>
                </a:lnTo>
                <a:cubicBezTo>
                  <a:pt x="1716" y="7352"/>
                  <a:pt x="629" y="7551"/>
                  <a:pt x="187" y="7893"/>
                </a:cubicBezTo>
                <a:cubicBezTo>
                  <a:pt x="-17" y="8052"/>
                  <a:pt x="-61" y="8233"/>
                  <a:pt x="90" y="8407"/>
                </a:cubicBezTo>
                <a:cubicBezTo>
                  <a:pt x="749" y="9197"/>
                  <a:pt x="1568" y="9973"/>
                  <a:pt x="2530" y="10729"/>
                </a:cubicBezTo>
                <a:cubicBezTo>
                  <a:pt x="3056" y="11142"/>
                  <a:pt x="3627" y="11550"/>
                  <a:pt x="4401" y="11918"/>
                </a:cubicBezTo>
                <a:cubicBezTo>
                  <a:pt x="4783" y="12100"/>
                  <a:pt x="5214" y="12271"/>
                  <a:pt x="5533" y="12466"/>
                </a:cubicBezTo>
                <a:cubicBezTo>
                  <a:pt x="5966" y="12731"/>
                  <a:pt x="6178" y="13030"/>
                  <a:pt x="6147" y="13331"/>
                </a:cubicBezTo>
                <a:lnTo>
                  <a:pt x="5222" y="21584"/>
                </a:lnTo>
                <a:lnTo>
                  <a:pt x="18342" y="21584"/>
                </a:lnTo>
                <a:lnTo>
                  <a:pt x="17691" y="13333"/>
                </a:lnTo>
                <a:cubicBezTo>
                  <a:pt x="17751" y="13178"/>
                  <a:pt x="17865" y="13026"/>
                  <a:pt x="18033" y="12880"/>
                </a:cubicBezTo>
                <a:cubicBezTo>
                  <a:pt x="18165" y="12765"/>
                  <a:pt x="18329" y="12655"/>
                  <a:pt x="18496" y="12546"/>
                </a:cubicBezTo>
                <a:cubicBezTo>
                  <a:pt x="19413" y="11948"/>
                  <a:pt x="20442" y="11366"/>
                  <a:pt x="20945" y="10696"/>
                </a:cubicBezTo>
                <a:cubicBezTo>
                  <a:pt x="21238" y="10306"/>
                  <a:pt x="21322" y="9898"/>
                  <a:pt x="21376" y="9494"/>
                </a:cubicBezTo>
                <a:cubicBezTo>
                  <a:pt x="21514" y="8444"/>
                  <a:pt x="21539" y="7395"/>
                  <a:pt x="21449" y="6345"/>
                </a:cubicBezTo>
                <a:cubicBezTo>
                  <a:pt x="21449" y="6159"/>
                  <a:pt x="21228" y="5993"/>
                  <a:pt x="20863" y="5872"/>
                </a:cubicBezTo>
                <a:cubicBezTo>
                  <a:pt x="20498" y="5750"/>
                  <a:pt x="19989" y="5674"/>
                  <a:pt x="19432" y="5674"/>
                </a:cubicBezTo>
                <a:lnTo>
                  <a:pt x="19212" y="5674"/>
                </a:lnTo>
                <a:cubicBezTo>
                  <a:pt x="18933" y="5673"/>
                  <a:pt x="18665" y="5691"/>
                  <a:pt x="18423" y="5726"/>
                </a:cubicBezTo>
                <a:cubicBezTo>
                  <a:pt x="18184" y="5759"/>
                  <a:pt x="17968" y="5809"/>
                  <a:pt x="17789" y="5872"/>
                </a:cubicBezTo>
                <a:cubicBezTo>
                  <a:pt x="17563" y="5950"/>
                  <a:pt x="17404" y="6047"/>
                  <a:pt x="17325" y="6153"/>
                </a:cubicBezTo>
                <a:lnTo>
                  <a:pt x="16593" y="6123"/>
                </a:lnTo>
                <a:lnTo>
                  <a:pt x="18879" y="1787"/>
                </a:lnTo>
                <a:cubicBezTo>
                  <a:pt x="18975" y="1605"/>
                  <a:pt x="18841" y="1428"/>
                  <a:pt x="18545" y="1287"/>
                </a:cubicBezTo>
                <a:cubicBezTo>
                  <a:pt x="18250" y="1147"/>
                  <a:pt x="17792" y="1044"/>
                  <a:pt x="17244" y="1012"/>
                </a:cubicBezTo>
                <a:lnTo>
                  <a:pt x="17032" y="998"/>
                </a:lnTo>
                <a:cubicBezTo>
                  <a:pt x="16484" y="966"/>
                  <a:pt x="15944" y="1010"/>
                  <a:pt x="15520" y="1109"/>
                </a:cubicBezTo>
                <a:cubicBezTo>
                  <a:pt x="15095" y="1208"/>
                  <a:pt x="14787" y="1362"/>
                  <a:pt x="14690" y="1544"/>
                </a:cubicBezTo>
                <a:lnTo>
                  <a:pt x="12396" y="5915"/>
                </a:lnTo>
                <a:lnTo>
                  <a:pt x="11558" y="5880"/>
                </a:lnTo>
                <a:lnTo>
                  <a:pt x="12396" y="747"/>
                </a:lnTo>
                <a:cubicBezTo>
                  <a:pt x="12454" y="563"/>
                  <a:pt x="12282" y="388"/>
                  <a:pt x="11957" y="255"/>
                </a:cubicBezTo>
                <a:cubicBezTo>
                  <a:pt x="11631" y="121"/>
                  <a:pt x="11153" y="28"/>
                  <a:pt x="10599" y="9"/>
                </a:cubicBezTo>
                <a:lnTo>
                  <a:pt x="10379" y="3"/>
                </a:ln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28" name="Shape 46488">
            <a:extLst>
              <a:ext uri="{FF2B5EF4-FFF2-40B4-BE49-F238E27FC236}">
                <a16:creationId xmlns:a16="http://schemas.microsoft.com/office/drawing/2014/main" xmlns="" id="{920E6F0E-226E-46DE-B94B-52FA1262FF50}"/>
              </a:ext>
            </a:extLst>
          </p:cNvPr>
          <p:cNvSpPr/>
          <p:nvPr/>
        </p:nvSpPr>
        <p:spPr>
          <a:xfrm rot="5400000" flipH="1">
            <a:off x="3927948" y="2369584"/>
            <a:ext cx="1686309" cy="1766787"/>
          </a:xfrm>
          <a:custGeom>
            <a:avLst/>
            <a:gdLst/>
            <a:ahLst/>
            <a:cxnLst>
              <a:cxn ang="0">
                <a:pos x="wd2" y="hd2"/>
              </a:cxn>
              <a:cxn ang="5400000">
                <a:pos x="wd2" y="hd2"/>
              </a:cxn>
              <a:cxn ang="10800000">
                <a:pos x="wd2" y="hd2"/>
              </a:cxn>
              <a:cxn ang="16200000">
                <a:pos x="wd2" y="hd2"/>
              </a:cxn>
            </a:cxnLst>
            <a:rect l="0" t="0" r="r" b="b"/>
            <a:pathLst>
              <a:path w="21600" h="21600" extrusionOk="0">
                <a:moveTo>
                  <a:pt x="4503" y="0"/>
                </a:moveTo>
                <a:cubicBezTo>
                  <a:pt x="3064" y="0"/>
                  <a:pt x="1896" y="1280"/>
                  <a:pt x="1896" y="2858"/>
                </a:cubicBezTo>
                <a:lnTo>
                  <a:pt x="1896" y="9446"/>
                </a:lnTo>
                <a:lnTo>
                  <a:pt x="0" y="10876"/>
                </a:lnTo>
                <a:lnTo>
                  <a:pt x="1896" y="12312"/>
                </a:lnTo>
                <a:lnTo>
                  <a:pt x="1896" y="18742"/>
                </a:lnTo>
                <a:cubicBezTo>
                  <a:pt x="1896" y="20320"/>
                  <a:pt x="3064" y="21600"/>
                  <a:pt x="4503" y="21600"/>
                </a:cubicBezTo>
                <a:lnTo>
                  <a:pt x="18993" y="21600"/>
                </a:lnTo>
                <a:cubicBezTo>
                  <a:pt x="20432" y="21600"/>
                  <a:pt x="21600" y="20320"/>
                  <a:pt x="21600" y="18742"/>
                </a:cubicBezTo>
                <a:lnTo>
                  <a:pt x="21600" y="2858"/>
                </a:lnTo>
                <a:cubicBezTo>
                  <a:pt x="21600" y="1280"/>
                  <a:pt x="20432" y="0"/>
                  <a:pt x="18993" y="0"/>
                </a:cubicBezTo>
                <a:lnTo>
                  <a:pt x="4503" y="0"/>
                </a:ln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29" name="Shape 46493">
            <a:extLst>
              <a:ext uri="{FF2B5EF4-FFF2-40B4-BE49-F238E27FC236}">
                <a16:creationId xmlns:a16="http://schemas.microsoft.com/office/drawing/2014/main" xmlns="" id="{3DC2B982-C86B-449A-BD3A-EF318DF81263}"/>
              </a:ext>
            </a:extLst>
          </p:cNvPr>
          <p:cNvSpPr/>
          <p:nvPr/>
        </p:nvSpPr>
        <p:spPr>
          <a:xfrm rot="5400000" flipH="1">
            <a:off x="5900054" y="2359616"/>
            <a:ext cx="1686309" cy="1766786"/>
          </a:xfrm>
          <a:custGeom>
            <a:avLst/>
            <a:gdLst/>
            <a:ahLst/>
            <a:cxnLst>
              <a:cxn ang="0">
                <a:pos x="wd2" y="hd2"/>
              </a:cxn>
              <a:cxn ang="5400000">
                <a:pos x="wd2" y="hd2"/>
              </a:cxn>
              <a:cxn ang="10800000">
                <a:pos x="wd2" y="hd2"/>
              </a:cxn>
              <a:cxn ang="16200000">
                <a:pos x="wd2" y="hd2"/>
              </a:cxn>
            </a:cxnLst>
            <a:rect l="0" t="0" r="r" b="b"/>
            <a:pathLst>
              <a:path w="21600" h="21600" extrusionOk="0">
                <a:moveTo>
                  <a:pt x="4503" y="0"/>
                </a:moveTo>
                <a:cubicBezTo>
                  <a:pt x="3064" y="0"/>
                  <a:pt x="1896" y="1280"/>
                  <a:pt x="1896" y="2858"/>
                </a:cubicBezTo>
                <a:lnTo>
                  <a:pt x="1896" y="9446"/>
                </a:lnTo>
                <a:lnTo>
                  <a:pt x="0" y="10876"/>
                </a:lnTo>
                <a:lnTo>
                  <a:pt x="1896" y="12312"/>
                </a:lnTo>
                <a:lnTo>
                  <a:pt x="1896" y="18742"/>
                </a:lnTo>
                <a:cubicBezTo>
                  <a:pt x="1896" y="20320"/>
                  <a:pt x="3064" y="21600"/>
                  <a:pt x="4503" y="21600"/>
                </a:cubicBezTo>
                <a:lnTo>
                  <a:pt x="18993" y="21600"/>
                </a:lnTo>
                <a:cubicBezTo>
                  <a:pt x="20432" y="21600"/>
                  <a:pt x="21600" y="20320"/>
                  <a:pt x="21600" y="18742"/>
                </a:cubicBezTo>
                <a:lnTo>
                  <a:pt x="21600" y="2858"/>
                </a:lnTo>
                <a:cubicBezTo>
                  <a:pt x="21600" y="1280"/>
                  <a:pt x="20432" y="0"/>
                  <a:pt x="18993" y="0"/>
                </a:cubicBezTo>
                <a:lnTo>
                  <a:pt x="4503" y="0"/>
                </a:ln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mj-lt"/>
            </a:endParaRPr>
          </a:p>
        </p:txBody>
      </p:sp>
      <p:sp>
        <p:nvSpPr>
          <p:cNvPr id="30" name="Shape 46498">
            <a:extLst>
              <a:ext uri="{FF2B5EF4-FFF2-40B4-BE49-F238E27FC236}">
                <a16:creationId xmlns:a16="http://schemas.microsoft.com/office/drawing/2014/main" xmlns="" id="{EC8B67DB-1B15-4AA7-988F-683E59BC1D7D}"/>
              </a:ext>
            </a:extLst>
          </p:cNvPr>
          <p:cNvSpPr/>
          <p:nvPr/>
        </p:nvSpPr>
        <p:spPr>
          <a:xfrm rot="5400000" flipH="1">
            <a:off x="7897752" y="2360542"/>
            <a:ext cx="1686309" cy="1766786"/>
          </a:xfrm>
          <a:custGeom>
            <a:avLst/>
            <a:gdLst/>
            <a:ahLst/>
            <a:cxnLst>
              <a:cxn ang="0">
                <a:pos x="wd2" y="hd2"/>
              </a:cxn>
              <a:cxn ang="5400000">
                <a:pos x="wd2" y="hd2"/>
              </a:cxn>
              <a:cxn ang="10800000">
                <a:pos x="wd2" y="hd2"/>
              </a:cxn>
              <a:cxn ang="16200000">
                <a:pos x="wd2" y="hd2"/>
              </a:cxn>
            </a:cxnLst>
            <a:rect l="0" t="0" r="r" b="b"/>
            <a:pathLst>
              <a:path w="21600" h="21600" extrusionOk="0">
                <a:moveTo>
                  <a:pt x="4503" y="0"/>
                </a:moveTo>
                <a:cubicBezTo>
                  <a:pt x="3064" y="0"/>
                  <a:pt x="1896" y="1280"/>
                  <a:pt x="1896" y="2858"/>
                </a:cubicBezTo>
                <a:lnTo>
                  <a:pt x="1896" y="9446"/>
                </a:lnTo>
                <a:lnTo>
                  <a:pt x="0" y="10876"/>
                </a:lnTo>
                <a:lnTo>
                  <a:pt x="1896" y="12312"/>
                </a:lnTo>
                <a:lnTo>
                  <a:pt x="1896" y="18742"/>
                </a:lnTo>
                <a:cubicBezTo>
                  <a:pt x="1896" y="20320"/>
                  <a:pt x="3064" y="21600"/>
                  <a:pt x="4503" y="21600"/>
                </a:cubicBezTo>
                <a:lnTo>
                  <a:pt x="18993" y="21600"/>
                </a:lnTo>
                <a:cubicBezTo>
                  <a:pt x="20432" y="21600"/>
                  <a:pt x="21600" y="20320"/>
                  <a:pt x="21600" y="18742"/>
                </a:cubicBezTo>
                <a:lnTo>
                  <a:pt x="21600" y="2858"/>
                </a:lnTo>
                <a:cubicBezTo>
                  <a:pt x="21600" y="1280"/>
                  <a:pt x="20432" y="0"/>
                  <a:pt x="18993" y="0"/>
                </a:cubicBezTo>
                <a:lnTo>
                  <a:pt x="4503" y="0"/>
                </a:ln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mj-lt"/>
            </a:endParaRPr>
          </a:p>
        </p:txBody>
      </p:sp>
      <p:sp>
        <p:nvSpPr>
          <p:cNvPr id="31" name="Shape 46503">
            <a:extLst>
              <a:ext uri="{FF2B5EF4-FFF2-40B4-BE49-F238E27FC236}">
                <a16:creationId xmlns:a16="http://schemas.microsoft.com/office/drawing/2014/main" xmlns="" id="{F7E98078-71AD-422F-84BD-F3C3BE47861E}"/>
              </a:ext>
            </a:extLst>
          </p:cNvPr>
          <p:cNvSpPr/>
          <p:nvPr/>
        </p:nvSpPr>
        <p:spPr>
          <a:xfrm rot="5400000" flipH="1">
            <a:off x="9874977" y="2369586"/>
            <a:ext cx="1686309" cy="1766786"/>
          </a:xfrm>
          <a:custGeom>
            <a:avLst/>
            <a:gdLst/>
            <a:ahLst/>
            <a:cxnLst>
              <a:cxn ang="0">
                <a:pos x="wd2" y="hd2"/>
              </a:cxn>
              <a:cxn ang="5400000">
                <a:pos x="wd2" y="hd2"/>
              </a:cxn>
              <a:cxn ang="10800000">
                <a:pos x="wd2" y="hd2"/>
              </a:cxn>
              <a:cxn ang="16200000">
                <a:pos x="wd2" y="hd2"/>
              </a:cxn>
            </a:cxnLst>
            <a:rect l="0" t="0" r="r" b="b"/>
            <a:pathLst>
              <a:path w="21600" h="21600" extrusionOk="0">
                <a:moveTo>
                  <a:pt x="4503" y="0"/>
                </a:moveTo>
                <a:cubicBezTo>
                  <a:pt x="3064" y="0"/>
                  <a:pt x="1896" y="1280"/>
                  <a:pt x="1896" y="2858"/>
                </a:cubicBezTo>
                <a:lnTo>
                  <a:pt x="1896" y="9446"/>
                </a:lnTo>
                <a:lnTo>
                  <a:pt x="0" y="10876"/>
                </a:lnTo>
                <a:lnTo>
                  <a:pt x="1896" y="12312"/>
                </a:lnTo>
                <a:lnTo>
                  <a:pt x="1896" y="18742"/>
                </a:lnTo>
                <a:cubicBezTo>
                  <a:pt x="1896" y="20320"/>
                  <a:pt x="3064" y="21600"/>
                  <a:pt x="4503" y="21600"/>
                </a:cubicBezTo>
                <a:lnTo>
                  <a:pt x="18993" y="21600"/>
                </a:lnTo>
                <a:cubicBezTo>
                  <a:pt x="20432" y="21600"/>
                  <a:pt x="21600" y="20320"/>
                  <a:pt x="21600" y="18742"/>
                </a:cubicBezTo>
                <a:lnTo>
                  <a:pt x="21600" y="2858"/>
                </a:lnTo>
                <a:cubicBezTo>
                  <a:pt x="21600" y="1280"/>
                  <a:pt x="20432" y="0"/>
                  <a:pt x="18993" y="0"/>
                </a:cubicBezTo>
                <a:lnTo>
                  <a:pt x="4503" y="0"/>
                </a:ln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mj-lt"/>
            </a:endParaRPr>
          </a:p>
        </p:txBody>
      </p:sp>
      <p:sp>
        <p:nvSpPr>
          <p:cNvPr id="33" name="TextBox 41">
            <a:extLst>
              <a:ext uri="{FF2B5EF4-FFF2-40B4-BE49-F238E27FC236}">
                <a16:creationId xmlns:a16="http://schemas.microsoft.com/office/drawing/2014/main" xmlns="" id="{F1C8BE34-DCFE-4BB8-A642-2470309A5AFC}"/>
              </a:ext>
            </a:extLst>
          </p:cNvPr>
          <p:cNvSpPr txBox="1"/>
          <p:nvPr/>
        </p:nvSpPr>
        <p:spPr>
          <a:xfrm>
            <a:off x="4506810" y="2439138"/>
            <a:ext cx="528585" cy="369332"/>
          </a:xfrm>
          <a:prstGeom prst="rect">
            <a:avLst/>
          </a:prstGeom>
          <a:noFill/>
        </p:spPr>
        <p:txBody>
          <a:bodyPr wrap="square" rtlCol="0" anchor="ctr" anchorCtr="0">
            <a:spAutoFit/>
          </a:bodyPr>
          <a:lstStyle/>
          <a:p>
            <a:pPr algn="ctr"/>
            <a:r>
              <a:rPr lang="en-GB" b="1" dirty="0">
                <a:solidFill>
                  <a:schemeClr val="bg1"/>
                </a:solidFill>
                <a:latin typeface="+mj-lt"/>
                <a:ea typeface="League Spartan" charset="0"/>
                <a:cs typeface="Poppins" pitchFamily="2" charset="77"/>
              </a:rPr>
              <a:t>01</a:t>
            </a:r>
          </a:p>
        </p:txBody>
      </p:sp>
      <p:sp>
        <p:nvSpPr>
          <p:cNvPr id="34" name="Subtitle 2">
            <a:extLst>
              <a:ext uri="{FF2B5EF4-FFF2-40B4-BE49-F238E27FC236}">
                <a16:creationId xmlns:a16="http://schemas.microsoft.com/office/drawing/2014/main" xmlns="" id="{E42ACCDA-FF92-4F1E-9072-DCAD7600499A}"/>
              </a:ext>
            </a:extLst>
          </p:cNvPr>
          <p:cNvSpPr txBox="1">
            <a:spLocks/>
          </p:cNvSpPr>
          <p:nvPr/>
        </p:nvSpPr>
        <p:spPr>
          <a:xfrm>
            <a:off x="3919244" y="2690303"/>
            <a:ext cx="1730134" cy="105029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200" dirty="0">
                <a:solidFill>
                  <a:schemeClr val="bg1"/>
                </a:solidFill>
                <a:latin typeface="+mj-lt"/>
                <a:ea typeface="Lato Light" panose="020F0502020204030203" pitchFamily="34" charset="0"/>
                <a:cs typeface="Mukta ExtraLight" panose="020B0000000000000000" pitchFamily="34" charset="77"/>
              </a:rPr>
              <a:t>Deja de hacer tareas sin importancia.</a:t>
            </a:r>
          </a:p>
        </p:txBody>
      </p:sp>
      <p:sp>
        <p:nvSpPr>
          <p:cNvPr id="35" name="TextBox 43">
            <a:extLst>
              <a:ext uri="{FF2B5EF4-FFF2-40B4-BE49-F238E27FC236}">
                <a16:creationId xmlns:a16="http://schemas.microsoft.com/office/drawing/2014/main" xmlns="" id="{A1D0661E-149A-42D2-8215-871879F04063}"/>
              </a:ext>
            </a:extLst>
          </p:cNvPr>
          <p:cNvSpPr txBox="1"/>
          <p:nvPr/>
        </p:nvSpPr>
        <p:spPr>
          <a:xfrm>
            <a:off x="6489153" y="2429169"/>
            <a:ext cx="528585" cy="369332"/>
          </a:xfrm>
          <a:prstGeom prst="rect">
            <a:avLst/>
          </a:prstGeom>
          <a:noFill/>
        </p:spPr>
        <p:txBody>
          <a:bodyPr wrap="square" rtlCol="0" anchor="ctr" anchorCtr="0">
            <a:spAutoFit/>
          </a:bodyPr>
          <a:lstStyle/>
          <a:p>
            <a:pPr algn="ctr"/>
            <a:r>
              <a:rPr lang="en-GB" b="1" dirty="0">
                <a:solidFill>
                  <a:schemeClr val="bg1"/>
                </a:solidFill>
                <a:latin typeface="+mj-lt"/>
                <a:ea typeface="League Spartan" charset="0"/>
                <a:cs typeface="Poppins" pitchFamily="2" charset="77"/>
              </a:rPr>
              <a:t>02</a:t>
            </a:r>
          </a:p>
        </p:txBody>
      </p:sp>
      <p:sp>
        <p:nvSpPr>
          <p:cNvPr id="36" name="Subtitle 2">
            <a:extLst>
              <a:ext uri="{FF2B5EF4-FFF2-40B4-BE49-F238E27FC236}">
                <a16:creationId xmlns:a16="http://schemas.microsoft.com/office/drawing/2014/main" xmlns="" id="{0C192D40-38CC-47AE-A98B-A62AB2009793}"/>
              </a:ext>
            </a:extLst>
          </p:cNvPr>
          <p:cNvSpPr txBox="1">
            <a:spLocks/>
          </p:cNvSpPr>
          <p:nvPr/>
        </p:nvSpPr>
        <p:spPr>
          <a:xfrm>
            <a:off x="5843019" y="2734575"/>
            <a:ext cx="1766787"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Determinar lo que es importante hacer</a:t>
            </a:r>
          </a:p>
        </p:txBody>
      </p:sp>
      <p:sp>
        <p:nvSpPr>
          <p:cNvPr id="37" name="TextBox 45">
            <a:extLst>
              <a:ext uri="{FF2B5EF4-FFF2-40B4-BE49-F238E27FC236}">
                <a16:creationId xmlns:a16="http://schemas.microsoft.com/office/drawing/2014/main" xmlns="" id="{02B9744C-F601-4144-B8B5-8619F0D83851}"/>
              </a:ext>
            </a:extLst>
          </p:cNvPr>
          <p:cNvSpPr txBox="1"/>
          <p:nvPr/>
        </p:nvSpPr>
        <p:spPr>
          <a:xfrm>
            <a:off x="8476614" y="2430094"/>
            <a:ext cx="528585" cy="369332"/>
          </a:xfrm>
          <a:prstGeom prst="rect">
            <a:avLst/>
          </a:prstGeom>
          <a:noFill/>
        </p:spPr>
        <p:txBody>
          <a:bodyPr wrap="square" rtlCol="0" anchor="ctr" anchorCtr="0">
            <a:spAutoFit/>
          </a:bodyPr>
          <a:lstStyle/>
          <a:p>
            <a:pPr algn="ctr"/>
            <a:r>
              <a:rPr lang="en-GB" b="1" dirty="0">
                <a:solidFill>
                  <a:schemeClr val="bg1"/>
                </a:solidFill>
                <a:latin typeface="+mj-lt"/>
                <a:ea typeface="League Spartan" charset="0"/>
                <a:cs typeface="Poppins" pitchFamily="2" charset="77"/>
              </a:rPr>
              <a:t>03</a:t>
            </a:r>
          </a:p>
        </p:txBody>
      </p:sp>
      <p:sp>
        <p:nvSpPr>
          <p:cNvPr id="38" name="Subtitle 2">
            <a:extLst>
              <a:ext uri="{FF2B5EF4-FFF2-40B4-BE49-F238E27FC236}">
                <a16:creationId xmlns:a16="http://schemas.microsoft.com/office/drawing/2014/main" xmlns="" id="{8E023378-66A1-4D76-9F67-DA9D018492C5}"/>
              </a:ext>
            </a:extLst>
          </p:cNvPr>
          <p:cNvSpPr txBox="1">
            <a:spLocks/>
          </p:cNvSpPr>
          <p:nvPr/>
        </p:nvSpPr>
        <p:spPr>
          <a:xfrm>
            <a:off x="7839212" y="2733029"/>
            <a:ext cx="1766787"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Determinar quién es capaz de realizar cada tarea</a:t>
            </a:r>
          </a:p>
        </p:txBody>
      </p:sp>
      <p:sp>
        <p:nvSpPr>
          <p:cNvPr id="39" name="TextBox 47">
            <a:extLst>
              <a:ext uri="{FF2B5EF4-FFF2-40B4-BE49-F238E27FC236}">
                <a16:creationId xmlns:a16="http://schemas.microsoft.com/office/drawing/2014/main" xmlns="" id="{7CA92BA5-34F2-4A45-BC22-B1564B2AFAD1}"/>
              </a:ext>
            </a:extLst>
          </p:cNvPr>
          <p:cNvSpPr txBox="1"/>
          <p:nvPr/>
        </p:nvSpPr>
        <p:spPr>
          <a:xfrm>
            <a:off x="10453839" y="2439138"/>
            <a:ext cx="528585" cy="369332"/>
          </a:xfrm>
          <a:prstGeom prst="rect">
            <a:avLst/>
          </a:prstGeom>
          <a:noFill/>
        </p:spPr>
        <p:txBody>
          <a:bodyPr wrap="square" rtlCol="0" anchor="ctr" anchorCtr="0">
            <a:spAutoFit/>
          </a:bodyPr>
          <a:lstStyle/>
          <a:p>
            <a:pPr algn="ctr"/>
            <a:r>
              <a:rPr lang="en-GB" b="1" dirty="0">
                <a:solidFill>
                  <a:schemeClr val="bg1"/>
                </a:solidFill>
                <a:latin typeface="+mj-lt"/>
                <a:ea typeface="League Spartan" charset="0"/>
                <a:cs typeface="Poppins" pitchFamily="2" charset="77"/>
              </a:rPr>
              <a:t>04</a:t>
            </a:r>
          </a:p>
        </p:txBody>
      </p:sp>
      <p:sp>
        <p:nvSpPr>
          <p:cNvPr id="40" name="Subtitle 2">
            <a:extLst>
              <a:ext uri="{FF2B5EF4-FFF2-40B4-BE49-F238E27FC236}">
                <a16:creationId xmlns:a16="http://schemas.microsoft.com/office/drawing/2014/main" xmlns="" id="{F10A702B-12C5-40EC-8606-325AA5945C09}"/>
              </a:ext>
            </a:extLst>
          </p:cNvPr>
          <p:cNvSpPr txBox="1">
            <a:spLocks/>
          </p:cNvSpPr>
          <p:nvPr/>
        </p:nvSpPr>
        <p:spPr>
          <a:xfrm>
            <a:off x="9972963" y="2680714"/>
            <a:ext cx="1628561" cy="114262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Determinar a quién le gustarán o no las tareas que hay que hacer</a:t>
            </a:r>
          </a:p>
        </p:txBody>
      </p:sp>
    </p:spTree>
    <p:extLst>
      <p:ext uri="{BB962C8B-B14F-4D97-AF65-F5344CB8AC3E}">
        <p14:creationId xmlns:p14="http://schemas.microsoft.com/office/powerpoint/2010/main" val="7472969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222268" y="2483541"/>
            <a:ext cx="9821959" cy="1582271"/>
          </a:xfrm>
        </p:spPr>
        <p:txBody>
          <a:bodyPr/>
          <a:lstStyle/>
          <a:p>
            <a:r>
              <a:rPr lang="en-GB" dirty="0"/>
              <a:t>Percepción personal del fracaso</a:t>
            </a:r>
          </a:p>
        </p:txBody>
      </p:sp>
    </p:spTree>
    <p:extLst>
      <p:ext uri="{BB962C8B-B14F-4D97-AF65-F5344CB8AC3E}">
        <p14:creationId xmlns:p14="http://schemas.microsoft.com/office/powerpoint/2010/main" val="11115629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92696" y="390167"/>
            <a:ext cx="8852375" cy="697353"/>
          </a:xfrm>
        </p:spPr>
        <p:txBody>
          <a:bodyPr>
            <a:normAutofit fontScale="92500"/>
          </a:bodyPr>
          <a:lstStyle/>
          <a:p>
            <a:r>
              <a:rPr lang="en-GB" dirty="0"/>
              <a:t>Aprender de la gestión de tareas en la crisis (co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22328" y="1968871"/>
            <a:ext cx="3703544" cy="486830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latin typeface="+mj-lt"/>
                <a:sym typeface="Wingdings" panose="05000000000000000000" pitchFamily="2" charset="2"/>
              </a:rPr>
              <a:t>Hay una serie de consecuencias que debe aplicar para mantener el ritmo de su equipo durante la crisis y transformarlo en el rendimiento diario. </a:t>
            </a:r>
            <a:endParaRPr lang="en-GB" sz="2200" dirty="0">
              <a:latin typeface="+mj-lt"/>
            </a:endParaRPr>
          </a:p>
          <a:p>
            <a:pPr algn="l">
              <a:lnSpc>
                <a:spcPct val="100000"/>
              </a:lnSpc>
              <a:spcBef>
                <a:spcPts val="600"/>
              </a:spcBef>
            </a:pPr>
            <a:r>
              <a:rPr lang="en-GB" sz="2200" dirty="0">
                <a:latin typeface="+mj-lt"/>
                <a:sym typeface="Wingdings" panose="05000000000000000000" pitchFamily="2" charset="2"/>
              </a:rPr>
              <a:t>Para ello, es necesario:</a:t>
            </a:r>
            <a:endParaRPr lang="en-GB" sz="2200" dirty="0">
              <a:latin typeface="+mj-lt"/>
            </a:endParaRPr>
          </a:p>
          <a:p>
            <a:pPr marL="342900" indent="-342900" algn="l">
              <a:lnSpc>
                <a:spcPct val="100000"/>
              </a:lnSpc>
              <a:spcBef>
                <a:spcPts val="600"/>
              </a:spcBef>
              <a:buFont typeface="Arial" panose="020B0604020202020204" pitchFamily="34" charset="0"/>
              <a:buChar char="•"/>
            </a:pPr>
            <a:r>
              <a:rPr lang="en-GB" sz="2200" dirty="0">
                <a:latin typeface="+mj-lt"/>
                <a:sym typeface="Wingdings" panose="05000000000000000000" pitchFamily="2" charset="2"/>
              </a:rPr>
              <a:t>Fomente primero la autorreflexión (usted mismo y los miembros de su equipo)</a:t>
            </a:r>
            <a:endParaRPr lang="en-GB" sz="2200" dirty="0">
              <a:latin typeface="+mj-lt"/>
            </a:endParaRPr>
          </a:p>
          <a:p>
            <a:pPr marL="342900" indent="-342900" algn="l">
              <a:lnSpc>
                <a:spcPct val="100000"/>
              </a:lnSpc>
              <a:spcBef>
                <a:spcPts val="600"/>
              </a:spcBef>
              <a:buFont typeface="Arial" panose="020B0604020202020204" pitchFamily="34" charset="0"/>
              <a:buChar char="•"/>
            </a:pPr>
            <a:r>
              <a:rPr lang="en-GB" sz="2200" dirty="0">
                <a:latin typeface="+mj-lt"/>
                <a:sym typeface="Wingdings" panose="05000000000000000000" pitchFamily="2" charset="2"/>
              </a:rPr>
              <a:t>Discutir en equipo</a:t>
            </a:r>
            <a:endParaRPr lang="en-GB" sz="2200" dirty="0">
              <a:latin typeface="+mj-lt"/>
            </a:endParaRPr>
          </a:p>
          <a:p>
            <a:pPr marL="342900" indent="-342900" algn="l">
              <a:lnSpc>
                <a:spcPct val="100000"/>
              </a:lnSpc>
              <a:spcBef>
                <a:spcPts val="600"/>
              </a:spcBef>
              <a:buFont typeface="Arial" panose="020B0604020202020204" pitchFamily="34" charset="0"/>
              <a:buChar char="•"/>
            </a:pPr>
            <a:r>
              <a:rPr lang="en-GB" sz="2200" dirty="0" err="1">
                <a:latin typeface="+mj-lt"/>
                <a:sym typeface="Wingdings" panose="05000000000000000000" pitchFamily="2" charset="2"/>
              </a:rPr>
              <a:t>Analice </a:t>
            </a:r>
            <a:r>
              <a:rPr lang="en-GB" sz="2200" dirty="0">
                <a:latin typeface="+mj-lt"/>
                <a:sym typeface="Wingdings" panose="05000000000000000000" pitchFamily="2" charset="2"/>
              </a:rPr>
              <a:t>su organización</a:t>
            </a:r>
            <a:endParaRPr lang="en-GB" sz="2200" dirty="0">
              <a:latin typeface="+mj-lt"/>
            </a:endParaRPr>
          </a:p>
          <a:p>
            <a:pPr marL="285750" indent="-285750" algn="l">
              <a:lnSpc>
                <a:spcPct val="100000"/>
              </a:lnSpc>
              <a:spcBef>
                <a:spcPts val="600"/>
              </a:spcBef>
              <a:buFont typeface="Wingdings" panose="05000000000000000000" pitchFamily="2" charset="2"/>
              <a:buChar char="à"/>
            </a:pPr>
            <a:endParaRPr lang="en-GB" sz="2200" b="1" dirty="0">
              <a:latin typeface="+mj-lt"/>
            </a:endParaRPr>
          </a:p>
        </p:txBody>
      </p:sp>
      <p:sp>
        <p:nvSpPr>
          <p:cNvPr id="125" name="TextBox 148">
            <a:extLst>
              <a:ext uri="{FF2B5EF4-FFF2-40B4-BE49-F238E27FC236}">
                <a16:creationId xmlns:a16="http://schemas.microsoft.com/office/drawing/2014/main" xmlns="" id="{E7F2FC67-D2C3-4AFB-89B8-B044FF5E280B}"/>
              </a:ext>
            </a:extLst>
          </p:cNvPr>
          <p:cNvSpPr txBox="1"/>
          <p:nvPr/>
        </p:nvSpPr>
        <p:spPr>
          <a:xfrm>
            <a:off x="4514776" y="1895016"/>
            <a:ext cx="3734099" cy="461665"/>
          </a:xfrm>
          <a:prstGeom prst="rect">
            <a:avLst/>
          </a:prstGeom>
          <a:noFill/>
        </p:spPr>
        <p:txBody>
          <a:bodyPr wrap="none" rtlCol="0" anchor="ctr" anchorCtr="0">
            <a:spAutoFit/>
          </a:bodyPr>
          <a:lstStyle/>
          <a:p>
            <a:r>
              <a:rPr lang="en-GB" sz="2400" b="1" dirty="0">
                <a:solidFill>
                  <a:schemeClr val="tx2"/>
                </a:solidFill>
                <a:latin typeface="+mj-lt"/>
                <a:ea typeface="League Spartan" charset="0"/>
                <a:cs typeface="Poppins" pitchFamily="2" charset="77"/>
              </a:rPr>
              <a:t>Consecuencias a aplicar:</a:t>
            </a:r>
          </a:p>
        </p:txBody>
      </p:sp>
      <p:sp>
        <p:nvSpPr>
          <p:cNvPr id="26" name="Freeform 39">
            <a:extLst>
              <a:ext uri="{FF2B5EF4-FFF2-40B4-BE49-F238E27FC236}">
                <a16:creationId xmlns:a16="http://schemas.microsoft.com/office/drawing/2014/main" xmlns="" id="{0DFF2D83-431A-463E-AD17-13FF7D65D7E7}"/>
              </a:ext>
            </a:extLst>
          </p:cNvPr>
          <p:cNvSpPr>
            <a:spLocks/>
          </p:cNvSpPr>
          <p:nvPr/>
        </p:nvSpPr>
        <p:spPr bwMode="auto">
          <a:xfrm>
            <a:off x="4516751" y="2970279"/>
            <a:ext cx="3446264" cy="140662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1" name="Freeform 37">
            <a:extLst>
              <a:ext uri="{FF2B5EF4-FFF2-40B4-BE49-F238E27FC236}">
                <a16:creationId xmlns:a16="http://schemas.microsoft.com/office/drawing/2014/main" xmlns="" id="{68FFACF7-3191-4CB4-9E7C-FB1CBF63BA97}"/>
              </a:ext>
            </a:extLst>
          </p:cNvPr>
          <p:cNvSpPr>
            <a:spLocks/>
          </p:cNvSpPr>
          <p:nvPr/>
        </p:nvSpPr>
        <p:spPr bwMode="auto">
          <a:xfrm>
            <a:off x="8454898" y="2961064"/>
            <a:ext cx="3559826" cy="1335285"/>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rgbClr val="C00000"/>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3" name="Freeform 35">
            <a:extLst>
              <a:ext uri="{FF2B5EF4-FFF2-40B4-BE49-F238E27FC236}">
                <a16:creationId xmlns:a16="http://schemas.microsoft.com/office/drawing/2014/main" xmlns="" id="{0F9A7962-6B75-49D2-A00E-2107B61616DE}"/>
              </a:ext>
            </a:extLst>
          </p:cNvPr>
          <p:cNvSpPr>
            <a:spLocks/>
          </p:cNvSpPr>
          <p:nvPr/>
        </p:nvSpPr>
        <p:spPr bwMode="auto">
          <a:xfrm>
            <a:off x="4403949" y="4496612"/>
            <a:ext cx="3549708" cy="1523187"/>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mj-lt"/>
            </a:endParaRPr>
          </a:p>
        </p:txBody>
      </p:sp>
      <p:sp>
        <p:nvSpPr>
          <p:cNvPr id="45" name="Freeform 16">
            <a:extLst>
              <a:ext uri="{FF2B5EF4-FFF2-40B4-BE49-F238E27FC236}">
                <a16:creationId xmlns:a16="http://schemas.microsoft.com/office/drawing/2014/main" xmlns="" id="{885D4830-EEDC-410E-9E59-85B53A851DD9}"/>
              </a:ext>
            </a:extLst>
          </p:cNvPr>
          <p:cNvSpPr>
            <a:spLocks noEditPoints="1"/>
          </p:cNvSpPr>
          <p:nvPr/>
        </p:nvSpPr>
        <p:spPr bwMode="auto">
          <a:xfrm>
            <a:off x="8431734" y="4563071"/>
            <a:ext cx="3578942" cy="1456728"/>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7" name="TextBox 27">
            <a:extLst>
              <a:ext uri="{FF2B5EF4-FFF2-40B4-BE49-F238E27FC236}">
                <a16:creationId xmlns:a16="http://schemas.microsoft.com/office/drawing/2014/main" xmlns="" id="{7104B6E2-CF6F-4339-8167-E0C99325B46D}"/>
              </a:ext>
            </a:extLst>
          </p:cNvPr>
          <p:cNvSpPr txBox="1"/>
          <p:nvPr/>
        </p:nvSpPr>
        <p:spPr>
          <a:xfrm>
            <a:off x="9366798" y="3320387"/>
            <a:ext cx="2604564" cy="337080"/>
          </a:xfrm>
          <a:prstGeom prst="rect">
            <a:avLst/>
          </a:prstGeom>
          <a:noFill/>
        </p:spPr>
        <p:txBody>
          <a:bodyPr wrap="square" rtlCol="0">
            <a:spAutoFit/>
          </a:bodyPr>
          <a:lstStyle/>
          <a:p>
            <a:pPr>
              <a:lnSpc>
                <a:spcPts val="1665"/>
              </a:lnSpc>
            </a:pPr>
            <a:r>
              <a:rPr lang="en-GB" sz="2400" dirty="0">
                <a:solidFill>
                  <a:schemeClr val="bg1"/>
                </a:solidFill>
                <a:latin typeface="+mj-lt"/>
                <a:ea typeface="Lato Light" charset="0"/>
                <a:cs typeface="Lato Light" charset="0"/>
              </a:rPr>
              <a:t>Reasignación de banderas rojas</a:t>
            </a:r>
          </a:p>
        </p:txBody>
      </p:sp>
      <p:sp>
        <p:nvSpPr>
          <p:cNvPr id="49" name="TextBox 29">
            <a:extLst>
              <a:ext uri="{FF2B5EF4-FFF2-40B4-BE49-F238E27FC236}">
                <a16:creationId xmlns:a16="http://schemas.microsoft.com/office/drawing/2014/main" xmlns="" id="{C8EE7E25-1DE7-48A4-8420-CB531DCCBFE6}"/>
              </a:ext>
            </a:extLst>
          </p:cNvPr>
          <p:cNvSpPr txBox="1"/>
          <p:nvPr/>
        </p:nvSpPr>
        <p:spPr>
          <a:xfrm>
            <a:off x="5126093" y="2972911"/>
            <a:ext cx="2604564" cy="1323439"/>
          </a:xfrm>
          <a:prstGeom prst="rect">
            <a:avLst/>
          </a:prstGeom>
          <a:noFill/>
        </p:spPr>
        <p:txBody>
          <a:bodyPr wrap="square" rtlCol="0">
            <a:spAutoFit/>
          </a:bodyPr>
          <a:lstStyle/>
          <a:p>
            <a:r>
              <a:rPr lang="en-GB" sz="2000" dirty="0">
                <a:solidFill>
                  <a:schemeClr val="bg1"/>
                </a:solidFill>
                <a:latin typeface="+mj-lt"/>
                <a:ea typeface="Lato Light" charset="0"/>
                <a:cs typeface="Lato Light" charset="0"/>
              </a:rPr>
              <a:t>Supervisar, apoyar, proporcionar información y fomentar la creación de habilidades complementarias</a:t>
            </a:r>
          </a:p>
        </p:txBody>
      </p:sp>
      <p:sp>
        <p:nvSpPr>
          <p:cNvPr id="51" name="TextBox 37">
            <a:extLst>
              <a:ext uri="{FF2B5EF4-FFF2-40B4-BE49-F238E27FC236}">
                <a16:creationId xmlns:a16="http://schemas.microsoft.com/office/drawing/2014/main" xmlns="" id="{DD501777-E0CB-4ED1-8E60-6D064F22FC16}"/>
              </a:ext>
            </a:extLst>
          </p:cNvPr>
          <p:cNvSpPr txBox="1"/>
          <p:nvPr/>
        </p:nvSpPr>
        <p:spPr>
          <a:xfrm>
            <a:off x="5199556" y="4572661"/>
            <a:ext cx="2604564" cy="1323439"/>
          </a:xfrm>
          <a:prstGeom prst="rect">
            <a:avLst/>
          </a:prstGeom>
          <a:noFill/>
        </p:spPr>
        <p:txBody>
          <a:bodyPr wrap="square" rtlCol="0">
            <a:spAutoFit/>
          </a:bodyPr>
          <a:lstStyle/>
          <a:p>
            <a:r>
              <a:rPr lang="en-GB" sz="2000" dirty="0">
                <a:solidFill>
                  <a:schemeClr val="bg1"/>
                </a:solidFill>
                <a:latin typeface="+mj-lt"/>
                <a:ea typeface="Lato Light" charset="0"/>
                <a:cs typeface="Lato Light" charset="0"/>
              </a:rPr>
              <a:t>Entrenador para el compromiso, el entusiasmo y los beneficios para lograr las Tareas de Disciplina</a:t>
            </a:r>
          </a:p>
        </p:txBody>
      </p:sp>
      <p:sp>
        <p:nvSpPr>
          <p:cNvPr id="53" name="TextBox 39">
            <a:extLst>
              <a:ext uri="{FF2B5EF4-FFF2-40B4-BE49-F238E27FC236}">
                <a16:creationId xmlns:a16="http://schemas.microsoft.com/office/drawing/2014/main" xmlns="" id="{C7F5D1CA-A63D-4828-AB3C-A633AC638FC4}"/>
              </a:ext>
            </a:extLst>
          </p:cNvPr>
          <p:cNvSpPr txBox="1"/>
          <p:nvPr/>
        </p:nvSpPr>
        <p:spPr>
          <a:xfrm>
            <a:off x="9357152" y="4871656"/>
            <a:ext cx="2604564" cy="773097"/>
          </a:xfrm>
          <a:prstGeom prst="rect">
            <a:avLst/>
          </a:prstGeom>
          <a:noFill/>
        </p:spPr>
        <p:txBody>
          <a:bodyPr wrap="square" rtlCol="0">
            <a:spAutoFit/>
          </a:bodyPr>
          <a:lstStyle/>
          <a:p>
            <a:pPr>
              <a:lnSpc>
                <a:spcPts val="1665"/>
              </a:lnSpc>
            </a:pPr>
            <a:r>
              <a:rPr lang="en-GB" sz="2400" dirty="0">
                <a:solidFill>
                  <a:schemeClr val="bg1"/>
                </a:solidFill>
                <a:latin typeface="+mj-lt"/>
                <a:ea typeface="Lato Light" charset="0"/>
                <a:cs typeface="Lato Light" charset="0"/>
              </a:rPr>
              <a:t>Convierte el mayor número posible de trabajos en estrellas de oro</a:t>
            </a:r>
          </a:p>
        </p:txBody>
      </p:sp>
    </p:spTree>
    <p:extLst>
      <p:ext uri="{BB962C8B-B14F-4D97-AF65-F5344CB8AC3E}">
        <p14:creationId xmlns:p14="http://schemas.microsoft.com/office/powerpoint/2010/main" val="8413063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53697" y="2007893"/>
            <a:ext cx="2719697" cy="414502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latin typeface="+mj-lt"/>
                <a:sym typeface="Wingdings" panose="05000000000000000000" pitchFamily="2" charset="2"/>
              </a:rPr>
              <a:t>El aprendizaje de la crisis comienza con la reflexión sobre el liderazgo en la crisis y su análisis en el contexto de las tareas y la actuación. </a:t>
            </a:r>
            <a:br>
              <a:rPr lang="en-US" sz="2200" dirty="0">
                <a:latin typeface="+mj-lt"/>
                <a:sym typeface="Wingdings" panose="05000000000000000000" pitchFamily="2" charset="2"/>
              </a:rPr>
            </a:br>
            <a:r>
              <a:rPr lang="en-US" sz="2200" dirty="0">
                <a:latin typeface="+mj-lt"/>
                <a:sym typeface="Wingdings" panose="05000000000000000000" pitchFamily="2" charset="2"/>
              </a:rPr>
              <a:t>Para ello, utilice las siguientes preguntas de reflexión:</a:t>
            </a:r>
            <a:endParaRPr lang="en-GB" sz="2200" b="1" dirty="0">
              <a:latin typeface="+mj-lt"/>
            </a:endParaRPr>
          </a:p>
        </p:txBody>
      </p:sp>
      <p:sp>
        <p:nvSpPr>
          <p:cNvPr id="125" name="TextBox 148">
            <a:extLst>
              <a:ext uri="{FF2B5EF4-FFF2-40B4-BE49-F238E27FC236}">
                <a16:creationId xmlns:a16="http://schemas.microsoft.com/office/drawing/2014/main" xmlns="" id="{E7F2FC67-D2C3-4AFB-89B8-B044FF5E280B}"/>
              </a:ext>
            </a:extLst>
          </p:cNvPr>
          <p:cNvSpPr txBox="1"/>
          <p:nvPr/>
        </p:nvSpPr>
        <p:spPr>
          <a:xfrm>
            <a:off x="2360914" y="695442"/>
            <a:ext cx="5466735" cy="707886"/>
          </a:xfrm>
          <a:prstGeom prst="rect">
            <a:avLst/>
          </a:prstGeom>
          <a:noFill/>
        </p:spPr>
        <p:txBody>
          <a:bodyPr wrap="square" rtlCol="0" anchor="ctr" anchorCtr="0">
            <a:spAutoFit/>
          </a:bodyPr>
          <a:lstStyle/>
          <a:p>
            <a:r>
              <a:rPr lang="en-GB" sz="4000" b="1" dirty="0">
                <a:solidFill>
                  <a:schemeClr val="bg1"/>
                </a:solidFill>
                <a:highlight>
                  <a:srgbClr val="245473"/>
                </a:highlight>
                <a:latin typeface="+mj-lt"/>
                <a:ea typeface="League Spartan" charset="0"/>
                <a:cs typeface="Poppins" pitchFamily="2" charset="77"/>
              </a:rPr>
              <a:t>Preguntas de autorreflexión</a:t>
            </a:r>
            <a:r>
              <a:rPr lang="en-GB" sz="2800" b="1" dirty="0">
                <a:solidFill>
                  <a:schemeClr val="bg1"/>
                </a:solidFill>
                <a:highlight>
                  <a:srgbClr val="245473"/>
                </a:highlight>
                <a:latin typeface="+mj-lt"/>
                <a:ea typeface="League Spartan" charset="0"/>
                <a:cs typeface="Poppins" pitchFamily="2" charset="77"/>
              </a:rPr>
              <a:t>:</a:t>
            </a:r>
          </a:p>
        </p:txBody>
      </p:sp>
      <p:grpSp>
        <p:nvGrpSpPr>
          <p:cNvPr id="19" name="Group 135">
            <a:extLst>
              <a:ext uri="{FF2B5EF4-FFF2-40B4-BE49-F238E27FC236}">
                <a16:creationId xmlns:a16="http://schemas.microsoft.com/office/drawing/2014/main" xmlns="" id="{D8B40C42-785D-46C9-8C88-B2F488A6D00F}"/>
              </a:ext>
            </a:extLst>
          </p:cNvPr>
          <p:cNvGrpSpPr/>
          <p:nvPr/>
        </p:nvGrpSpPr>
        <p:grpSpPr>
          <a:xfrm flipH="1">
            <a:off x="3659912" y="2536371"/>
            <a:ext cx="2719697" cy="3603641"/>
            <a:chOff x="14407368" y="4108798"/>
            <a:chExt cx="7568848" cy="9607208"/>
          </a:xfrm>
        </p:grpSpPr>
        <p:sp>
          <p:nvSpPr>
            <p:cNvPr id="20" name="Shape 10354">
              <a:extLst>
                <a:ext uri="{FF2B5EF4-FFF2-40B4-BE49-F238E27FC236}">
                  <a16:creationId xmlns:a16="http://schemas.microsoft.com/office/drawing/2014/main" xmlns="" id="{D8213C35-155F-4B17-B8AD-FF777FEF96D3}"/>
                </a:ext>
              </a:extLst>
            </p:cNvPr>
            <p:cNvSpPr/>
            <p:nvPr/>
          </p:nvSpPr>
          <p:spPr>
            <a:xfrm>
              <a:off x="14407368" y="4112415"/>
              <a:ext cx="7568848" cy="9582576"/>
            </a:xfrm>
            <a:custGeom>
              <a:avLst/>
              <a:gdLst/>
              <a:ahLst/>
              <a:cxnLst>
                <a:cxn ang="0">
                  <a:pos x="wd2" y="hd2"/>
                </a:cxn>
                <a:cxn ang="5400000">
                  <a:pos x="wd2" y="hd2"/>
                </a:cxn>
                <a:cxn ang="10800000">
                  <a:pos x="wd2" y="hd2"/>
                </a:cxn>
                <a:cxn ang="16200000">
                  <a:pos x="wd2" y="hd2"/>
                </a:cxn>
              </a:cxnLst>
              <a:rect l="0" t="0" r="r" b="b"/>
              <a:pathLst>
                <a:path w="21432" h="21116" extrusionOk="0">
                  <a:moveTo>
                    <a:pt x="1988" y="8601"/>
                  </a:moveTo>
                  <a:cubicBezTo>
                    <a:pt x="1988" y="8601"/>
                    <a:pt x="2362" y="8118"/>
                    <a:pt x="1988" y="7586"/>
                  </a:cubicBezTo>
                  <a:cubicBezTo>
                    <a:pt x="1615" y="7054"/>
                    <a:pt x="1864" y="5073"/>
                    <a:pt x="2736" y="3720"/>
                  </a:cubicBezTo>
                  <a:cubicBezTo>
                    <a:pt x="3608" y="2367"/>
                    <a:pt x="4355" y="1352"/>
                    <a:pt x="9026" y="434"/>
                  </a:cubicBezTo>
                  <a:cubicBezTo>
                    <a:pt x="13697" y="-484"/>
                    <a:pt x="16126" y="96"/>
                    <a:pt x="18368" y="1787"/>
                  </a:cubicBezTo>
                  <a:cubicBezTo>
                    <a:pt x="20610" y="3478"/>
                    <a:pt x="21357" y="5895"/>
                    <a:pt x="20672" y="8311"/>
                  </a:cubicBezTo>
                  <a:cubicBezTo>
                    <a:pt x="19987" y="10727"/>
                    <a:pt x="17558" y="11065"/>
                    <a:pt x="17745" y="13530"/>
                  </a:cubicBezTo>
                  <a:cubicBezTo>
                    <a:pt x="17932" y="15994"/>
                    <a:pt x="21432" y="21116"/>
                    <a:pt x="21432" y="21116"/>
                  </a:cubicBezTo>
                  <a:lnTo>
                    <a:pt x="9088" y="21116"/>
                  </a:lnTo>
                  <a:cubicBezTo>
                    <a:pt x="9088" y="21116"/>
                    <a:pt x="9618" y="19642"/>
                    <a:pt x="8964" y="18265"/>
                  </a:cubicBezTo>
                  <a:cubicBezTo>
                    <a:pt x="8964" y="18265"/>
                    <a:pt x="7959" y="16507"/>
                    <a:pt x="7189" y="16544"/>
                  </a:cubicBezTo>
                  <a:cubicBezTo>
                    <a:pt x="6418" y="16580"/>
                    <a:pt x="4083" y="16779"/>
                    <a:pt x="3452" y="16707"/>
                  </a:cubicBezTo>
                  <a:cubicBezTo>
                    <a:pt x="2821" y="16634"/>
                    <a:pt x="2214" y="16471"/>
                    <a:pt x="2261" y="15619"/>
                  </a:cubicBezTo>
                  <a:cubicBezTo>
                    <a:pt x="2308" y="14768"/>
                    <a:pt x="2238" y="14623"/>
                    <a:pt x="1887" y="14442"/>
                  </a:cubicBezTo>
                  <a:cubicBezTo>
                    <a:pt x="1537" y="14260"/>
                    <a:pt x="1397" y="13916"/>
                    <a:pt x="1677" y="13735"/>
                  </a:cubicBezTo>
                  <a:cubicBezTo>
                    <a:pt x="1957" y="13554"/>
                    <a:pt x="1957" y="13554"/>
                    <a:pt x="1957" y="13554"/>
                  </a:cubicBezTo>
                  <a:cubicBezTo>
                    <a:pt x="1957" y="13554"/>
                    <a:pt x="1747" y="13445"/>
                    <a:pt x="1420" y="13282"/>
                  </a:cubicBezTo>
                  <a:cubicBezTo>
                    <a:pt x="1093" y="13119"/>
                    <a:pt x="1163" y="12883"/>
                    <a:pt x="1257" y="12702"/>
                  </a:cubicBezTo>
                  <a:cubicBezTo>
                    <a:pt x="1350" y="12521"/>
                    <a:pt x="1537" y="12104"/>
                    <a:pt x="1327" y="12031"/>
                  </a:cubicBezTo>
                  <a:cubicBezTo>
                    <a:pt x="1117" y="11959"/>
                    <a:pt x="743" y="11778"/>
                    <a:pt x="416" y="11633"/>
                  </a:cubicBezTo>
                  <a:cubicBezTo>
                    <a:pt x="89" y="11488"/>
                    <a:pt x="-168" y="11234"/>
                    <a:pt x="136" y="10817"/>
                  </a:cubicBezTo>
                  <a:cubicBezTo>
                    <a:pt x="439" y="10401"/>
                    <a:pt x="1988" y="8601"/>
                    <a:pt x="1988" y="8601"/>
                  </a:cubicBezTo>
                  <a:close/>
                </a:path>
              </a:pathLst>
            </a:custGeom>
            <a:solidFill>
              <a:schemeClr val="bg1"/>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1" name="Shape 10355">
              <a:extLst>
                <a:ext uri="{FF2B5EF4-FFF2-40B4-BE49-F238E27FC236}">
                  <a16:creationId xmlns:a16="http://schemas.microsoft.com/office/drawing/2014/main" xmlns="" id="{61104287-5556-4154-A6F5-17E045BE143E}"/>
                </a:ext>
              </a:extLst>
            </p:cNvPr>
            <p:cNvSpPr/>
            <p:nvPr/>
          </p:nvSpPr>
          <p:spPr>
            <a:xfrm>
              <a:off x="15175975" y="5793015"/>
              <a:ext cx="1056103" cy="924500"/>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2" name="Shape 10356">
              <a:extLst>
                <a:ext uri="{FF2B5EF4-FFF2-40B4-BE49-F238E27FC236}">
                  <a16:creationId xmlns:a16="http://schemas.microsoft.com/office/drawing/2014/main" xmlns="" id="{B20FE577-E792-4E3C-B645-EBB802973B9F}"/>
                </a:ext>
              </a:extLst>
            </p:cNvPr>
            <p:cNvSpPr/>
            <p:nvPr/>
          </p:nvSpPr>
          <p:spPr>
            <a:xfrm>
              <a:off x="17978664" y="7053490"/>
              <a:ext cx="567697" cy="676949"/>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3" name="Shape 10357">
              <a:extLst>
                <a:ext uri="{FF2B5EF4-FFF2-40B4-BE49-F238E27FC236}">
                  <a16:creationId xmlns:a16="http://schemas.microsoft.com/office/drawing/2014/main" xmlns="" id="{EDE9372F-B184-4E44-A9EC-147CDC76CD00}"/>
                </a:ext>
              </a:extLst>
            </p:cNvPr>
            <p:cNvSpPr/>
            <p:nvPr/>
          </p:nvSpPr>
          <p:spPr>
            <a:xfrm>
              <a:off x="19346002" y="5826856"/>
              <a:ext cx="524618" cy="104923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4" name="Shape 10358">
              <a:extLst>
                <a:ext uri="{FF2B5EF4-FFF2-40B4-BE49-F238E27FC236}">
                  <a16:creationId xmlns:a16="http://schemas.microsoft.com/office/drawing/2014/main" xmlns="" id="{8F66B119-BB7F-4D57-83A8-8EC057DC8098}"/>
                </a:ext>
              </a:extLst>
            </p:cNvPr>
            <p:cNvSpPr/>
            <p:nvPr/>
          </p:nvSpPr>
          <p:spPr>
            <a:xfrm>
              <a:off x="18888390" y="7193820"/>
              <a:ext cx="1013871" cy="761612"/>
            </a:xfrm>
            <a:custGeom>
              <a:avLst/>
              <a:gdLst/>
              <a:ahLst/>
              <a:cxnLst>
                <a:cxn ang="0">
                  <a:pos x="wd2" y="hd2"/>
                </a:cxn>
                <a:cxn ang="5400000">
                  <a:pos x="wd2" y="hd2"/>
                </a:cxn>
                <a:cxn ang="10800000">
                  <a:pos x="wd2" y="hd2"/>
                </a:cxn>
                <a:cxn ang="16200000">
                  <a:pos x="wd2" y="hd2"/>
                </a:cxn>
              </a:cxnLst>
              <a:rect l="0" t="0" r="r" b="b"/>
              <a:pathLst>
                <a:path w="21600" h="21600" extrusionOk="0">
                  <a:moveTo>
                    <a:pt x="14377" y="10069"/>
                  </a:moveTo>
                  <a:cubicBezTo>
                    <a:pt x="13591" y="10069"/>
                    <a:pt x="12956" y="9222"/>
                    <a:pt x="12956" y="8178"/>
                  </a:cubicBezTo>
                  <a:cubicBezTo>
                    <a:pt x="12956" y="7133"/>
                    <a:pt x="13591" y="6286"/>
                    <a:pt x="14377" y="6286"/>
                  </a:cubicBezTo>
                  <a:cubicBezTo>
                    <a:pt x="15161" y="6286"/>
                    <a:pt x="15797" y="7133"/>
                    <a:pt x="15797" y="8178"/>
                  </a:cubicBezTo>
                  <a:cubicBezTo>
                    <a:pt x="15797" y="9222"/>
                    <a:pt x="15161" y="10069"/>
                    <a:pt x="14377" y="10069"/>
                  </a:cubicBezTo>
                  <a:close/>
                  <a:moveTo>
                    <a:pt x="9355" y="17542"/>
                  </a:moveTo>
                  <a:lnTo>
                    <a:pt x="6514" y="17542"/>
                  </a:lnTo>
                  <a:lnTo>
                    <a:pt x="6514" y="13759"/>
                  </a:lnTo>
                  <a:lnTo>
                    <a:pt x="9355" y="13759"/>
                  </a:lnTo>
                  <a:cubicBezTo>
                    <a:pt x="9355" y="13759"/>
                    <a:pt x="9355" y="17542"/>
                    <a:pt x="9355" y="17542"/>
                  </a:cubicBezTo>
                  <a:close/>
                  <a:moveTo>
                    <a:pt x="4885" y="17542"/>
                  </a:moveTo>
                  <a:lnTo>
                    <a:pt x="2045" y="17542"/>
                  </a:lnTo>
                  <a:lnTo>
                    <a:pt x="2045" y="13759"/>
                  </a:lnTo>
                  <a:lnTo>
                    <a:pt x="4885" y="13759"/>
                  </a:lnTo>
                  <a:cubicBezTo>
                    <a:pt x="4885" y="13759"/>
                    <a:pt x="4885" y="17542"/>
                    <a:pt x="4885" y="17542"/>
                  </a:cubicBezTo>
                  <a:close/>
                  <a:moveTo>
                    <a:pt x="14377" y="1737"/>
                  </a:moveTo>
                  <a:lnTo>
                    <a:pt x="7198" y="11684"/>
                  </a:lnTo>
                  <a:lnTo>
                    <a:pt x="624" y="11684"/>
                  </a:lnTo>
                  <a:lnTo>
                    <a:pt x="624" y="21600"/>
                  </a:lnTo>
                  <a:lnTo>
                    <a:pt x="12488" y="21600"/>
                  </a:lnTo>
                  <a:lnTo>
                    <a:pt x="12488" y="13750"/>
                  </a:lnTo>
                  <a:lnTo>
                    <a:pt x="16265" y="13750"/>
                  </a:lnTo>
                  <a:lnTo>
                    <a:pt x="16265" y="21600"/>
                  </a:lnTo>
                  <a:lnTo>
                    <a:pt x="20961" y="21600"/>
                  </a:lnTo>
                  <a:lnTo>
                    <a:pt x="20961" y="11747"/>
                  </a:lnTo>
                  <a:lnTo>
                    <a:pt x="21600" y="11747"/>
                  </a:lnTo>
                  <a:cubicBezTo>
                    <a:pt x="21600" y="11747"/>
                    <a:pt x="14377" y="1737"/>
                    <a:pt x="14377" y="1737"/>
                  </a:cubicBezTo>
                  <a:close/>
                  <a:moveTo>
                    <a:pt x="21585" y="9988"/>
                  </a:moveTo>
                  <a:lnTo>
                    <a:pt x="21585" y="10640"/>
                  </a:lnTo>
                  <a:lnTo>
                    <a:pt x="14376" y="652"/>
                  </a:lnTo>
                  <a:lnTo>
                    <a:pt x="6905" y="11004"/>
                  </a:lnTo>
                  <a:lnTo>
                    <a:pt x="0" y="11004"/>
                  </a:lnTo>
                  <a:lnTo>
                    <a:pt x="4124" y="5099"/>
                  </a:lnTo>
                  <a:lnTo>
                    <a:pt x="10696" y="5099"/>
                  </a:lnTo>
                  <a:lnTo>
                    <a:pt x="14376" y="0"/>
                  </a:lnTo>
                  <a:cubicBezTo>
                    <a:pt x="14376" y="0"/>
                    <a:pt x="21585" y="9988"/>
                    <a:pt x="21585" y="998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5" name="Shape 10359">
              <a:extLst>
                <a:ext uri="{FF2B5EF4-FFF2-40B4-BE49-F238E27FC236}">
                  <a16:creationId xmlns:a16="http://schemas.microsoft.com/office/drawing/2014/main" xmlns="" id="{8C8DFB75-5FCB-452F-99FA-5E0DB7B9A239}"/>
                </a:ext>
              </a:extLst>
            </p:cNvPr>
            <p:cNvSpPr/>
            <p:nvPr/>
          </p:nvSpPr>
          <p:spPr>
            <a:xfrm>
              <a:off x="19929794" y="6617313"/>
              <a:ext cx="835507" cy="736694"/>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7" name="Shape 10360">
              <a:extLst>
                <a:ext uri="{FF2B5EF4-FFF2-40B4-BE49-F238E27FC236}">
                  <a16:creationId xmlns:a16="http://schemas.microsoft.com/office/drawing/2014/main" xmlns="" id="{4C285A22-5477-4E2D-934E-113C18C76E6C}"/>
                </a:ext>
              </a:extLst>
            </p:cNvPr>
            <p:cNvSpPr/>
            <p:nvPr/>
          </p:nvSpPr>
          <p:spPr>
            <a:xfrm>
              <a:off x="16246750" y="8337717"/>
              <a:ext cx="1090495" cy="724856"/>
            </a:xfrm>
            <a:custGeom>
              <a:avLst/>
              <a:gdLst/>
              <a:ahLst/>
              <a:cxnLst>
                <a:cxn ang="0">
                  <a:pos x="wd2" y="hd2"/>
                </a:cxn>
                <a:cxn ang="5400000">
                  <a:pos x="wd2" y="hd2"/>
                </a:cxn>
                <a:cxn ang="10800000">
                  <a:pos x="wd2" y="hd2"/>
                </a:cxn>
                <a:cxn ang="16200000">
                  <a:pos x="wd2" y="hd2"/>
                </a:cxn>
              </a:cxnLst>
              <a:rect l="0" t="0" r="r" b="b"/>
              <a:pathLst>
                <a:path w="21600" h="21423" extrusionOk="0">
                  <a:moveTo>
                    <a:pt x="17523" y="7527"/>
                  </a:moveTo>
                  <a:lnTo>
                    <a:pt x="16892" y="5510"/>
                  </a:lnTo>
                  <a:lnTo>
                    <a:pt x="16892" y="5510"/>
                  </a:lnTo>
                  <a:cubicBezTo>
                    <a:pt x="16891" y="5509"/>
                    <a:pt x="16891" y="5507"/>
                    <a:pt x="16891" y="5505"/>
                  </a:cubicBezTo>
                  <a:cubicBezTo>
                    <a:pt x="16543" y="4391"/>
                    <a:pt x="13689" y="5277"/>
                    <a:pt x="10517" y="7484"/>
                  </a:cubicBezTo>
                  <a:cubicBezTo>
                    <a:pt x="7344" y="9692"/>
                    <a:pt x="5056" y="12384"/>
                    <a:pt x="5404" y="13498"/>
                  </a:cubicBezTo>
                  <a:cubicBezTo>
                    <a:pt x="5404" y="13499"/>
                    <a:pt x="5405" y="13501"/>
                    <a:pt x="5405" y="13502"/>
                  </a:cubicBezTo>
                  <a:lnTo>
                    <a:pt x="5405" y="13503"/>
                  </a:lnTo>
                  <a:lnTo>
                    <a:pt x="5495" y="13791"/>
                  </a:lnTo>
                  <a:lnTo>
                    <a:pt x="0" y="14107"/>
                  </a:lnTo>
                  <a:lnTo>
                    <a:pt x="8178" y="0"/>
                  </a:lnTo>
                  <a:lnTo>
                    <a:pt x="21600" y="1182"/>
                  </a:lnTo>
                  <a:cubicBezTo>
                    <a:pt x="21600" y="1182"/>
                    <a:pt x="17523" y="7527"/>
                    <a:pt x="17523" y="7527"/>
                  </a:cubicBezTo>
                  <a:close/>
                  <a:moveTo>
                    <a:pt x="5685" y="19621"/>
                  </a:moveTo>
                  <a:cubicBezTo>
                    <a:pt x="5884" y="20257"/>
                    <a:pt x="5703" y="21011"/>
                    <a:pt x="5280" y="21306"/>
                  </a:cubicBezTo>
                  <a:cubicBezTo>
                    <a:pt x="4857" y="21600"/>
                    <a:pt x="4353" y="21323"/>
                    <a:pt x="4154" y="20686"/>
                  </a:cubicBezTo>
                  <a:cubicBezTo>
                    <a:pt x="4021" y="20261"/>
                    <a:pt x="4061" y="19785"/>
                    <a:pt x="4227" y="19427"/>
                  </a:cubicBezTo>
                  <a:lnTo>
                    <a:pt x="2645" y="14366"/>
                  </a:lnTo>
                  <a:lnTo>
                    <a:pt x="3561" y="14314"/>
                  </a:lnTo>
                  <a:lnTo>
                    <a:pt x="4992" y="18894"/>
                  </a:lnTo>
                  <a:cubicBezTo>
                    <a:pt x="5283" y="18935"/>
                    <a:pt x="5552" y="19195"/>
                    <a:pt x="5685" y="19621"/>
                  </a:cubicBezTo>
                  <a:close/>
                  <a:moveTo>
                    <a:pt x="17927" y="11804"/>
                  </a:moveTo>
                  <a:lnTo>
                    <a:pt x="16207" y="6303"/>
                  </a:lnTo>
                  <a:cubicBezTo>
                    <a:pt x="15632" y="6170"/>
                    <a:pt x="13695" y="6675"/>
                    <a:pt x="10877" y="8636"/>
                  </a:cubicBezTo>
                  <a:cubicBezTo>
                    <a:pt x="8057" y="10598"/>
                    <a:pt x="6553" y="12487"/>
                    <a:pt x="6252" y="13230"/>
                  </a:cubicBezTo>
                  <a:lnTo>
                    <a:pt x="7971" y="18731"/>
                  </a:lnTo>
                  <a:cubicBezTo>
                    <a:pt x="7971" y="18731"/>
                    <a:pt x="17927" y="11804"/>
                    <a:pt x="17927" y="11804"/>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8" name="Shape 10361">
              <a:extLst>
                <a:ext uri="{FF2B5EF4-FFF2-40B4-BE49-F238E27FC236}">
                  <a16:creationId xmlns:a16="http://schemas.microsoft.com/office/drawing/2014/main" xmlns="" id="{CB1073AE-3CA2-4C80-8B2E-343323CBCFD0}"/>
                </a:ext>
              </a:extLst>
            </p:cNvPr>
            <p:cNvSpPr/>
            <p:nvPr/>
          </p:nvSpPr>
          <p:spPr>
            <a:xfrm>
              <a:off x="18047762" y="8576521"/>
              <a:ext cx="779626" cy="51003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9" name="Shape 10362">
              <a:extLst>
                <a:ext uri="{FF2B5EF4-FFF2-40B4-BE49-F238E27FC236}">
                  <a16:creationId xmlns:a16="http://schemas.microsoft.com/office/drawing/2014/main" xmlns="" id="{D15048DF-3780-45AB-AFBA-3DE753F58015}"/>
                </a:ext>
              </a:extLst>
            </p:cNvPr>
            <p:cNvSpPr/>
            <p:nvPr/>
          </p:nvSpPr>
          <p:spPr>
            <a:xfrm>
              <a:off x="18185036" y="7888290"/>
              <a:ext cx="532340" cy="532367"/>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8"/>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accent3"/>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0" name="Shape 10363">
              <a:extLst>
                <a:ext uri="{FF2B5EF4-FFF2-40B4-BE49-F238E27FC236}">
                  <a16:creationId xmlns:a16="http://schemas.microsoft.com/office/drawing/2014/main" xmlns="" id="{17983118-FE01-4BE2-8025-C5E54FB162DE}"/>
                </a:ext>
              </a:extLst>
            </p:cNvPr>
            <p:cNvSpPr/>
            <p:nvPr/>
          </p:nvSpPr>
          <p:spPr>
            <a:xfrm>
              <a:off x="16563190" y="8572964"/>
              <a:ext cx="1358814" cy="1170611"/>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1" name="Shape 10364">
              <a:extLst>
                <a:ext uri="{FF2B5EF4-FFF2-40B4-BE49-F238E27FC236}">
                  <a16:creationId xmlns:a16="http://schemas.microsoft.com/office/drawing/2014/main" xmlns="" id="{D2E7310F-3D20-4A66-9A12-70EF33740FE4}"/>
                </a:ext>
              </a:extLst>
            </p:cNvPr>
            <p:cNvSpPr/>
            <p:nvPr/>
          </p:nvSpPr>
          <p:spPr>
            <a:xfrm>
              <a:off x="20342604" y="4919807"/>
              <a:ext cx="795139" cy="828529"/>
            </a:xfrm>
            <a:custGeom>
              <a:avLst/>
              <a:gdLst/>
              <a:ahLst/>
              <a:cxnLst>
                <a:cxn ang="0">
                  <a:pos x="wd2" y="hd2"/>
                </a:cxn>
                <a:cxn ang="5400000">
                  <a:pos x="wd2" y="hd2"/>
                </a:cxn>
                <a:cxn ang="10800000">
                  <a:pos x="wd2" y="hd2"/>
                </a:cxn>
                <a:cxn ang="16200000">
                  <a:pos x="wd2" y="hd2"/>
                </a:cxn>
              </a:cxnLst>
              <a:rect l="0" t="0" r="r" b="b"/>
              <a:pathLst>
                <a:path w="21600" h="21458" extrusionOk="0">
                  <a:moveTo>
                    <a:pt x="0" y="2367"/>
                  </a:moveTo>
                  <a:lnTo>
                    <a:pt x="8951" y="11157"/>
                  </a:lnTo>
                  <a:lnTo>
                    <a:pt x="11078" y="9188"/>
                  </a:lnTo>
                  <a:lnTo>
                    <a:pt x="6437" y="4635"/>
                  </a:lnTo>
                  <a:cubicBezTo>
                    <a:pt x="6796" y="4533"/>
                    <a:pt x="7134" y="4350"/>
                    <a:pt x="7402" y="4069"/>
                  </a:cubicBezTo>
                  <a:cubicBezTo>
                    <a:pt x="7936" y="3511"/>
                    <a:pt x="8097" y="2728"/>
                    <a:pt x="7933" y="1987"/>
                  </a:cubicBezTo>
                  <a:cubicBezTo>
                    <a:pt x="7919" y="1921"/>
                    <a:pt x="7902" y="1856"/>
                    <a:pt x="7882" y="1792"/>
                  </a:cubicBezTo>
                  <a:cubicBezTo>
                    <a:pt x="9084" y="1420"/>
                    <a:pt x="10285" y="1313"/>
                    <a:pt x="11432" y="1512"/>
                  </a:cubicBezTo>
                  <a:cubicBezTo>
                    <a:pt x="13324" y="1841"/>
                    <a:pt x="14949" y="2953"/>
                    <a:pt x="16131" y="4728"/>
                  </a:cubicBezTo>
                  <a:cubicBezTo>
                    <a:pt x="17973" y="7495"/>
                    <a:pt x="17832" y="11043"/>
                    <a:pt x="15877" y="13613"/>
                  </a:cubicBezTo>
                  <a:lnTo>
                    <a:pt x="14455" y="12303"/>
                  </a:lnTo>
                  <a:lnTo>
                    <a:pt x="15915" y="10862"/>
                  </a:lnTo>
                  <a:lnTo>
                    <a:pt x="15206" y="10209"/>
                  </a:lnTo>
                  <a:lnTo>
                    <a:pt x="9882" y="15464"/>
                  </a:lnTo>
                  <a:lnTo>
                    <a:pt x="10592" y="16118"/>
                  </a:lnTo>
                  <a:lnTo>
                    <a:pt x="12054" y="14674"/>
                  </a:lnTo>
                  <a:lnTo>
                    <a:pt x="14365" y="16801"/>
                  </a:lnTo>
                  <a:lnTo>
                    <a:pt x="11305" y="19822"/>
                  </a:lnTo>
                  <a:lnTo>
                    <a:pt x="13081" y="21458"/>
                  </a:lnTo>
                  <a:lnTo>
                    <a:pt x="21600" y="13048"/>
                  </a:lnTo>
                  <a:lnTo>
                    <a:pt x="19823" y="11412"/>
                  </a:lnTo>
                  <a:lnTo>
                    <a:pt x="17690" y="13518"/>
                  </a:lnTo>
                  <a:cubicBezTo>
                    <a:pt x="19379" y="10601"/>
                    <a:pt x="19335" y="6908"/>
                    <a:pt x="17380" y="3973"/>
                  </a:cubicBezTo>
                  <a:cubicBezTo>
                    <a:pt x="15971" y="1856"/>
                    <a:pt x="14006" y="526"/>
                    <a:pt x="11697" y="124"/>
                  </a:cubicBezTo>
                  <a:cubicBezTo>
                    <a:pt x="10165" y="-142"/>
                    <a:pt x="8574" y="24"/>
                    <a:pt x="7002" y="585"/>
                  </a:cubicBezTo>
                  <a:cubicBezTo>
                    <a:pt x="6059" y="-12"/>
                    <a:pt x="4773" y="95"/>
                    <a:pt x="3959" y="899"/>
                  </a:cubicBezTo>
                  <a:cubicBezTo>
                    <a:pt x="3722" y="1133"/>
                    <a:pt x="3552" y="1402"/>
                    <a:pt x="3440" y="1690"/>
                  </a:cubicBezTo>
                  <a:lnTo>
                    <a:pt x="2124" y="401"/>
                  </a:lnTo>
                  <a:lnTo>
                    <a:pt x="0" y="2367"/>
                  </a:lnTo>
                  <a:close/>
                  <a:moveTo>
                    <a:pt x="5023" y="1879"/>
                  </a:moveTo>
                  <a:cubicBezTo>
                    <a:pt x="5331" y="1567"/>
                    <a:pt x="5827" y="1505"/>
                    <a:pt x="6199" y="1742"/>
                  </a:cubicBezTo>
                  <a:cubicBezTo>
                    <a:pt x="6584" y="1986"/>
                    <a:pt x="6712" y="2467"/>
                    <a:pt x="6498" y="2857"/>
                  </a:cubicBezTo>
                  <a:cubicBezTo>
                    <a:pt x="6457" y="2939"/>
                    <a:pt x="6405" y="3017"/>
                    <a:pt x="6335" y="3086"/>
                  </a:cubicBezTo>
                  <a:cubicBezTo>
                    <a:pt x="5986" y="3431"/>
                    <a:pt x="5406" y="3440"/>
                    <a:pt x="5046" y="3108"/>
                  </a:cubicBezTo>
                  <a:cubicBezTo>
                    <a:pt x="4686" y="2775"/>
                    <a:pt x="4679" y="2227"/>
                    <a:pt x="5023" y="187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3" name="Shape 10365">
              <a:extLst>
                <a:ext uri="{FF2B5EF4-FFF2-40B4-BE49-F238E27FC236}">
                  <a16:creationId xmlns:a16="http://schemas.microsoft.com/office/drawing/2014/main" xmlns="" id="{6D5663D8-0629-4B04-8D56-D417F02ECB3B}"/>
                </a:ext>
              </a:extLst>
            </p:cNvPr>
            <p:cNvSpPr/>
            <p:nvPr/>
          </p:nvSpPr>
          <p:spPr>
            <a:xfrm>
              <a:off x="20885051" y="8052596"/>
              <a:ext cx="644759" cy="45701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4" name="Shape 10366">
              <a:extLst>
                <a:ext uri="{FF2B5EF4-FFF2-40B4-BE49-F238E27FC236}">
                  <a16:creationId xmlns:a16="http://schemas.microsoft.com/office/drawing/2014/main" xmlns="" id="{9D02A2AA-08CC-4BC0-AD97-AFA1A0105F42}"/>
                </a:ext>
              </a:extLst>
            </p:cNvPr>
            <p:cNvSpPr/>
            <p:nvPr/>
          </p:nvSpPr>
          <p:spPr>
            <a:xfrm>
              <a:off x="20024892" y="5668206"/>
              <a:ext cx="715283" cy="791812"/>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5" name="Shape 10367">
              <a:extLst>
                <a:ext uri="{FF2B5EF4-FFF2-40B4-BE49-F238E27FC236}">
                  <a16:creationId xmlns:a16="http://schemas.microsoft.com/office/drawing/2014/main" xmlns="" id="{1E0E8883-4D88-4C45-9C26-8B6ACF97A854}"/>
                </a:ext>
              </a:extLst>
            </p:cNvPr>
            <p:cNvSpPr/>
            <p:nvPr/>
          </p:nvSpPr>
          <p:spPr>
            <a:xfrm>
              <a:off x="19982176" y="8448786"/>
              <a:ext cx="979708" cy="1152637"/>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6" name="Shape 10368">
              <a:extLst>
                <a:ext uri="{FF2B5EF4-FFF2-40B4-BE49-F238E27FC236}">
                  <a16:creationId xmlns:a16="http://schemas.microsoft.com/office/drawing/2014/main" xmlns="" id="{2243D862-4DBE-416C-901F-A01D10CE3784}"/>
                </a:ext>
              </a:extLst>
            </p:cNvPr>
            <p:cNvSpPr/>
            <p:nvPr/>
          </p:nvSpPr>
          <p:spPr>
            <a:xfrm>
              <a:off x="18752832" y="6832014"/>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7" name="Shape 10369">
              <a:extLst>
                <a:ext uri="{FF2B5EF4-FFF2-40B4-BE49-F238E27FC236}">
                  <a16:creationId xmlns:a16="http://schemas.microsoft.com/office/drawing/2014/main" xmlns="" id="{35146B33-B376-4055-B2E9-DEFD0787BE9A}"/>
                </a:ext>
              </a:extLst>
            </p:cNvPr>
            <p:cNvSpPr/>
            <p:nvPr/>
          </p:nvSpPr>
          <p:spPr>
            <a:xfrm>
              <a:off x="20044209" y="7524991"/>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8" name="Shape 10370">
              <a:extLst>
                <a:ext uri="{FF2B5EF4-FFF2-40B4-BE49-F238E27FC236}">
                  <a16:creationId xmlns:a16="http://schemas.microsoft.com/office/drawing/2014/main" xmlns="" id="{A075D186-8C81-48DA-9567-1872E97AF4AC}"/>
                </a:ext>
              </a:extLst>
            </p:cNvPr>
            <p:cNvSpPr/>
            <p:nvPr/>
          </p:nvSpPr>
          <p:spPr>
            <a:xfrm>
              <a:off x="17425322" y="6394160"/>
              <a:ext cx="534329"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9" name="Shape 10371">
              <a:extLst>
                <a:ext uri="{FF2B5EF4-FFF2-40B4-BE49-F238E27FC236}">
                  <a16:creationId xmlns:a16="http://schemas.microsoft.com/office/drawing/2014/main" xmlns="" id="{79FF5074-98F2-4435-80EF-7244F3B77B60}"/>
                </a:ext>
              </a:extLst>
            </p:cNvPr>
            <p:cNvSpPr/>
            <p:nvPr/>
          </p:nvSpPr>
          <p:spPr>
            <a:xfrm>
              <a:off x="17176640" y="7642515"/>
              <a:ext cx="745364" cy="625834"/>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0" name="Shape 10372">
              <a:extLst>
                <a:ext uri="{FF2B5EF4-FFF2-40B4-BE49-F238E27FC236}">
                  <a16:creationId xmlns:a16="http://schemas.microsoft.com/office/drawing/2014/main" xmlns="" id="{191BFDE8-4CF4-4EE5-BC5B-289EF549A124}"/>
                </a:ext>
              </a:extLst>
            </p:cNvPr>
            <p:cNvSpPr/>
            <p:nvPr/>
          </p:nvSpPr>
          <p:spPr>
            <a:xfrm>
              <a:off x="18332159" y="5376375"/>
              <a:ext cx="863654" cy="789237"/>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8" name="Shape 10373">
              <a:extLst>
                <a:ext uri="{FF2B5EF4-FFF2-40B4-BE49-F238E27FC236}">
                  <a16:creationId xmlns:a16="http://schemas.microsoft.com/office/drawing/2014/main" xmlns="" id="{3A02BE30-3BC8-4A82-B438-4508B29D84AD}"/>
                </a:ext>
              </a:extLst>
            </p:cNvPr>
            <p:cNvSpPr/>
            <p:nvPr/>
          </p:nvSpPr>
          <p:spPr>
            <a:xfrm>
              <a:off x="16553258" y="7552786"/>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0" name="Shape 10374">
              <a:extLst>
                <a:ext uri="{FF2B5EF4-FFF2-40B4-BE49-F238E27FC236}">
                  <a16:creationId xmlns:a16="http://schemas.microsoft.com/office/drawing/2014/main" xmlns="" id="{C0E63434-66DE-4FDE-A4AD-938BBEA8507A}"/>
                </a:ext>
              </a:extLst>
            </p:cNvPr>
            <p:cNvSpPr/>
            <p:nvPr/>
          </p:nvSpPr>
          <p:spPr>
            <a:xfrm>
              <a:off x="16997004" y="6816973"/>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2" name="Shape 10375">
              <a:extLst>
                <a:ext uri="{FF2B5EF4-FFF2-40B4-BE49-F238E27FC236}">
                  <a16:creationId xmlns:a16="http://schemas.microsoft.com/office/drawing/2014/main" xmlns="" id="{51648603-70A9-4D65-9453-F4C4F9033E9C}"/>
                </a:ext>
              </a:extLst>
            </p:cNvPr>
            <p:cNvSpPr/>
            <p:nvPr/>
          </p:nvSpPr>
          <p:spPr>
            <a:xfrm>
              <a:off x="17636354" y="4813021"/>
              <a:ext cx="520971" cy="676949"/>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4" name="Shape 10376">
              <a:extLst>
                <a:ext uri="{FF2B5EF4-FFF2-40B4-BE49-F238E27FC236}">
                  <a16:creationId xmlns:a16="http://schemas.microsoft.com/office/drawing/2014/main" xmlns="" id="{705BA2A4-BEA1-485D-838D-D47FBF7AEA01}"/>
                </a:ext>
              </a:extLst>
            </p:cNvPr>
            <p:cNvSpPr/>
            <p:nvPr/>
          </p:nvSpPr>
          <p:spPr>
            <a:xfrm>
              <a:off x="16445562" y="5853037"/>
              <a:ext cx="1109876" cy="786703"/>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5" name="Shape 10377">
              <a:extLst>
                <a:ext uri="{FF2B5EF4-FFF2-40B4-BE49-F238E27FC236}">
                  <a16:creationId xmlns:a16="http://schemas.microsoft.com/office/drawing/2014/main" xmlns="" id="{70E14776-7F50-47D2-BC72-57E9EB143C46}"/>
                </a:ext>
              </a:extLst>
            </p:cNvPr>
            <p:cNvSpPr/>
            <p:nvPr/>
          </p:nvSpPr>
          <p:spPr>
            <a:xfrm>
              <a:off x="20790043" y="5991818"/>
              <a:ext cx="864563" cy="744816"/>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accent3"/>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6" name="Shape 10378">
              <a:extLst>
                <a:ext uri="{FF2B5EF4-FFF2-40B4-BE49-F238E27FC236}">
                  <a16:creationId xmlns:a16="http://schemas.microsoft.com/office/drawing/2014/main" xmlns="" id="{F165E4CD-8849-4471-94E6-EBA6FC96C324}"/>
                </a:ext>
              </a:extLst>
            </p:cNvPr>
            <p:cNvSpPr/>
            <p:nvPr/>
          </p:nvSpPr>
          <p:spPr>
            <a:xfrm>
              <a:off x="19313512" y="496652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7" name="Shape 10379">
              <a:extLst>
                <a:ext uri="{FF2B5EF4-FFF2-40B4-BE49-F238E27FC236}">
                  <a16:creationId xmlns:a16="http://schemas.microsoft.com/office/drawing/2014/main" xmlns="" id="{79179927-2708-4CE9-A15C-F3DD4A485763}"/>
                </a:ext>
              </a:extLst>
            </p:cNvPr>
            <p:cNvSpPr/>
            <p:nvPr/>
          </p:nvSpPr>
          <p:spPr>
            <a:xfrm>
              <a:off x="18944723" y="8111996"/>
              <a:ext cx="642360" cy="720761"/>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8" name="Shape 10380">
              <a:extLst>
                <a:ext uri="{FF2B5EF4-FFF2-40B4-BE49-F238E27FC236}">
                  <a16:creationId xmlns:a16="http://schemas.microsoft.com/office/drawing/2014/main" xmlns="" id="{49DB25D5-E028-42D1-A6B7-8D223230DF04}"/>
                </a:ext>
              </a:extLst>
            </p:cNvPr>
            <p:cNvSpPr/>
            <p:nvPr/>
          </p:nvSpPr>
          <p:spPr>
            <a:xfrm>
              <a:off x="15975644" y="5388220"/>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9" name="Shape 10381">
              <a:extLst>
                <a:ext uri="{FF2B5EF4-FFF2-40B4-BE49-F238E27FC236}">
                  <a16:creationId xmlns:a16="http://schemas.microsoft.com/office/drawing/2014/main" xmlns="" id="{07D6C61B-8CEF-4140-807A-393D6FEEEAB7}"/>
                </a:ext>
              </a:extLst>
            </p:cNvPr>
            <p:cNvSpPr/>
            <p:nvPr/>
          </p:nvSpPr>
          <p:spPr>
            <a:xfrm>
              <a:off x="19403393" y="840763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0" name="Shape 10382">
              <a:extLst>
                <a:ext uri="{FF2B5EF4-FFF2-40B4-BE49-F238E27FC236}">
                  <a16:creationId xmlns:a16="http://schemas.microsoft.com/office/drawing/2014/main" xmlns="" id="{F61ED43E-9915-4176-B6D8-A69C5AA27B4F}"/>
                </a:ext>
              </a:extLst>
            </p:cNvPr>
            <p:cNvSpPr/>
            <p:nvPr/>
          </p:nvSpPr>
          <p:spPr>
            <a:xfrm>
              <a:off x="16734120" y="4497805"/>
              <a:ext cx="706825" cy="831589"/>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1" name="Shape 10383">
              <a:extLst>
                <a:ext uri="{FF2B5EF4-FFF2-40B4-BE49-F238E27FC236}">
                  <a16:creationId xmlns:a16="http://schemas.microsoft.com/office/drawing/2014/main" xmlns="" id="{32BDC082-B15B-4017-A1F9-90D54974ED71}"/>
                </a:ext>
              </a:extLst>
            </p:cNvPr>
            <p:cNvSpPr/>
            <p:nvPr/>
          </p:nvSpPr>
          <p:spPr>
            <a:xfrm>
              <a:off x="18326100" y="4525793"/>
              <a:ext cx="707796" cy="707799"/>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2" name="Shape 10384">
              <a:extLst>
                <a:ext uri="{FF2B5EF4-FFF2-40B4-BE49-F238E27FC236}">
                  <a16:creationId xmlns:a16="http://schemas.microsoft.com/office/drawing/2014/main" xmlns="" id="{C6FA4CDD-55A3-4670-8350-FA7CA2AA9156}"/>
                </a:ext>
              </a:extLst>
            </p:cNvPr>
            <p:cNvSpPr/>
            <p:nvPr/>
          </p:nvSpPr>
          <p:spPr>
            <a:xfrm>
              <a:off x="21178433" y="7084811"/>
              <a:ext cx="603784" cy="760235"/>
            </a:xfrm>
            <a:custGeom>
              <a:avLst/>
              <a:gdLst/>
              <a:ahLst/>
              <a:cxnLst>
                <a:cxn ang="0">
                  <a:pos x="wd2" y="hd2"/>
                </a:cxn>
                <a:cxn ang="5400000">
                  <a:pos x="wd2" y="hd2"/>
                </a:cxn>
                <a:cxn ang="10800000">
                  <a:pos x="wd2" y="hd2"/>
                </a:cxn>
                <a:cxn ang="16200000">
                  <a:pos x="wd2" y="hd2"/>
                </a:cxn>
              </a:cxnLst>
              <a:rect l="0" t="0" r="r" b="b"/>
              <a:pathLst>
                <a:path w="21600" h="21600" extrusionOk="0">
                  <a:moveTo>
                    <a:pt x="4615" y="0"/>
                  </a:moveTo>
                  <a:lnTo>
                    <a:pt x="0" y="18854"/>
                  </a:lnTo>
                  <a:lnTo>
                    <a:pt x="17786" y="21600"/>
                  </a:lnTo>
                  <a:lnTo>
                    <a:pt x="21600" y="6017"/>
                  </a:lnTo>
                  <a:lnTo>
                    <a:pt x="18300" y="2113"/>
                  </a:lnTo>
                  <a:lnTo>
                    <a:pt x="4615" y="0"/>
                  </a:lnTo>
                  <a:close/>
                  <a:moveTo>
                    <a:pt x="9206" y="5215"/>
                  </a:moveTo>
                  <a:lnTo>
                    <a:pt x="15684" y="6215"/>
                  </a:lnTo>
                  <a:lnTo>
                    <a:pt x="15556" y="6735"/>
                  </a:lnTo>
                  <a:lnTo>
                    <a:pt x="9079" y="5735"/>
                  </a:lnTo>
                  <a:lnTo>
                    <a:pt x="9206" y="5215"/>
                  </a:lnTo>
                  <a:close/>
                  <a:moveTo>
                    <a:pt x="4712" y="9845"/>
                  </a:moveTo>
                  <a:lnTo>
                    <a:pt x="17667" y="11845"/>
                  </a:lnTo>
                  <a:lnTo>
                    <a:pt x="17544" y="12350"/>
                  </a:lnTo>
                  <a:lnTo>
                    <a:pt x="4588" y="10350"/>
                  </a:lnTo>
                  <a:lnTo>
                    <a:pt x="4712" y="9845"/>
                  </a:lnTo>
                  <a:close/>
                  <a:moveTo>
                    <a:pt x="4086" y="12402"/>
                  </a:moveTo>
                  <a:lnTo>
                    <a:pt x="17041" y="14402"/>
                  </a:lnTo>
                  <a:lnTo>
                    <a:pt x="16914" y="14923"/>
                  </a:lnTo>
                  <a:lnTo>
                    <a:pt x="3958" y="12923"/>
                  </a:lnTo>
                  <a:lnTo>
                    <a:pt x="4086" y="12402"/>
                  </a:lnTo>
                  <a:close/>
                  <a:moveTo>
                    <a:pt x="3460" y="14960"/>
                  </a:moveTo>
                  <a:lnTo>
                    <a:pt x="9938" y="15960"/>
                  </a:lnTo>
                  <a:lnTo>
                    <a:pt x="9810" y="16480"/>
                  </a:lnTo>
                  <a:lnTo>
                    <a:pt x="3332" y="15480"/>
                  </a:lnTo>
                  <a:lnTo>
                    <a:pt x="3460" y="1496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3" name="Shape 10385">
              <a:extLst>
                <a:ext uri="{FF2B5EF4-FFF2-40B4-BE49-F238E27FC236}">
                  <a16:creationId xmlns:a16="http://schemas.microsoft.com/office/drawing/2014/main" xmlns="" id="{F6F61E24-6327-47AE-ABF4-11B726753A2C}"/>
                </a:ext>
              </a:extLst>
            </p:cNvPr>
            <p:cNvSpPr/>
            <p:nvPr/>
          </p:nvSpPr>
          <p:spPr>
            <a:xfrm>
              <a:off x="20665447" y="6815808"/>
              <a:ext cx="608340" cy="1291938"/>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4" name="Shape 10386">
              <a:extLst>
                <a:ext uri="{FF2B5EF4-FFF2-40B4-BE49-F238E27FC236}">
                  <a16:creationId xmlns:a16="http://schemas.microsoft.com/office/drawing/2014/main" xmlns="" id="{D2D6987C-9C43-4E29-9EE6-C27CE309A901}"/>
                </a:ext>
              </a:extLst>
            </p:cNvPr>
            <p:cNvSpPr/>
            <p:nvPr/>
          </p:nvSpPr>
          <p:spPr>
            <a:xfrm>
              <a:off x="19887189" y="8018518"/>
              <a:ext cx="374757" cy="41485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5" name="Shape 10387">
              <a:extLst>
                <a:ext uri="{FF2B5EF4-FFF2-40B4-BE49-F238E27FC236}">
                  <a16:creationId xmlns:a16="http://schemas.microsoft.com/office/drawing/2014/main" xmlns="" id="{8F936F5A-BD1A-4A78-B446-21216E7E9F32}"/>
                </a:ext>
              </a:extLst>
            </p:cNvPr>
            <p:cNvSpPr/>
            <p:nvPr/>
          </p:nvSpPr>
          <p:spPr>
            <a:xfrm>
              <a:off x="19258037" y="4159743"/>
              <a:ext cx="657991" cy="400024"/>
            </a:xfrm>
            <a:custGeom>
              <a:avLst/>
              <a:gdLst/>
              <a:ahLst/>
              <a:cxnLst>
                <a:cxn ang="0">
                  <a:pos x="wd2" y="hd2"/>
                </a:cxn>
                <a:cxn ang="5400000">
                  <a:pos x="wd2" y="hd2"/>
                </a:cxn>
                <a:cxn ang="10800000">
                  <a:pos x="wd2" y="hd2"/>
                </a:cxn>
                <a:cxn ang="16200000">
                  <a:pos x="wd2" y="hd2"/>
                </a:cxn>
              </a:cxnLst>
              <a:rect l="0" t="0" r="r" b="b"/>
              <a:pathLst>
                <a:path w="21600" h="21600" extrusionOk="0">
                  <a:moveTo>
                    <a:pt x="0" y="14177"/>
                  </a:moveTo>
                  <a:cubicBezTo>
                    <a:pt x="2527" y="15134"/>
                    <a:pt x="4222" y="12910"/>
                    <a:pt x="5702" y="10575"/>
                  </a:cubicBezTo>
                  <a:cubicBezTo>
                    <a:pt x="6408" y="13676"/>
                    <a:pt x="7362" y="16803"/>
                    <a:pt x="9837" y="17741"/>
                  </a:cubicBezTo>
                  <a:cubicBezTo>
                    <a:pt x="12287" y="18668"/>
                    <a:pt x="13976" y="16590"/>
                    <a:pt x="15426" y="14335"/>
                  </a:cubicBezTo>
                  <a:cubicBezTo>
                    <a:pt x="16134" y="17472"/>
                    <a:pt x="17076" y="20652"/>
                    <a:pt x="19580" y="21600"/>
                  </a:cubicBezTo>
                  <a:lnTo>
                    <a:pt x="19844" y="19777"/>
                  </a:lnTo>
                  <a:cubicBezTo>
                    <a:pt x="17724" y="18974"/>
                    <a:pt x="17025" y="16203"/>
                    <a:pt x="16319" y="12948"/>
                  </a:cubicBezTo>
                  <a:cubicBezTo>
                    <a:pt x="17841" y="10489"/>
                    <a:pt x="19206" y="8437"/>
                    <a:pt x="21352" y="9250"/>
                  </a:cubicBezTo>
                  <a:lnTo>
                    <a:pt x="21600" y="7421"/>
                  </a:lnTo>
                  <a:cubicBezTo>
                    <a:pt x="19073" y="6464"/>
                    <a:pt x="17365" y="8691"/>
                    <a:pt x="15886" y="11025"/>
                  </a:cubicBezTo>
                  <a:cubicBezTo>
                    <a:pt x="15180" y="7926"/>
                    <a:pt x="14217" y="4820"/>
                    <a:pt x="11744" y="3883"/>
                  </a:cubicBezTo>
                  <a:cubicBezTo>
                    <a:pt x="9288" y="2954"/>
                    <a:pt x="7622" y="5034"/>
                    <a:pt x="6170" y="7294"/>
                  </a:cubicBezTo>
                  <a:cubicBezTo>
                    <a:pt x="5461" y="4152"/>
                    <a:pt x="4515" y="950"/>
                    <a:pt x="2007" y="0"/>
                  </a:cubicBezTo>
                  <a:cubicBezTo>
                    <a:pt x="2007" y="0"/>
                    <a:pt x="1755" y="1827"/>
                    <a:pt x="1755" y="1827"/>
                  </a:cubicBezTo>
                  <a:cubicBezTo>
                    <a:pt x="3881" y="2632"/>
                    <a:pt x="4569" y="5413"/>
                    <a:pt x="5277" y="8681"/>
                  </a:cubicBezTo>
                  <a:cubicBezTo>
                    <a:pt x="3758" y="11134"/>
                    <a:pt x="2389" y="13165"/>
                    <a:pt x="247" y="12354"/>
                  </a:cubicBezTo>
                  <a:lnTo>
                    <a:pt x="0" y="14177"/>
                  </a:lnTo>
                  <a:close/>
                  <a:moveTo>
                    <a:pt x="608" y="11260"/>
                  </a:moveTo>
                  <a:cubicBezTo>
                    <a:pt x="982" y="11395"/>
                    <a:pt x="1324" y="11420"/>
                    <a:pt x="1648" y="11361"/>
                  </a:cubicBezTo>
                  <a:cubicBezTo>
                    <a:pt x="1648" y="11361"/>
                    <a:pt x="2736" y="3679"/>
                    <a:pt x="2736" y="3679"/>
                  </a:cubicBezTo>
                  <a:cubicBezTo>
                    <a:pt x="2461" y="3396"/>
                    <a:pt x="2144" y="3178"/>
                    <a:pt x="1771" y="3033"/>
                  </a:cubicBezTo>
                  <a:lnTo>
                    <a:pt x="608" y="11260"/>
                  </a:lnTo>
                  <a:close/>
                  <a:moveTo>
                    <a:pt x="2743" y="10793"/>
                  </a:moveTo>
                  <a:cubicBezTo>
                    <a:pt x="3150" y="10493"/>
                    <a:pt x="3533" y="10048"/>
                    <a:pt x="3917" y="9511"/>
                  </a:cubicBezTo>
                  <a:lnTo>
                    <a:pt x="4287" y="6924"/>
                  </a:lnTo>
                  <a:cubicBezTo>
                    <a:pt x="4087" y="6170"/>
                    <a:pt x="3864" y="5496"/>
                    <a:pt x="3579" y="4938"/>
                  </a:cubicBezTo>
                  <a:lnTo>
                    <a:pt x="2743" y="10793"/>
                  </a:lnTo>
                  <a:close/>
                  <a:moveTo>
                    <a:pt x="6595" y="9188"/>
                  </a:moveTo>
                  <a:cubicBezTo>
                    <a:pt x="8063" y="6828"/>
                    <a:pt x="9414" y="4924"/>
                    <a:pt x="11495" y="5712"/>
                  </a:cubicBezTo>
                  <a:cubicBezTo>
                    <a:pt x="13593" y="6506"/>
                    <a:pt x="14292" y="9219"/>
                    <a:pt x="14990" y="12431"/>
                  </a:cubicBezTo>
                  <a:cubicBezTo>
                    <a:pt x="13526" y="14784"/>
                    <a:pt x="12177" y="16704"/>
                    <a:pt x="10101" y="15917"/>
                  </a:cubicBezTo>
                  <a:cubicBezTo>
                    <a:pt x="8003" y="15123"/>
                    <a:pt x="7294" y="12399"/>
                    <a:pt x="6595" y="9188"/>
                  </a:cubicBezTo>
                  <a:close/>
                  <a:moveTo>
                    <a:pt x="7938" y="11422"/>
                  </a:moveTo>
                  <a:cubicBezTo>
                    <a:pt x="8176" y="12303"/>
                    <a:pt x="8447" y="13084"/>
                    <a:pt x="8788" y="13733"/>
                  </a:cubicBezTo>
                  <a:lnTo>
                    <a:pt x="9770" y="6683"/>
                  </a:lnTo>
                  <a:cubicBezTo>
                    <a:pt x="9292" y="7022"/>
                    <a:pt x="8844" y="7536"/>
                    <a:pt x="8395" y="8157"/>
                  </a:cubicBezTo>
                  <a:lnTo>
                    <a:pt x="7938" y="11422"/>
                  </a:lnTo>
                  <a:close/>
                  <a:moveTo>
                    <a:pt x="9753" y="14444"/>
                  </a:moveTo>
                  <a:cubicBezTo>
                    <a:pt x="9947" y="14585"/>
                    <a:pt x="10156" y="14700"/>
                    <a:pt x="10391" y="14785"/>
                  </a:cubicBezTo>
                  <a:cubicBezTo>
                    <a:pt x="10509" y="14829"/>
                    <a:pt x="10624" y="14858"/>
                    <a:pt x="10737" y="14880"/>
                  </a:cubicBezTo>
                  <a:lnTo>
                    <a:pt x="11912" y="6809"/>
                  </a:lnTo>
                  <a:cubicBezTo>
                    <a:pt x="11804" y="6751"/>
                    <a:pt x="11691" y="6700"/>
                    <a:pt x="11572" y="6657"/>
                  </a:cubicBezTo>
                  <a:cubicBezTo>
                    <a:pt x="11338" y="6572"/>
                    <a:pt x="11118" y="6530"/>
                    <a:pt x="10904" y="6522"/>
                  </a:cubicBezTo>
                  <a:lnTo>
                    <a:pt x="9753" y="14444"/>
                  </a:lnTo>
                  <a:close/>
                  <a:moveTo>
                    <a:pt x="11819" y="15088"/>
                  </a:moveTo>
                  <a:cubicBezTo>
                    <a:pt x="12255" y="14876"/>
                    <a:pt x="12659" y="14511"/>
                    <a:pt x="13056" y="14038"/>
                  </a:cubicBezTo>
                  <a:lnTo>
                    <a:pt x="13679" y="9709"/>
                  </a:lnTo>
                  <a:cubicBezTo>
                    <a:pt x="13451" y="9006"/>
                    <a:pt x="13187" y="8394"/>
                    <a:pt x="12852" y="7898"/>
                  </a:cubicBezTo>
                  <a:lnTo>
                    <a:pt x="11819" y="15088"/>
                  </a:lnTo>
                  <a:close/>
                  <a:moveTo>
                    <a:pt x="17315" y="14655"/>
                  </a:moveTo>
                  <a:cubicBezTo>
                    <a:pt x="17522" y="15364"/>
                    <a:pt x="17751" y="15987"/>
                    <a:pt x="18038" y="16501"/>
                  </a:cubicBezTo>
                  <a:lnTo>
                    <a:pt x="18774" y="10835"/>
                  </a:lnTo>
                  <a:cubicBezTo>
                    <a:pt x="18379" y="11153"/>
                    <a:pt x="18008" y="11606"/>
                    <a:pt x="17639" y="12150"/>
                  </a:cubicBezTo>
                  <a:lnTo>
                    <a:pt x="17315" y="14655"/>
                  </a:lnTo>
                  <a:close/>
                  <a:moveTo>
                    <a:pt x="19142" y="17799"/>
                  </a:moveTo>
                  <a:cubicBezTo>
                    <a:pt x="19411" y="18060"/>
                    <a:pt x="19719" y="18258"/>
                    <a:pt x="20080" y="18383"/>
                  </a:cubicBezTo>
                  <a:lnTo>
                    <a:pt x="21155" y="10467"/>
                  </a:lnTo>
                  <a:cubicBezTo>
                    <a:pt x="20792" y="10352"/>
                    <a:pt x="20458" y="10341"/>
                    <a:pt x="20145" y="10409"/>
                  </a:cubicBezTo>
                  <a:cubicBezTo>
                    <a:pt x="20145" y="10409"/>
                    <a:pt x="19142" y="17799"/>
                    <a:pt x="19142" y="1779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6" name="Shape 10388">
              <a:extLst>
                <a:ext uri="{FF2B5EF4-FFF2-40B4-BE49-F238E27FC236}">
                  <a16:creationId xmlns:a16="http://schemas.microsoft.com/office/drawing/2014/main" xmlns="" id="{620503B5-D0F9-4350-B53A-B12691BB1A01}"/>
                </a:ext>
              </a:extLst>
            </p:cNvPr>
            <p:cNvSpPr/>
            <p:nvPr/>
          </p:nvSpPr>
          <p:spPr>
            <a:xfrm>
              <a:off x="18647193" y="4108798"/>
              <a:ext cx="356298" cy="370280"/>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7" name="Shape 10389">
              <a:extLst>
                <a:ext uri="{FF2B5EF4-FFF2-40B4-BE49-F238E27FC236}">
                  <a16:creationId xmlns:a16="http://schemas.microsoft.com/office/drawing/2014/main" xmlns="" id="{5BC1E367-7E9F-491D-B900-11B6370C827E}"/>
                </a:ext>
              </a:extLst>
            </p:cNvPr>
            <p:cNvSpPr/>
            <p:nvPr/>
          </p:nvSpPr>
          <p:spPr>
            <a:xfrm>
              <a:off x="17493478" y="4180645"/>
              <a:ext cx="832624" cy="547837"/>
            </a:xfrm>
            <a:custGeom>
              <a:avLst/>
              <a:gdLst/>
              <a:ahLst/>
              <a:cxnLst>
                <a:cxn ang="0">
                  <a:pos x="wd2" y="hd2"/>
                </a:cxn>
                <a:cxn ang="5400000">
                  <a:pos x="wd2" y="hd2"/>
                </a:cxn>
                <a:cxn ang="10800000">
                  <a:pos x="wd2" y="hd2"/>
                </a:cxn>
                <a:cxn ang="16200000">
                  <a:pos x="wd2" y="hd2"/>
                </a:cxn>
              </a:cxnLst>
              <a:rect l="0" t="0" r="r" b="b"/>
              <a:pathLst>
                <a:path w="21340" h="21208" extrusionOk="0">
                  <a:moveTo>
                    <a:pt x="3532" y="6467"/>
                  </a:moveTo>
                  <a:lnTo>
                    <a:pt x="5654" y="19318"/>
                  </a:lnTo>
                  <a:lnTo>
                    <a:pt x="17808" y="14741"/>
                  </a:lnTo>
                  <a:lnTo>
                    <a:pt x="15687" y="1890"/>
                  </a:lnTo>
                  <a:cubicBezTo>
                    <a:pt x="15687" y="1890"/>
                    <a:pt x="3532" y="6467"/>
                    <a:pt x="3532" y="6467"/>
                  </a:cubicBezTo>
                  <a:close/>
                  <a:moveTo>
                    <a:pt x="2391" y="11284"/>
                  </a:moveTo>
                  <a:lnTo>
                    <a:pt x="3148" y="15874"/>
                  </a:lnTo>
                  <a:cubicBezTo>
                    <a:pt x="3190" y="16128"/>
                    <a:pt x="3360" y="16282"/>
                    <a:pt x="3528" y="16218"/>
                  </a:cubicBezTo>
                  <a:cubicBezTo>
                    <a:pt x="3696" y="16155"/>
                    <a:pt x="3798" y="15899"/>
                    <a:pt x="3756" y="15645"/>
                  </a:cubicBezTo>
                  <a:lnTo>
                    <a:pt x="2999" y="11056"/>
                  </a:lnTo>
                  <a:cubicBezTo>
                    <a:pt x="2957" y="10802"/>
                    <a:pt x="2787" y="10648"/>
                    <a:pt x="2619" y="10711"/>
                  </a:cubicBezTo>
                  <a:cubicBezTo>
                    <a:pt x="2451" y="10774"/>
                    <a:pt x="2349" y="11031"/>
                    <a:pt x="2391" y="11284"/>
                  </a:cubicBezTo>
                  <a:close/>
                  <a:moveTo>
                    <a:pt x="19102" y="6941"/>
                  </a:moveTo>
                  <a:cubicBezTo>
                    <a:pt x="18977" y="6181"/>
                    <a:pt x="18467" y="5718"/>
                    <a:pt x="17963" y="5908"/>
                  </a:cubicBezTo>
                  <a:cubicBezTo>
                    <a:pt x="17460" y="6097"/>
                    <a:pt x="17154" y="6868"/>
                    <a:pt x="17279" y="7628"/>
                  </a:cubicBezTo>
                  <a:cubicBezTo>
                    <a:pt x="17405" y="8388"/>
                    <a:pt x="17914" y="8851"/>
                    <a:pt x="18418" y="8661"/>
                  </a:cubicBezTo>
                  <a:cubicBezTo>
                    <a:pt x="18922" y="8472"/>
                    <a:pt x="19228" y="7701"/>
                    <a:pt x="19102" y="6941"/>
                  </a:cubicBezTo>
                  <a:close/>
                  <a:moveTo>
                    <a:pt x="19484" y="1435"/>
                  </a:moveTo>
                  <a:lnTo>
                    <a:pt x="21303" y="12450"/>
                  </a:lnTo>
                  <a:cubicBezTo>
                    <a:pt x="21470" y="13464"/>
                    <a:pt x="21062" y="14490"/>
                    <a:pt x="20390" y="14743"/>
                  </a:cubicBezTo>
                  <a:lnTo>
                    <a:pt x="3374" y="21151"/>
                  </a:lnTo>
                  <a:cubicBezTo>
                    <a:pt x="2703" y="21404"/>
                    <a:pt x="2023" y="20787"/>
                    <a:pt x="1856" y="19773"/>
                  </a:cubicBezTo>
                  <a:lnTo>
                    <a:pt x="37" y="8758"/>
                  </a:lnTo>
                  <a:cubicBezTo>
                    <a:pt x="-130" y="7745"/>
                    <a:pt x="279" y="6718"/>
                    <a:pt x="950" y="6465"/>
                  </a:cubicBezTo>
                  <a:lnTo>
                    <a:pt x="17966" y="57"/>
                  </a:lnTo>
                  <a:cubicBezTo>
                    <a:pt x="18637" y="-196"/>
                    <a:pt x="19317" y="421"/>
                    <a:pt x="19484" y="1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8" name="Shape 10390">
              <a:extLst>
                <a:ext uri="{FF2B5EF4-FFF2-40B4-BE49-F238E27FC236}">
                  <a16:creationId xmlns:a16="http://schemas.microsoft.com/office/drawing/2014/main" xmlns="" id="{9662B447-DF8E-48C7-B555-31DF76C7FB22}"/>
                </a:ext>
              </a:extLst>
            </p:cNvPr>
            <p:cNvSpPr/>
            <p:nvPr/>
          </p:nvSpPr>
          <p:spPr>
            <a:xfrm>
              <a:off x="18126029" y="6224089"/>
              <a:ext cx="1086985" cy="582352"/>
            </a:xfrm>
            <a:custGeom>
              <a:avLst/>
              <a:gdLst/>
              <a:ahLst/>
              <a:cxnLst>
                <a:cxn ang="0">
                  <a:pos x="wd2" y="hd2"/>
                </a:cxn>
                <a:cxn ang="5400000">
                  <a:pos x="wd2" y="hd2"/>
                </a:cxn>
                <a:cxn ang="10800000">
                  <a:pos x="wd2" y="hd2"/>
                </a:cxn>
                <a:cxn ang="16200000">
                  <a:pos x="wd2" y="hd2"/>
                </a:cxn>
              </a:cxnLst>
              <a:rect l="0" t="0" r="r" b="b"/>
              <a:pathLst>
                <a:path w="21600" h="21586" extrusionOk="0">
                  <a:moveTo>
                    <a:pt x="16536" y="15317"/>
                  </a:moveTo>
                  <a:lnTo>
                    <a:pt x="16511" y="12603"/>
                  </a:lnTo>
                  <a:lnTo>
                    <a:pt x="16510" y="12603"/>
                  </a:lnTo>
                  <a:cubicBezTo>
                    <a:pt x="16510" y="12601"/>
                    <a:pt x="16511" y="12598"/>
                    <a:pt x="16511" y="12596"/>
                  </a:cubicBezTo>
                  <a:cubicBezTo>
                    <a:pt x="16497" y="11097"/>
                    <a:pt x="13851" y="9967"/>
                    <a:pt x="10600" y="10073"/>
                  </a:cubicBezTo>
                  <a:cubicBezTo>
                    <a:pt x="7350" y="10179"/>
                    <a:pt x="4727" y="11481"/>
                    <a:pt x="4741" y="12979"/>
                  </a:cubicBezTo>
                  <a:cubicBezTo>
                    <a:pt x="4741" y="12982"/>
                    <a:pt x="4741" y="12984"/>
                    <a:pt x="4741" y="12986"/>
                  </a:cubicBezTo>
                  <a:lnTo>
                    <a:pt x="4741" y="12986"/>
                  </a:lnTo>
                  <a:lnTo>
                    <a:pt x="4744" y="13374"/>
                  </a:lnTo>
                  <a:lnTo>
                    <a:pt x="0" y="9650"/>
                  </a:lnTo>
                  <a:lnTo>
                    <a:pt x="10506" y="0"/>
                  </a:lnTo>
                  <a:lnTo>
                    <a:pt x="21600" y="11274"/>
                  </a:lnTo>
                  <a:cubicBezTo>
                    <a:pt x="21600" y="11274"/>
                    <a:pt x="16536" y="15317"/>
                    <a:pt x="16536" y="15317"/>
                  </a:cubicBezTo>
                  <a:close/>
                  <a:moveTo>
                    <a:pt x="3433" y="20010"/>
                  </a:moveTo>
                  <a:cubicBezTo>
                    <a:pt x="3441" y="20866"/>
                    <a:pt x="3096" y="21572"/>
                    <a:pt x="2663" y="21586"/>
                  </a:cubicBezTo>
                  <a:cubicBezTo>
                    <a:pt x="2229" y="21600"/>
                    <a:pt x="1871" y="20917"/>
                    <a:pt x="1863" y="20061"/>
                  </a:cubicBezTo>
                  <a:cubicBezTo>
                    <a:pt x="1858" y="19488"/>
                    <a:pt x="2012" y="18988"/>
                    <a:pt x="2243" y="18712"/>
                  </a:cubicBezTo>
                  <a:lnTo>
                    <a:pt x="2180" y="11901"/>
                  </a:lnTo>
                  <a:lnTo>
                    <a:pt x="2970" y="12521"/>
                  </a:lnTo>
                  <a:lnTo>
                    <a:pt x="3028" y="18686"/>
                  </a:lnTo>
                  <a:cubicBezTo>
                    <a:pt x="3264" y="18947"/>
                    <a:pt x="3427" y="19437"/>
                    <a:pt x="3433" y="20010"/>
                  </a:cubicBezTo>
                  <a:close/>
                  <a:moveTo>
                    <a:pt x="15799" y="20383"/>
                  </a:moveTo>
                  <a:lnTo>
                    <a:pt x="15729" y="12978"/>
                  </a:lnTo>
                  <a:cubicBezTo>
                    <a:pt x="15274" y="12403"/>
                    <a:pt x="13503" y="11530"/>
                    <a:pt x="10615" y="11624"/>
                  </a:cubicBezTo>
                  <a:cubicBezTo>
                    <a:pt x="7726" y="11718"/>
                    <a:pt x="5972" y="12706"/>
                    <a:pt x="5529" y="13310"/>
                  </a:cubicBezTo>
                  <a:lnTo>
                    <a:pt x="5598" y="20715"/>
                  </a:lnTo>
                  <a:cubicBezTo>
                    <a:pt x="5598" y="20715"/>
                    <a:pt x="15799" y="20383"/>
                    <a:pt x="15799" y="2038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9" name="Shape 10391">
              <a:extLst>
                <a:ext uri="{FF2B5EF4-FFF2-40B4-BE49-F238E27FC236}">
                  <a16:creationId xmlns:a16="http://schemas.microsoft.com/office/drawing/2014/main" xmlns="" id="{27C41E68-242D-49C1-B46A-BD180782EBA3}"/>
                </a:ext>
              </a:extLst>
            </p:cNvPr>
            <p:cNvSpPr/>
            <p:nvPr/>
          </p:nvSpPr>
          <p:spPr>
            <a:xfrm>
              <a:off x="15698642" y="7668426"/>
              <a:ext cx="845763" cy="398247"/>
            </a:xfrm>
            <a:custGeom>
              <a:avLst/>
              <a:gdLst/>
              <a:ahLst/>
              <a:cxnLst>
                <a:cxn ang="0">
                  <a:pos x="wd2" y="hd2"/>
                </a:cxn>
                <a:cxn ang="5400000">
                  <a:pos x="wd2" y="hd2"/>
                </a:cxn>
                <a:cxn ang="10800000">
                  <a:pos x="wd2" y="hd2"/>
                </a:cxn>
                <a:cxn ang="16200000">
                  <a:pos x="wd2" y="hd2"/>
                </a:cxn>
              </a:cxnLst>
              <a:rect l="0" t="0" r="r" b="b"/>
              <a:pathLst>
                <a:path w="21600" h="21600" extrusionOk="0">
                  <a:moveTo>
                    <a:pt x="20754" y="0"/>
                  </a:moveTo>
                  <a:lnTo>
                    <a:pt x="19029" y="1406"/>
                  </a:lnTo>
                  <a:cubicBezTo>
                    <a:pt x="19054" y="1548"/>
                    <a:pt x="19310" y="2958"/>
                    <a:pt x="19310" y="2958"/>
                  </a:cubicBezTo>
                  <a:lnTo>
                    <a:pt x="19147" y="3091"/>
                  </a:lnTo>
                  <a:lnTo>
                    <a:pt x="18865" y="1540"/>
                  </a:lnTo>
                  <a:lnTo>
                    <a:pt x="18111" y="2155"/>
                  </a:lnTo>
                  <a:cubicBezTo>
                    <a:pt x="18136" y="2291"/>
                    <a:pt x="18318" y="3295"/>
                    <a:pt x="18318" y="3295"/>
                  </a:cubicBezTo>
                  <a:lnTo>
                    <a:pt x="18155" y="3428"/>
                  </a:lnTo>
                  <a:lnTo>
                    <a:pt x="17947" y="2288"/>
                  </a:lnTo>
                  <a:lnTo>
                    <a:pt x="17193" y="2903"/>
                  </a:lnTo>
                  <a:cubicBezTo>
                    <a:pt x="17219" y="3044"/>
                    <a:pt x="17474" y="4455"/>
                    <a:pt x="17474" y="4455"/>
                  </a:cubicBezTo>
                  <a:lnTo>
                    <a:pt x="17311" y="4587"/>
                  </a:lnTo>
                  <a:lnTo>
                    <a:pt x="17030" y="3036"/>
                  </a:lnTo>
                  <a:lnTo>
                    <a:pt x="16275" y="3652"/>
                  </a:lnTo>
                  <a:cubicBezTo>
                    <a:pt x="16299" y="3788"/>
                    <a:pt x="16482" y="4792"/>
                    <a:pt x="16482" y="4792"/>
                  </a:cubicBezTo>
                  <a:lnTo>
                    <a:pt x="16318" y="4925"/>
                  </a:lnTo>
                  <a:lnTo>
                    <a:pt x="16111" y="3785"/>
                  </a:lnTo>
                  <a:lnTo>
                    <a:pt x="15357" y="4400"/>
                  </a:lnTo>
                  <a:cubicBezTo>
                    <a:pt x="15383" y="4541"/>
                    <a:pt x="15639" y="5951"/>
                    <a:pt x="15639" y="5951"/>
                  </a:cubicBezTo>
                  <a:lnTo>
                    <a:pt x="15475" y="6085"/>
                  </a:lnTo>
                  <a:lnTo>
                    <a:pt x="15193" y="4533"/>
                  </a:lnTo>
                  <a:lnTo>
                    <a:pt x="14439" y="5148"/>
                  </a:lnTo>
                  <a:cubicBezTo>
                    <a:pt x="14464" y="5284"/>
                    <a:pt x="14647" y="6288"/>
                    <a:pt x="14647" y="6288"/>
                  </a:cubicBezTo>
                  <a:lnTo>
                    <a:pt x="14483" y="6421"/>
                  </a:lnTo>
                  <a:lnTo>
                    <a:pt x="14275" y="5281"/>
                  </a:lnTo>
                  <a:lnTo>
                    <a:pt x="13522" y="5896"/>
                  </a:lnTo>
                  <a:cubicBezTo>
                    <a:pt x="13547" y="6037"/>
                    <a:pt x="13802" y="7448"/>
                    <a:pt x="13802" y="7448"/>
                  </a:cubicBezTo>
                  <a:lnTo>
                    <a:pt x="13638" y="7582"/>
                  </a:lnTo>
                  <a:lnTo>
                    <a:pt x="13358" y="6029"/>
                  </a:lnTo>
                  <a:lnTo>
                    <a:pt x="12603" y="6645"/>
                  </a:lnTo>
                  <a:cubicBezTo>
                    <a:pt x="12628" y="6781"/>
                    <a:pt x="12810" y="7785"/>
                    <a:pt x="12810" y="7785"/>
                  </a:cubicBezTo>
                  <a:lnTo>
                    <a:pt x="12646" y="7919"/>
                  </a:lnTo>
                  <a:lnTo>
                    <a:pt x="12439" y="6778"/>
                  </a:lnTo>
                  <a:lnTo>
                    <a:pt x="11685" y="7393"/>
                  </a:lnTo>
                  <a:cubicBezTo>
                    <a:pt x="11711" y="7534"/>
                    <a:pt x="11967" y="8944"/>
                    <a:pt x="11967" y="8944"/>
                  </a:cubicBezTo>
                  <a:lnTo>
                    <a:pt x="11803" y="9078"/>
                  </a:lnTo>
                  <a:lnTo>
                    <a:pt x="11521" y="7527"/>
                  </a:lnTo>
                  <a:lnTo>
                    <a:pt x="10768" y="8141"/>
                  </a:lnTo>
                  <a:cubicBezTo>
                    <a:pt x="10792" y="8277"/>
                    <a:pt x="10974" y="9282"/>
                    <a:pt x="10974" y="9282"/>
                  </a:cubicBezTo>
                  <a:lnTo>
                    <a:pt x="10811" y="9415"/>
                  </a:lnTo>
                  <a:lnTo>
                    <a:pt x="10604" y="8275"/>
                  </a:lnTo>
                  <a:lnTo>
                    <a:pt x="9849" y="8890"/>
                  </a:lnTo>
                  <a:cubicBezTo>
                    <a:pt x="9874" y="9031"/>
                    <a:pt x="10131" y="10441"/>
                    <a:pt x="10131" y="10441"/>
                  </a:cubicBezTo>
                  <a:lnTo>
                    <a:pt x="9967" y="10575"/>
                  </a:lnTo>
                  <a:lnTo>
                    <a:pt x="9686" y="9023"/>
                  </a:lnTo>
                  <a:lnTo>
                    <a:pt x="8931" y="9638"/>
                  </a:lnTo>
                  <a:cubicBezTo>
                    <a:pt x="8956" y="9774"/>
                    <a:pt x="9139" y="10778"/>
                    <a:pt x="9139" y="10778"/>
                  </a:cubicBezTo>
                  <a:lnTo>
                    <a:pt x="8975" y="10912"/>
                  </a:lnTo>
                  <a:lnTo>
                    <a:pt x="8767" y="9772"/>
                  </a:lnTo>
                  <a:lnTo>
                    <a:pt x="8014" y="10386"/>
                  </a:lnTo>
                  <a:cubicBezTo>
                    <a:pt x="8039" y="10527"/>
                    <a:pt x="8295" y="11937"/>
                    <a:pt x="8295" y="11937"/>
                  </a:cubicBezTo>
                  <a:lnTo>
                    <a:pt x="8131" y="12071"/>
                  </a:lnTo>
                  <a:lnTo>
                    <a:pt x="7850" y="10520"/>
                  </a:lnTo>
                  <a:lnTo>
                    <a:pt x="7095" y="11135"/>
                  </a:lnTo>
                  <a:cubicBezTo>
                    <a:pt x="7120" y="11271"/>
                    <a:pt x="7302" y="12275"/>
                    <a:pt x="7302" y="12275"/>
                  </a:cubicBezTo>
                  <a:lnTo>
                    <a:pt x="7138" y="12409"/>
                  </a:lnTo>
                  <a:lnTo>
                    <a:pt x="6932" y="11268"/>
                  </a:lnTo>
                  <a:lnTo>
                    <a:pt x="6177" y="11883"/>
                  </a:lnTo>
                  <a:cubicBezTo>
                    <a:pt x="6203" y="12024"/>
                    <a:pt x="6459" y="13435"/>
                    <a:pt x="6459" y="13435"/>
                  </a:cubicBezTo>
                  <a:lnTo>
                    <a:pt x="6295" y="13568"/>
                  </a:lnTo>
                  <a:lnTo>
                    <a:pt x="6013" y="12017"/>
                  </a:lnTo>
                  <a:lnTo>
                    <a:pt x="5260" y="12631"/>
                  </a:lnTo>
                  <a:cubicBezTo>
                    <a:pt x="5284" y="12768"/>
                    <a:pt x="5467" y="13771"/>
                    <a:pt x="5467" y="13771"/>
                  </a:cubicBezTo>
                  <a:lnTo>
                    <a:pt x="5303" y="13905"/>
                  </a:lnTo>
                  <a:lnTo>
                    <a:pt x="5096" y="12765"/>
                  </a:lnTo>
                  <a:lnTo>
                    <a:pt x="4342" y="13379"/>
                  </a:lnTo>
                  <a:cubicBezTo>
                    <a:pt x="4367" y="13521"/>
                    <a:pt x="4624" y="14931"/>
                    <a:pt x="4624" y="14931"/>
                  </a:cubicBezTo>
                  <a:lnTo>
                    <a:pt x="4460" y="15064"/>
                  </a:lnTo>
                  <a:lnTo>
                    <a:pt x="4178" y="13513"/>
                  </a:lnTo>
                  <a:lnTo>
                    <a:pt x="3423" y="14128"/>
                  </a:lnTo>
                  <a:cubicBezTo>
                    <a:pt x="3448" y="14265"/>
                    <a:pt x="3630" y="15269"/>
                    <a:pt x="3630" y="15269"/>
                  </a:cubicBezTo>
                  <a:lnTo>
                    <a:pt x="3467" y="15402"/>
                  </a:lnTo>
                  <a:lnTo>
                    <a:pt x="3260" y="14261"/>
                  </a:lnTo>
                  <a:lnTo>
                    <a:pt x="2505" y="14876"/>
                  </a:lnTo>
                  <a:cubicBezTo>
                    <a:pt x="2531" y="15018"/>
                    <a:pt x="2787" y="16428"/>
                    <a:pt x="2787" y="16428"/>
                  </a:cubicBezTo>
                  <a:lnTo>
                    <a:pt x="2623" y="16561"/>
                  </a:lnTo>
                  <a:lnTo>
                    <a:pt x="2342" y="15010"/>
                  </a:lnTo>
                  <a:lnTo>
                    <a:pt x="1588" y="15625"/>
                  </a:lnTo>
                  <a:cubicBezTo>
                    <a:pt x="1613" y="15761"/>
                    <a:pt x="1795" y="16765"/>
                    <a:pt x="1795" y="16765"/>
                  </a:cubicBezTo>
                  <a:lnTo>
                    <a:pt x="1631" y="16898"/>
                  </a:lnTo>
                  <a:lnTo>
                    <a:pt x="1424" y="15758"/>
                  </a:lnTo>
                  <a:lnTo>
                    <a:pt x="670" y="16373"/>
                  </a:lnTo>
                  <a:cubicBezTo>
                    <a:pt x="696" y="16514"/>
                    <a:pt x="951" y="17925"/>
                    <a:pt x="951" y="17925"/>
                  </a:cubicBezTo>
                  <a:lnTo>
                    <a:pt x="788" y="18057"/>
                  </a:lnTo>
                  <a:lnTo>
                    <a:pt x="506" y="16506"/>
                  </a:lnTo>
                  <a:lnTo>
                    <a:pt x="0" y="16919"/>
                  </a:lnTo>
                  <a:lnTo>
                    <a:pt x="846" y="21600"/>
                  </a:lnTo>
                  <a:lnTo>
                    <a:pt x="21600" y="4681"/>
                  </a:lnTo>
                  <a:lnTo>
                    <a:pt x="20754" y="0"/>
                  </a:lnTo>
                  <a:close/>
                  <a:moveTo>
                    <a:pt x="20622" y="2793"/>
                  </a:moveTo>
                  <a:cubicBezTo>
                    <a:pt x="20707" y="3260"/>
                    <a:pt x="20598" y="3784"/>
                    <a:pt x="20378" y="3963"/>
                  </a:cubicBezTo>
                  <a:cubicBezTo>
                    <a:pt x="20158" y="4143"/>
                    <a:pt x="19911" y="3909"/>
                    <a:pt x="19826" y="3442"/>
                  </a:cubicBezTo>
                  <a:cubicBezTo>
                    <a:pt x="19742" y="2974"/>
                    <a:pt x="19852" y="2449"/>
                    <a:pt x="20072" y="2270"/>
                  </a:cubicBezTo>
                  <a:cubicBezTo>
                    <a:pt x="20292" y="2091"/>
                    <a:pt x="20538" y="2325"/>
                    <a:pt x="20622" y="27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0" name="Shape 10392">
              <a:extLst>
                <a:ext uri="{FF2B5EF4-FFF2-40B4-BE49-F238E27FC236}">
                  <a16:creationId xmlns:a16="http://schemas.microsoft.com/office/drawing/2014/main" xmlns="" id="{2A548F8E-D1CB-4BD5-8ABA-DBCF25149310}"/>
                </a:ext>
              </a:extLst>
            </p:cNvPr>
            <p:cNvSpPr/>
            <p:nvPr/>
          </p:nvSpPr>
          <p:spPr>
            <a:xfrm>
              <a:off x="19920630" y="5193310"/>
              <a:ext cx="339475" cy="405029"/>
            </a:xfrm>
            <a:custGeom>
              <a:avLst/>
              <a:gdLst/>
              <a:ahLst/>
              <a:cxnLst>
                <a:cxn ang="0">
                  <a:pos x="wd2" y="hd2"/>
                </a:cxn>
                <a:cxn ang="5400000">
                  <a:pos x="wd2" y="hd2"/>
                </a:cxn>
                <a:cxn ang="10800000">
                  <a:pos x="wd2" y="hd2"/>
                </a:cxn>
                <a:cxn ang="16200000">
                  <a:pos x="wd2" y="hd2"/>
                </a:cxn>
              </a:cxnLst>
              <a:rect l="0" t="0" r="r" b="b"/>
              <a:pathLst>
                <a:path w="21600" h="21600" extrusionOk="0">
                  <a:moveTo>
                    <a:pt x="0" y="896"/>
                  </a:moveTo>
                  <a:lnTo>
                    <a:pt x="1727" y="21600"/>
                  </a:lnTo>
                  <a:lnTo>
                    <a:pt x="21600" y="20435"/>
                  </a:lnTo>
                  <a:lnTo>
                    <a:pt x="20172" y="3324"/>
                  </a:lnTo>
                  <a:lnTo>
                    <a:pt x="15291" y="0"/>
                  </a:lnTo>
                  <a:lnTo>
                    <a:pt x="0" y="896"/>
                  </a:lnTo>
                  <a:close/>
                  <a:moveTo>
                    <a:pt x="6715" y="5294"/>
                  </a:moveTo>
                  <a:lnTo>
                    <a:pt x="13953" y="4870"/>
                  </a:lnTo>
                  <a:lnTo>
                    <a:pt x="14001" y="5441"/>
                  </a:lnTo>
                  <a:lnTo>
                    <a:pt x="6763" y="5865"/>
                  </a:lnTo>
                  <a:lnTo>
                    <a:pt x="6715" y="5294"/>
                  </a:lnTo>
                  <a:close/>
                  <a:moveTo>
                    <a:pt x="3566" y="11139"/>
                  </a:moveTo>
                  <a:lnTo>
                    <a:pt x="18042" y="10291"/>
                  </a:lnTo>
                  <a:lnTo>
                    <a:pt x="18088" y="10846"/>
                  </a:lnTo>
                  <a:lnTo>
                    <a:pt x="3613" y="11694"/>
                  </a:lnTo>
                  <a:lnTo>
                    <a:pt x="3566" y="11139"/>
                  </a:lnTo>
                  <a:close/>
                  <a:moveTo>
                    <a:pt x="3801" y="13947"/>
                  </a:moveTo>
                  <a:lnTo>
                    <a:pt x="18276" y="13099"/>
                  </a:lnTo>
                  <a:lnTo>
                    <a:pt x="18324" y="13670"/>
                  </a:lnTo>
                  <a:lnTo>
                    <a:pt x="3848" y="14519"/>
                  </a:lnTo>
                  <a:lnTo>
                    <a:pt x="3801" y="13947"/>
                  </a:lnTo>
                  <a:close/>
                  <a:moveTo>
                    <a:pt x="4035" y="16756"/>
                  </a:moveTo>
                  <a:lnTo>
                    <a:pt x="11273" y="16332"/>
                  </a:lnTo>
                  <a:lnTo>
                    <a:pt x="11320" y="16903"/>
                  </a:lnTo>
                  <a:lnTo>
                    <a:pt x="4083" y="17327"/>
                  </a:lnTo>
                  <a:lnTo>
                    <a:pt x="4035" y="16756"/>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1" name="Shape 10393">
              <a:extLst>
                <a:ext uri="{FF2B5EF4-FFF2-40B4-BE49-F238E27FC236}">
                  <a16:creationId xmlns:a16="http://schemas.microsoft.com/office/drawing/2014/main" xmlns="" id="{83269BEC-D50E-4EE7-B155-E29357714B24}"/>
                </a:ext>
              </a:extLst>
            </p:cNvPr>
            <p:cNvSpPr/>
            <p:nvPr/>
          </p:nvSpPr>
          <p:spPr>
            <a:xfrm>
              <a:off x="18570303" y="9049764"/>
              <a:ext cx="924785" cy="885968"/>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2" name="Shape 10394">
              <a:extLst>
                <a:ext uri="{FF2B5EF4-FFF2-40B4-BE49-F238E27FC236}">
                  <a16:creationId xmlns:a16="http://schemas.microsoft.com/office/drawing/2014/main" xmlns="" id="{EEF44793-F672-4828-85F4-2EC785C66A1A}"/>
                </a:ext>
              </a:extLst>
            </p:cNvPr>
            <p:cNvSpPr/>
            <p:nvPr/>
          </p:nvSpPr>
          <p:spPr>
            <a:xfrm>
              <a:off x="15885964" y="8065581"/>
              <a:ext cx="555246" cy="544272"/>
            </a:xfrm>
            <a:custGeom>
              <a:avLst/>
              <a:gdLst/>
              <a:ahLst/>
              <a:cxnLst>
                <a:cxn ang="0">
                  <a:pos x="wd2" y="hd2"/>
                </a:cxn>
                <a:cxn ang="5400000">
                  <a:pos x="wd2" y="hd2"/>
                </a:cxn>
                <a:cxn ang="10800000">
                  <a:pos x="wd2" y="hd2"/>
                </a:cxn>
                <a:cxn ang="16200000">
                  <a:pos x="wd2" y="hd2"/>
                </a:cxn>
              </a:cxnLst>
              <a:rect l="0" t="0" r="r" b="b"/>
              <a:pathLst>
                <a:path w="20991" h="21600" extrusionOk="0">
                  <a:moveTo>
                    <a:pt x="0" y="6005"/>
                  </a:moveTo>
                  <a:lnTo>
                    <a:pt x="2577" y="11807"/>
                  </a:lnTo>
                  <a:cubicBezTo>
                    <a:pt x="2577" y="11807"/>
                    <a:pt x="3706" y="12286"/>
                    <a:pt x="4255" y="11343"/>
                  </a:cubicBezTo>
                  <a:cubicBezTo>
                    <a:pt x="4860" y="10297"/>
                    <a:pt x="7052" y="9212"/>
                    <a:pt x="8001" y="11472"/>
                  </a:cubicBezTo>
                  <a:cubicBezTo>
                    <a:pt x="8949" y="13731"/>
                    <a:pt x="7204" y="14700"/>
                    <a:pt x="5987" y="14655"/>
                  </a:cubicBezTo>
                  <a:cubicBezTo>
                    <a:pt x="4886" y="14615"/>
                    <a:pt x="4270" y="15618"/>
                    <a:pt x="4270" y="15618"/>
                  </a:cubicBezTo>
                  <a:lnTo>
                    <a:pt x="6927" y="21600"/>
                  </a:lnTo>
                  <a:lnTo>
                    <a:pt x="11852" y="19189"/>
                  </a:lnTo>
                  <a:cubicBezTo>
                    <a:pt x="11852" y="19189"/>
                    <a:pt x="11984" y="18276"/>
                    <a:pt x="11207" y="17738"/>
                  </a:cubicBezTo>
                  <a:cubicBezTo>
                    <a:pt x="10263" y="17087"/>
                    <a:pt x="9280" y="15038"/>
                    <a:pt x="11605" y="13899"/>
                  </a:cubicBezTo>
                  <a:cubicBezTo>
                    <a:pt x="13931" y="12761"/>
                    <a:pt x="14808" y="14792"/>
                    <a:pt x="14617" y="16180"/>
                  </a:cubicBezTo>
                  <a:cubicBezTo>
                    <a:pt x="14474" y="17220"/>
                    <a:pt x="15221" y="17540"/>
                    <a:pt x="15221" y="17540"/>
                  </a:cubicBezTo>
                  <a:lnTo>
                    <a:pt x="19368" y="15510"/>
                  </a:lnTo>
                  <a:cubicBezTo>
                    <a:pt x="19368" y="15510"/>
                    <a:pt x="17338" y="11290"/>
                    <a:pt x="17019" y="10076"/>
                  </a:cubicBezTo>
                  <a:cubicBezTo>
                    <a:pt x="16676" y="8775"/>
                    <a:pt x="18369" y="8955"/>
                    <a:pt x="18673" y="8964"/>
                  </a:cubicBezTo>
                  <a:cubicBezTo>
                    <a:pt x="20424" y="9020"/>
                    <a:pt x="21600" y="7510"/>
                    <a:pt x="20656" y="5385"/>
                  </a:cubicBezTo>
                  <a:cubicBezTo>
                    <a:pt x="19712" y="3260"/>
                    <a:pt x="17321" y="3778"/>
                    <a:pt x="16643" y="5120"/>
                  </a:cubicBezTo>
                  <a:cubicBezTo>
                    <a:pt x="16139" y="6117"/>
                    <a:pt x="15546" y="6529"/>
                    <a:pt x="15164" y="5995"/>
                  </a:cubicBezTo>
                  <a:cubicBezTo>
                    <a:pt x="14272" y="4748"/>
                    <a:pt x="12268" y="0"/>
                    <a:pt x="12268" y="0"/>
                  </a:cubicBezTo>
                  <a:lnTo>
                    <a:pt x="8380" y="1903"/>
                  </a:lnTo>
                  <a:cubicBezTo>
                    <a:pt x="8380" y="1903"/>
                    <a:pt x="8041" y="3203"/>
                    <a:pt x="8973" y="3711"/>
                  </a:cubicBezTo>
                  <a:cubicBezTo>
                    <a:pt x="10375" y="4474"/>
                    <a:pt x="10679" y="6519"/>
                    <a:pt x="8834" y="7423"/>
                  </a:cubicBezTo>
                  <a:cubicBezTo>
                    <a:pt x="6988" y="8326"/>
                    <a:pt x="5715" y="6969"/>
                    <a:pt x="5997" y="5295"/>
                  </a:cubicBezTo>
                  <a:cubicBezTo>
                    <a:pt x="6154" y="4357"/>
                    <a:pt x="5083" y="3527"/>
                    <a:pt x="5083" y="3527"/>
                  </a:cubicBezTo>
                  <a:cubicBezTo>
                    <a:pt x="5083" y="3527"/>
                    <a:pt x="0" y="6005"/>
                    <a:pt x="0" y="600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3" name="Shape 10395">
              <a:extLst>
                <a:ext uri="{FF2B5EF4-FFF2-40B4-BE49-F238E27FC236}">
                  <a16:creationId xmlns:a16="http://schemas.microsoft.com/office/drawing/2014/main" xmlns="" id="{CD15E854-6D3A-4469-B2BC-D8748CD43013}"/>
                </a:ext>
              </a:extLst>
            </p:cNvPr>
            <p:cNvSpPr/>
            <p:nvPr/>
          </p:nvSpPr>
          <p:spPr>
            <a:xfrm>
              <a:off x="19111148" y="4676595"/>
              <a:ext cx="447512" cy="47891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4" name="Shape 10396">
              <a:extLst>
                <a:ext uri="{FF2B5EF4-FFF2-40B4-BE49-F238E27FC236}">
                  <a16:creationId xmlns:a16="http://schemas.microsoft.com/office/drawing/2014/main" xmlns="" id="{BA22DDA0-671E-425C-B42E-D473680D18FB}"/>
                </a:ext>
              </a:extLst>
            </p:cNvPr>
            <p:cNvSpPr/>
            <p:nvPr/>
          </p:nvSpPr>
          <p:spPr>
            <a:xfrm>
              <a:off x="17914973" y="5805187"/>
              <a:ext cx="454602" cy="423166"/>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5" name="Shape 10397">
              <a:extLst>
                <a:ext uri="{FF2B5EF4-FFF2-40B4-BE49-F238E27FC236}">
                  <a16:creationId xmlns:a16="http://schemas.microsoft.com/office/drawing/2014/main" xmlns="" id="{675046DC-9297-4C6E-B004-A64FDA1D442C}"/>
                </a:ext>
              </a:extLst>
            </p:cNvPr>
            <p:cNvSpPr/>
            <p:nvPr/>
          </p:nvSpPr>
          <p:spPr>
            <a:xfrm>
              <a:off x="21365322" y="6512088"/>
              <a:ext cx="416893" cy="446145"/>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6" name="Shape 10398">
              <a:extLst>
                <a:ext uri="{FF2B5EF4-FFF2-40B4-BE49-F238E27FC236}">
                  <a16:creationId xmlns:a16="http://schemas.microsoft.com/office/drawing/2014/main" xmlns="" id="{32938CA7-8B88-44BE-82E4-9B3427843A4C}"/>
                </a:ext>
              </a:extLst>
            </p:cNvPr>
            <p:cNvSpPr/>
            <p:nvPr/>
          </p:nvSpPr>
          <p:spPr>
            <a:xfrm>
              <a:off x="18043549" y="10579592"/>
              <a:ext cx="978355" cy="64004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7" name="Shape 10399">
              <a:extLst>
                <a:ext uri="{FF2B5EF4-FFF2-40B4-BE49-F238E27FC236}">
                  <a16:creationId xmlns:a16="http://schemas.microsoft.com/office/drawing/2014/main" xmlns="" id="{0EEB09E9-8991-4725-8073-D7CED4060B7C}"/>
                </a:ext>
              </a:extLst>
            </p:cNvPr>
            <p:cNvSpPr/>
            <p:nvPr/>
          </p:nvSpPr>
          <p:spPr>
            <a:xfrm>
              <a:off x="15648472" y="6834637"/>
              <a:ext cx="742675" cy="776271"/>
            </a:xfrm>
            <a:custGeom>
              <a:avLst/>
              <a:gdLst/>
              <a:ahLst/>
              <a:cxnLst>
                <a:cxn ang="0">
                  <a:pos x="wd2" y="hd2"/>
                </a:cxn>
                <a:cxn ang="5400000">
                  <a:pos x="wd2" y="hd2"/>
                </a:cxn>
                <a:cxn ang="10800000">
                  <a:pos x="wd2" y="hd2"/>
                </a:cxn>
                <a:cxn ang="16200000">
                  <a:pos x="wd2" y="hd2"/>
                </a:cxn>
              </a:cxnLst>
              <a:rect l="0" t="0" r="r" b="b"/>
              <a:pathLst>
                <a:path w="21600" h="21600" extrusionOk="0">
                  <a:moveTo>
                    <a:pt x="5147" y="16723"/>
                  </a:moveTo>
                  <a:lnTo>
                    <a:pt x="0" y="16809"/>
                  </a:lnTo>
                  <a:lnTo>
                    <a:pt x="2774" y="12622"/>
                  </a:lnTo>
                  <a:cubicBezTo>
                    <a:pt x="2774" y="12622"/>
                    <a:pt x="5147" y="16723"/>
                    <a:pt x="5147" y="16723"/>
                  </a:cubicBezTo>
                  <a:close/>
                  <a:moveTo>
                    <a:pt x="14076" y="11989"/>
                  </a:moveTo>
                  <a:cubicBezTo>
                    <a:pt x="14302" y="12788"/>
                    <a:pt x="14417" y="13471"/>
                    <a:pt x="14416" y="13825"/>
                  </a:cubicBezTo>
                  <a:cubicBezTo>
                    <a:pt x="15694" y="13667"/>
                    <a:pt x="17017" y="14276"/>
                    <a:pt x="17811" y="15648"/>
                  </a:cubicBezTo>
                  <a:cubicBezTo>
                    <a:pt x="18851" y="17445"/>
                    <a:pt x="17597" y="21598"/>
                    <a:pt x="17597" y="21598"/>
                  </a:cubicBezTo>
                  <a:cubicBezTo>
                    <a:pt x="17597" y="21598"/>
                    <a:pt x="17595" y="21596"/>
                    <a:pt x="17592" y="21593"/>
                  </a:cubicBezTo>
                  <a:cubicBezTo>
                    <a:pt x="17594" y="21598"/>
                    <a:pt x="17594" y="21600"/>
                    <a:pt x="17594" y="21600"/>
                  </a:cubicBezTo>
                  <a:cubicBezTo>
                    <a:pt x="17594" y="21600"/>
                    <a:pt x="13250" y="20419"/>
                    <a:pt x="12210" y="18622"/>
                  </a:cubicBezTo>
                  <a:cubicBezTo>
                    <a:pt x="11424" y="17264"/>
                    <a:pt x="11576" y="15881"/>
                    <a:pt x="12373" y="14927"/>
                  </a:cubicBezTo>
                  <a:cubicBezTo>
                    <a:pt x="12061" y="14746"/>
                    <a:pt x="11508" y="14286"/>
                    <a:pt x="10910" y="13667"/>
                  </a:cubicBezTo>
                  <a:lnTo>
                    <a:pt x="5848" y="16352"/>
                  </a:lnTo>
                  <a:lnTo>
                    <a:pt x="3475" y="12249"/>
                  </a:lnTo>
                  <a:lnTo>
                    <a:pt x="8299" y="9692"/>
                  </a:lnTo>
                  <a:cubicBezTo>
                    <a:pt x="7229" y="7299"/>
                    <a:pt x="5819" y="3586"/>
                    <a:pt x="5332" y="2032"/>
                  </a:cubicBezTo>
                  <a:cubicBezTo>
                    <a:pt x="4875" y="574"/>
                    <a:pt x="5000" y="148"/>
                    <a:pt x="5066" y="36"/>
                  </a:cubicBezTo>
                  <a:cubicBezTo>
                    <a:pt x="5058" y="23"/>
                    <a:pt x="5065" y="20"/>
                    <a:pt x="5078" y="19"/>
                  </a:cubicBezTo>
                  <a:cubicBezTo>
                    <a:pt x="5088" y="6"/>
                    <a:pt x="5095" y="0"/>
                    <a:pt x="5095" y="0"/>
                  </a:cubicBezTo>
                  <a:cubicBezTo>
                    <a:pt x="5240" y="24"/>
                    <a:pt x="5683" y="148"/>
                    <a:pt x="6732" y="1292"/>
                  </a:cubicBezTo>
                  <a:cubicBezTo>
                    <a:pt x="7850" y="2510"/>
                    <a:pt x="10390" y="5624"/>
                    <a:pt x="11941" y="7761"/>
                  </a:cubicBezTo>
                  <a:lnTo>
                    <a:pt x="15980" y="5619"/>
                  </a:lnTo>
                  <a:lnTo>
                    <a:pt x="18355" y="9720"/>
                  </a:lnTo>
                  <a:cubicBezTo>
                    <a:pt x="18355" y="9720"/>
                    <a:pt x="14076" y="11989"/>
                    <a:pt x="14076" y="11989"/>
                  </a:cubicBezTo>
                  <a:close/>
                  <a:moveTo>
                    <a:pt x="16695" y="5238"/>
                  </a:moveTo>
                  <a:lnTo>
                    <a:pt x="19224" y="3898"/>
                  </a:lnTo>
                  <a:lnTo>
                    <a:pt x="21600" y="7999"/>
                  </a:lnTo>
                  <a:lnTo>
                    <a:pt x="19071" y="9339"/>
                  </a:lnTo>
                  <a:cubicBezTo>
                    <a:pt x="19071" y="9339"/>
                    <a:pt x="16695" y="5238"/>
                    <a:pt x="16695" y="523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8" name="Shape 10400">
              <a:extLst>
                <a:ext uri="{FF2B5EF4-FFF2-40B4-BE49-F238E27FC236}">
                  <a16:creationId xmlns:a16="http://schemas.microsoft.com/office/drawing/2014/main" xmlns="" id="{0F86FBD9-4FCD-46D1-9599-E3BFED8C9F44}"/>
                </a:ext>
              </a:extLst>
            </p:cNvPr>
            <p:cNvSpPr/>
            <p:nvPr/>
          </p:nvSpPr>
          <p:spPr>
            <a:xfrm>
              <a:off x="19723607" y="10276650"/>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9" name="Shape 10401">
              <a:extLst>
                <a:ext uri="{FF2B5EF4-FFF2-40B4-BE49-F238E27FC236}">
                  <a16:creationId xmlns:a16="http://schemas.microsoft.com/office/drawing/2014/main" xmlns="" id="{CE9C9D39-8373-4EF9-95BC-83E09CA186B2}"/>
                </a:ext>
              </a:extLst>
            </p:cNvPr>
            <p:cNvSpPr/>
            <p:nvPr/>
          </p:nvSpPr>
          <p:spPr>
            <a:xfrm>
              <a:off x="15572266" y="10142128"/>
              <a:ext cx="479514" cy="33988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0" name="Shape 10402">
              <a:extLst>
                <a:ext uri="{FF2B5EF4-FFF2-40B4-BE49-F238E27FC236}">
                  <a16:creationId xmlns:a16="http://schemas.microsoft.com/office/drawing/2014/main" xmlns="" id="{00A1997D-2A12-4009-B542-71231C6F0F0F}"/>
                </a:ext>
              </a:extLst>
            </p:cNvPr>
            <p:cNvSpPr/>
            <p:nvPr/>
          </p:nvSpPr>
          <p:spPr>
            <a:xfrm>
              <a:off x="17794266" y="9180909"/>
              <a:ext cx="602583" cy="64486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1" name="Shape 10403">
              <a:extLst>
                <a:ext uri="{FF2B5EF4-FFF2-40B4-BE49-F238E27FC236}">
                  <a16:creationId xmlns:a16="http://schemas.microsoft.com/office/drawing/2014/main" xmlns="" id="{BB8C514C-1268-4647-9C12-E0CAD7F4DB05}"/>
                </a:ext>
              </a:extLst>
            </p:cNvPr>
            <p:cNvSpPr/>
            <p:nvPr/>
          </p:nvSpPr>
          <p:spPr>
            <a:xfrm>
              <a:off x="17048178" y="9717416"/>
              <a:ext cx="707905" cy="707906"/>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2" name="Shape 10404">
              <a:extLst>
                <a:ext uri="{FF2B5EF4-FFF2-40B4-BE49-F238E27FC236}">
                  <a16:creationId xmlns:a16="http://schemas.microsoft.com/office/drawing/2014/main" xmlns="" id="{02AF13E8-D375-4FB0-88A4-9BB5DCA0D034}"/>
                </a:ext>
              </a:extLst>
            </p:cNvPr>
            <p:cNvSpPr/>
            <p:nvPr/>
          </p:nvSpPr>
          <p:spPr>
            <a:xfrm>
              <a:off x="18977015" y="9915662"/>
              <a:ext cx="660489" cy="686411"/>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3" name="Shape 10405">
              <a:extLst>
                <a:ext uri="{FF2B5EF4-FFF2-40B4-BE49-F238E27FC236}">
                  <a16:creationId xmlns:a16="http://schemas.microsoft.com/office/drawing/2014/main" xmlns="" id="{7F918CD1-A985-499D-87E9-412D25EF16BE}"/>
                </a:ext>
              </a:extLst>
            </p:cNvPr>
            <p:cNvSpPr/>
            <p:nvPr/>
          </p:nvSpPr>
          <p:spPr>
            <a:xfrm>
              <a:off x="17273284" y="10887438"/>
              <a:ext cx="673802" cy="40655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4" name="Shape 10406">
              <a:extLst>
                <a:ext uri="{FF2B5EF4-FFF2-40B4-BE49-F238E27FC236}">
                  <a16:creationId xmlns:a16="http://schemas.microsoft.com/office/drawing/2014/main" xmlns="" id="{67CEF128-9FC0-4D0E-97AA-5CA5844740BC}"/>
                </a:ext>
              </a:extLst>
            </p:cNvPr>
            <p:cNvSpPr/>
            <p:nvPr/>
          </p:nvSpPr>
          <p:spPr>
            <a:xfrm>
              <a:off x="19982176" y="9778729"/>
              <a:ext cx="656775" cy="603421"/>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5" name="Shape 10407">
              <a:extLst>
                <a:ext uri="{FF2B5EF4-FFF2-40B4-BE49-F238E27FC236}">
                  <a16:creationId xmlns:a16="http://schemas.microsoft.com/office/drawing/2014/main" xmlns="" id="{C5A86159-FA28-4234-9526-07BB4456477F}"/>
                </a:ext>
              </a:extLst>
            </p:cNvPr>
            <p:cNvSpPr/>
            <p:nvPr/>
          </p:nvSpPr>
          <p:spPr>
            <a:xfrm>
              <a:off x="18095556" y="9920122"/>
              <a:ext cx="474749" cy="52554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6" name="Shape 10408">
              <a:extLst>
                <a:ext uri="{FF2B5EF4-FFF2-40B4-BE49-F238E27FC236}">
                  <a16:creationId xmlns:a16="http://schemas.microsoft.com/office/drawing/2014/main" xmlns="" id="{EEFF1F38-C5E5-4A82-BE34-252D2CFADA41}"/>
                </a:ext>
              </a:extLst>
            </p:cNvPr>
            <p:cNvSpPr/>
            <p:nvPr/>
          </p:nvSpPr>
          <p:spPr>
            <a:xfrm>
              <a:off x="19553061" y="9077456"/>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7" name="Shape 10409">
              <a:extLst>
                <a:ext uri="{FF2B5EF4-FFF2-40B4-BE49-F238E27FC236}">
                  <a16:creationId xmlns:a16="http://schemas.microsoft.com/office/drawing/2014/main" xmlns="" id="{809E2DEC-EB4E-4EA0-87DB-3934E5883118}"/>
                </a:ext>
              </a:extLst>
            </p:cNvPr>
            <p:cNvSpPr/>
            <p:nvPr/>
          </p:nvSpPr>
          <p:spPr>
            <a:xfrm>
              <a:off x="19907349" y="4497805"/>
              <a:ext cx="422982" cy="47460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8" name="Shape 10410">
              <a:extLst>
                <a:ext uri="{FF2B5EF4-FFF2-40B4-BE49-F238E27FC236}">
                  <a16:creationId xmlns:a16="http://schemas.microsoft.com/office/drawing/2014/main" xmlns="" id="{63536520-F865-406B-94A6-2E16E3EAE115}"/>
                </a:ext>
              </a:extLst>
            </p:cNvPr>
            <p:cNvSpPr/>
            <p:nvPr/>
          </p:nvSpPr>
          <p:spPr>
            <a:xfrm>
              <a:off x="16605913" y="7050896"/>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9" name="Shape 10411">
              <a:extLst>
                <a:ext uri="{FF2B5EF4-FFF2-40B4-BE49-F238E27FC236}">
                  <a16:creationId xmlns:a16="http://schemas.microsoft.com/office/drawing/2014/main" xmlns="" id="{E9C18897-4921-47F2-9F65-278FAAC7FAEB}"/>
                </a:ext>
              </a:extLst>
            </p:cNvPr>
            <p:cNvSpPr/>
            <p:nvPr/>
          </p:nvSpPr>
          <p:spPr>
            <a:xfrm>
              <a:off x="17109012" y="5013808"/>
              <a:ext cx="413677" cy="591501"/>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0" name="Shape 10412">
              <a:extLst>
                <a:ext uri="{FF2B5EF4-FFF2-40B4-BE49-F238E27FC236}">
                  <a16:creationId xmlns:a16="http://schemas.microsoft.com/office/drawing/2014/main" xmlns="" id="{47E80C36-37C7-4EEC-A960-E6641851D78A}"/>
                </a:ext>
              </a:extLst>
            </p:cNvPr>
            <p:cNvSpPr/>
            <p:nvPr/>
          </p:nvSpPr>
          <p:spPr>
            <a:xfrm>
              <a:off x="16082433" y="4790078"/>
              <a:ext cx="583511" cy="4136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1" name="Shape 10413">
              <a:extLst>
                <a:ext uri="{FF2B5EF4-FFF2-40B4-BE49-F238E27FC236}">
                  <a16:creationId xmlns:a16="http://schemas.microsoft.com/office/drawing/2014/main" xmlns="" id="{86F075B5-D931-4B3F-9355-2520766348FB}"/>
                </a:ext>
              </a:extLst>
            </p:cNvPr>
            <p:cNvSpPr/>
            <p:nvPr/>
          </p:nvSpPr>
          <p:spPr>
            <a:xfrm>
              <a:off x="21000318" y="5616838"/>
              <a:ext cx="437119" cy="309840"/>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2" name="Shape 10414">
              <a:extLst>
                <a:ext uri="{FF2B5EF4-FFF2-40B4-BE49-F238E27FC236}">
                  <a16:creationId xmlns:a16="http://schemas.microsoft.com/office/drawing/2014/main" xmlns="" id="{5B0D9E4B-46B8-4756-BA62-1ECECC5C46E5}"/>
                </a:ext>
              </a:extLst>
            </p:cNvPr>
            <p:cNvSpPr/>
            <p:nvPr/>
          </p:nvSpPr>
          <p:spPr>
            <a:xfrm>
              <a:off x="14548058" y="892750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3" name="Shape 10415">
              <a:extLst>
                <a:ext uri="{FF2B5EF4-FFF2-40B4-BE49-F238E27FC236}">
                  <a16:creationId xmlns:a16="http://schemas.microsoft.com/office/drawing/2014/main" xmlns="" id="{6D4D52B5-DAF1-47E6-AB6A-EBB106677DBC}"/>
                </a:ext>
              </a:extLst>
            </p:cNvPr>
            <p:cNvSpPr/>
            <p:nvPr/>
          </p:nvSpPr>
          <p:spPr>
            <a:xfrm>
              <a:off x="19258837" y="11958731"/>
              <a:ext cx="567699" cy="676947"/>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4" name="Shape 10416">
              <a:extLst>
                <a:ext uri="{FF2B5EF4-FFF2-40B4-BE49-F238E27FC236}">
                  <a16:creationId xmlns:a16="http://schemas.microsoft.com/office/drawing/2014/main" xmlns="" id="{5133CE7F-14B4-4803-9613-382E7CC8B4CE}"/>
                </a:ext>
              </a:extLst>
            </p:cNvPr>
            <p:cNvSpPr/>
            <p:nvPr/>
          </p:nvSpPr>
          <p:spPr>
            <a:xfrm>
              <a:off x="20512929" y="11955407"/>
              <a:ext cx="678678" cy="59841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5" name="Shape 10417">
              <a:extLst>
                <a:ext uri="{FF2B5EF4-FFF2-40B4-BE49-F238E27FC236}">
                  <a16:creationId xmlns:a16="http://schemas.microsoft.com/office/drawing/2014/main" xmlns="" id="{F54B7E50-39D6-4EAD-91AD-95A85CDDEACD}"/>
                </a:ext>
              </a:extLst>
            </p:cNvPr>
            <p:cNvSpPr/>
            <p:nvPr/>
          </p:nvSpPr>
          <p:spPr>
            <a:xfrm>
              <a:off x="19308419" y="13173056"/>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6" name="Shape 10418">
              <a:extLst>
                <a:ext uri="{FF2B5EF4-FFF2-40B4-BE49-F238E27FC236}">
                  <a16:creationId xmlns:a16="http://schemas.microsoft.com/office/drawing/2014/main" xmlns="" id="{4BE3AC3D-0338-4F2B-9F70-598892DE45AA}"/>
                </a:ext>
              </a:extLst>
            </p:cNvPr>
            <p:cNvSpPr/>
            <p:nvPr/>
          </p:nvSpPr>
          <p:spPr>
            <a:xfrm>
              <a:off x="19278047" y="12757726"/>
              <a:ext cx="364916" cy="364935"/>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7" name="Shape 10419">
              <a:extLst>
                <a:ext uri="{FF2B5EF4-FFF2-40B4-BE49-F238E27FC236}">
                  <a16:creationId xmlns:a16="http://schemas.microsoft.com/office/drawing/2014/main" xmlns="" id="{8A42EF47-2F28-4849-AA70-9A2FB844FB66}"/>
                </a:ext>
              </a:extLst>
            </p:cNvPr>
            <p:cNvSpPr/>
            <p:nvPr/>
          </p:nvSpPr>
          <p:spPr>
            <a:xfrm>
              <a:off x="18249834" y="13272749"/>
              <a:ext cx="957659" cy="434144"/>
            </a:xfrm>
            <a:custGeom>
              <a:avLst/>
              <a:gdLst/>
              <a:ahLst/>
              <a:cxnLst>
                <a:cxn ang="0">
                  <a:pos x="wd2" y="hd2"/>
                </a:cxn>
                <a:cxn ang="5400000">
                  <a:pos x="wd2" y="hd2"/>
                </a:cxn>
                <a:cxn ang="10800000">
                  <a:pos x="wd2" y="hd2"/>
                </a:cxn>
                <a:cxn ang="16200000">
                  <a:pos x="wd2" y="hd2"/>
                </a:cxn>
              </a:cxnLst>
              <a:rect l="0" t="0" r="r" b="b"/>
              <a:pathLst>
                <a:path w="21600" h="21600" extrusionOk="0">
                  <a:moveTo>
                    <a:pt x="0" y="20793"/>
                  </a:moveTo>
                  <a:cubicBezTo>
                    <a:pt x="2762" y="20896"/>
                    <a:pt x="4229" y="16959"/>
                    <a:pt x="5457" y="12973"/>
                  </a:cubicBezTo>
                  <a:cubicBezTo>
                    <a:pt x="6611" y="16963"/>
                    <a:pt x="8026" y="20867"/>
                    <a:pt x="10731" y="20967"/>
                  </a:cubicBezTo>
                  <a:cubicBezTo>
                    <a:pt x="13410" y="21066"/>
                    <a:pt x="14890" y="17337"/>
                    <a:pt x="16097" y="13477"/>
                  </a:cubicBezTo>
                  <a:cubicBezTo>
                    <a:pt x="17258" y="17515"/>
                    <a:pt x="18668" y="21499"/>
                    <a:pt x="21405" y="21600"/>
                  </a:cubicBezTo>
                  <a:lnTo>
                    <a:pt x="21434" y="18923"/>
                  </a:lnTo>
                  <a:cubicBezTo>
                    <a:pt x="19117" y="18837"/>
                    <a:pt x="18015" y="15307"/>
                    <a:pt x="16841" y="11103"/>
                  </a:cubicBezTo>
                  <a:cubicBezTo>
                    <a:pt x="18096" y="6922"/>
                    <a:pt x="19242" y="3387"/>
                    <a:pt x="21588" y="3475"/>
                  </a:cubicBezTo>
                  <a:lnTo>
                    <a:pt x="21600" y="798"/>
                  </a:lnTo>
                  <a:cubicBezTo>
                    <a:pt x="18838" y="695"/>
                    <a:pt x="17358" y="4641"/>
                    <a:pt x="16130" y="8627"/>
                  </a:cubicBezTo>
                  <a:cubicBezTo>
                    <a:pt x="14977" y="4640"/>
                    <a:pt x="13556" y="770"/>
                    <a:pt x="10852" y="669"/>
                  </a:cubicBezTo>
                  <a:cubicBezTo>
                    <a:pt x="8168" y="570"/>
                    <a:pt x="6711" y="4292"/>
                    <a:pt x="5503" y="8160"/>
                  </a:cubicBezTo>
                  <a:cubicBezTo>
                    <a:pt x="4341" y="4115"/>
                    <a:pt x="2924" y="102"/>
                    <a:pt x="183" y="0"/>
                  </a:cubicBezTo>
                  <a:cubicBezTo>
                    <a:pt x="183" y="0"/>
                    <a:pt x="166" y="2677"/>
                    <a:pt x="166" y="2677"/>
                  </a:cubicBezTo>
                  <a:cubicBezTo>
                    <a:pt x="2490" y="2763"/>
                    <a:pt x="3581" y="6313"/>
                    <a:pt x="4759" y="10534"/>
                  </a:cubicBezTo>
                  <a:cubicBezTo>
                    <a:pt x="3507" y="14705"/>
                    <a:pt x="2353" y="18212"/>
                    <a:pt x="12" y="18125"/>
                  </a:cubicBezTo>
                  <a:lnTo>
                    <a:pt x="0" y="20793"/>
                  </a:lnTo>
                  <a:close/>
                  <a:moveTo>
                    <a:pt x="241" y="16420"/>
                  </a:moveTo>
                  <a:cubicBezTo>
                    <a:pt x="649" y="16425"/>
                    <a:pt x="1008" y="16293"/>
                    <a:pt x="1338" y="16053"/>
                  </a:cubicBezTo>
                  <a:cubicBezTo>
                    <a:pt x="1338" y="16053"/>
                    <a:pt x="1438" y="4786"/>
                    <a:pt x="1438" y="4786"/>
                  </a:cubicBezTo>
                  <a:cubicBezTo>
                    <a:pt x="1113" y="4525"/>
                    <a:pt x="753" y="4374"/>
                    <a:pt x="345" y="4355"/>
                  </a:cubicBezTo>
                  <a:lnTo>
                    <a:pt x="241" y="16420"/>
                  </a:lnTo>
                  <a:close/>
                  <a:moveTo>
                    <a:pt x="2402" y="14724"/>
                  </a:moveTo>
                  <a:cubicBezTo>
                    <a:pt x="2787" y="14105"/>
                    <a:pt x="3126" y="13297"/>
                    <a:pt x="3454" y="12359"/>
                  </a:cubicBezTo>
                  <a:lnTo>
                    <a:pt x="3491" y="8563"/>
                  </a:lnTo>
                  <a:cubicBezTo>
                    <a:pt x="3181" y="7606"/>
                    <a:pt x="2858" y="6774"/>
                    <a:pt x="2485" y="6133"/>
                  </a:cubicBezTo>
                  <a:lnTo>
                    <a:pt x="2402" y="14724"/>
                  </a:lnTo>
                  <a:close/>
                  <a:moveTo>
                    <a:pt x="6201" y="10598"/>
                  </a:moveTo>
                  <a:cubicBezTo>
                    <a:pt x="7413" y="6583"/>
                    <a:pt x="8564" y="3262"/>
                    <a:pt x="10839" y="3346"/>
                  </a:cubicBezTo>
                  <a:cubicBezTo>
                    <a:pt x="13133" y="3431"/>
                    <a:pt x="14226" y="6882"/>
                    <a:pt x="15386" y="11029"/>
                  </a:cubicBezTo>
                  <a:cubicBezTo>
                    <a:pt x="14178" y="15032"/>
                    <a:pt x="13031" y="18375"/>
                    <a:pt x="10761" y="18290"/>
                  </a:cubicBezTo>
                  <a:cubicBezTo>
                    <a:pt x="8467" y="18206"/>
                    <a:pt x="7361" y="14745"/>
                    <a:pt x="6201" y="10598"/>
                  </a:cubicBezTo>
                  <a:close/>
                  <a:moveTo>
                    <a:pt x="7901" y="13065"/>
                  </a:moveTo>
                  <a:cubicBezTo>
                    <a:pt x="8268" y="14180"/>
                    <a:pt x="8656" y="15139"/>
                    <a:pt x="9098" y="15879"/>
                  </a:cubicBezTo>
                  <a:lnTo>
                    <a:pt x="9173" y="5547"/>
                  </a:lnTo>
                  <a:cubicBezTo>
                    <a:pt x="8720" y="6254"/>
                    <a:pt x="8323" y="7192"/>
                    <a:pt x="7938" y="8279"/>
                  </a:cubicBezTo>
                  <a:lnTo>
                    <a:pt x="7901" y="13065"/>
                  </a:lnTo>
                  <a:close/>
                  <a:moveTo>
                    <a:pt x="10199" y="16402"/>
                  </a:moveTo>
                  <a:cubicBezTo>
                    <a:pt x="10421" y="16504"/>
                    <a:pt x="10654" y="16562"/>
                    <a:pt x="10910" y="16567"/>
                  </a:cubicBezTo>
                  <a:cubicBezTo>
                    <a:pt x="11039" y="16569"/>
                    <a:pt x="11163" y="16554"/>
                    <a:pt x="11284" y="16530"/>
                  </a:cubicBezTo>
                  <a:lnTo>
                    <a:pt x="11421" y="4676"/>
                  </a:lnTo>
                  <a:cubicBezTo>
                    <a:pt x="11301" y="4648"/>
                    <a:pt x="11177" y="4632"/>
                    <a:pt x="11047" y="4630"/>
                  </a:cubicBezTo>
                  <a:cubicBezTo>
                    <a:pt x="10792" y="4625"/>
                    <a:pt x="10556" y="4674"/>
                    <a:pt x="10332" y="4767"/>
                  </a:cubicBezTo>
                  <a:lnTo>
                    <a:pt x="10199" y="16402"/>
                  </a:lnTo>
                  <a:close/>
                  <a:moveTo>
                    <a:pt x="12440" y="16292"/>
                  </a:moveTo>
                  <a:cubicBezTo>
                    <a:pt x="12866" y="15783"/>
                    <a:pt x="13237" y="15074"/>
                    <a:pt x="13587" y="14220"/>
                  </a:cubicBezTo>
                  <a:lnTo>
                    <a:pt x="13653" y="7866"/>
                  </a:lnTo>
                  <a:cubicBezTo>
                    <a:pt x="13321" y="6994"/>
                    <a:pt x="12964" y="6269"/>
                    <a:pt x="12548" y="5739"/>
                  </a:cubicBezTo>
                  <a:lnTo>
                    <a:pt x="12440" y="16292"/>
                  </a:lnTo>
                  <a:close/>
                  <a:moveTo>
                    <a:pt x="18109" y="13000"/>
                  </a:moveTo>
                  <a:cubicBezTo>
                    <a:pt x="18420" y="13890"/>
                    <a:pt x="18742" y="14650"/>
                    <a:pt x="19110" y="15228"/>
                  </a:cubicBezTo>
                  <a:lnTo>
                    <a:pt x="19115" y="6949"/>
                  </a:lnTo>
                  <a:cubicBezTo>
                    <a:pt x="18746" y="7587"/>
                    <a:pt x="18420" y="8402"/>
                    <a:pt x="18109" y="9342"/>
                  </a:cubicBezTo>
                  <a:lnTo>
                    <a:pt x="18109" y="13000"/>
                  </a:lnTo>
                  <a:close/>
                  <a:moveTo>
                    <a:pt x="20436" y="16503"/>
                  </a:moveTo>
                  <a:cubicBezTo>
                    <a:pt x="20751" y="16735"/>
                    <a:pt x="21099" y="16863"/>
                    <a:pt x="21492" y="16860"/>
                  </a:cubicBezTo>
                  <a:lnTo>
                    <a:pt x="21546" y="5272"/>
                  </a:lnTo>
                  <a:cubicBezTo>
                    <a:pt x="21153" y="5289"/>
                    <a:pt x="20803" y="5437"/>
                    <a:pt x="20486" y="5684"/>
                  </a:cubicBezTo>
                  <a:cubicBezTo>
                    <a:pt x="20486" y="5684"/>
                    <a:pt x="20436" y="16503"/>
                    <a:pt x="20436" y="165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8" name="Shape 10420">
              <a:extLst>
                <a:ext uri="{FF2B5EF4-FFF2-40B4-BE49-F238E27FC236}">
                  <a16:creationId xmlns:a16="http://schemas.microsoft.com/office/drawing/2014/main" xmlns="" id="{23E62EB5-6D28-4112-A5D8-5AB08A16588F}"/>
                </a:ext>
              </a:extLst>
            </p:cNvPr>
            <p:cNvSpPr/>
            <p:nvPr/>
          </p:nvSpPr>
          <p:spPr>
            <a:xfrm>
              <a:off x="20962861" y="13425299"/>
              <a:ext cx="410124" cy="290707"/>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9" name="Shape 10421">
              <a:extLst>
                <a:ext uri="{FF2B5EF4-FFF2-40B4-BE49-F238E27FC236}">
                  <a16:creationId xmlns:a16="http://schemas.microsoft.com/office/drawing/2014/main" xmlns="" id="{ED8D0498-2933-4ED1-AB93-27FC5B87EE5F}"/>
                </a:ext>
              </a:extLst>
            </p:cNvPr>
            <p:cNvSpPr/>
            <p:nvPr/>
          </p:nvSpPr>
          <p:spPr>
            <a:xfrm>
              <a:off x="17299512" y="11350027"/>
              <a:ext cx="844727" cy="1120378"/>
            </a:xfrm>
            <a:custGeom>
              <a:avLst/>
              <a:gdLst/>
              <a:ahLst/>
              <a:cxnLst>
                <a:cxn ang="0">
                  <a:pos x="wd2" y="hd2"/>
                </a:cxn>
                <a:cxn ang="5400000">
                  <a:pos x="wd2" y="hd2"/>
                </a:cxn>
                <a:cxn ang="10800000">
                  <a:pos x="wd2" y="hd2"/>
                </a:cxn>
                <a:cxn ang="16200000">
                  <a:pos x="wd2" y="hd2"/>
                </a:cxn>
              </a:cxnLst>
              <a:rect l="0" t="0" r="r" b="b"/>
              <a:pathLst>
                <a:path w="20983" h="21600" extrusionOk="0">
                  <a:moveTo>
                    <a:pt x="4487" y="2661"/>
                  </a:moveTo>
                  <a:cubicBezTo>
                    <a:pt x="6041" y="1951"/>
                    <a:pt x="7888" y="1570"/>
                    <a:pt x="9828" y="1650"/>
                  </a:cubicBezTo>
                  <a:cubicBezTo>
                    <a:pt x="12550" y="1762"/>
                    <a:pt x="15032" y="2810"/>
                    <a:pt x="16637" y="4507"/>
                  </a:cubicBezTo>
                  <a:cubicBezTo>
                    <a:pt x="17954" y="5855"/>
                    <a:pt x="18616" y="7507"/>
                    <a:pt x="18498" y="9204"/>
                  </a:cubicBezTo>
                  <a:cubicBezTo>
                    <a:pt x="18319" y="11771"/>
                    <a:pt x="16441" y="14049"/>
                    <a:pt x="13531" y="15243"/>
                  </a:cubicBezTo>
                  <a:cubicBezTo>
                    <a:pt x="7170" y="17652"/>
                    <a:pt x="-219" y="13941"/>
                    <a:pt x="5" y="8450"/>
                  </a:cubicBezTo>
                  <a:cubicBezTo>
                    <a:pt x="107" y="5959"/>
                    <a:pt x="1897" y="3846"/>
                    <a:pt x="4487" y="2661"/>
                  </a:cubicBezTo>
                  <a:close/>
                  <a:moveTo>
                    <a:pt x="11927" y="0"/>
                  </a:moveTo>
                  <a:cubicBezTo>
                    <a:pt x="14972" y="550"/>
                    <a:pt x="17565" y="1989"/>
                    <a:pt x="19217" y="4049"/>
                  </a:cubicBezTo>
                  <a:cubicBezTo>
                    <a:pt x="20869" y="6108"/>
                    <a:pt x="21381" y="8545"/>
                    <a:pt x="20673" y="10908"/>
                  </a:cubicBezTo>
                  <a:cubicBezTo>
                    <a:pt x="19872" y="13581"/>
                    <a:pt x="17567" y="15755"/>
                    <a:pt x="14558" y="16945"/>
                  </a:cubicBezTo>
                  <a:cubicBezTo>
                    <a:pt x="13956" y="17183"/>
                    <a:pt x="13322" y="17384"/>
                    <a:pt x="12670" y="17539"/>
                  </a:cubicBezTo>
                  <a:lnTo>
                    <a:pt x="13689" y="19091"/>
                  </a:lnTo>
                  <a:lnTo>
                    <a:pt x="16552" y="17959"/>
                  </a:lnTo>
                  <a:lnTo>
                    <a:pt x="17260" y="19038"/>
                  </a:lnTo>
                  <a:lnTo>
                    <a:pt x="10780" y="21600"/>
                  </a:lnTo>
                  <a:lnTo>
                    <a:pt x="10072" y="20522"/>
                  </a:lnTo>
                  <a:lnTo>
                    <a:pt x="12300" y="19641"/>
                  </a:lnTo>
                  <a:lnTo>
                    <a:pt x="11104" y="17819"/>
                  </a:lnTo>
                  <a:cubicBezTo>
                    <a:pt x="10775" y="17860"/>
                    <a:pt x="10443" y="17889"/>
                    <a:pt x="10107" y="17909"/>
                  </a:cubicBezTo>
                  <a:cubicBezTo>
                    <a:pt x="9771" y="17928"/>
                    <a:pt x="9432" y="17928"/>
                    <a:pt x="9091" y="17924"/>
                  </a:cubicBezTo>
                  <a:lnTo>
                    <a:pt x="9115" y="16720"/>
                  </a:lnTo>
                  <a:cubicBezTo>
                    <a:pt x="13857" y="16783"/>
                    <a:pt x="18085" y="14219"/>
                    <a:pt x="19161" y="10628"/>
                  </a:cubicBezTo>
                  <a:cubicBezTo>
                    <a:pt x="19775" y="8580"/>
                    <a:pt x="19321" y="6477"/>
                    <a:pt x="17889" y="4691"/>
                  </a:cubicBezTo>
                  <a:cubicBezTo>
                    <a:pt x="16457" y="2906"/>
                    <a:pt x="14223" y="1654"/>
                    <a:pt x="11584" y="1178"/>
                  </a:cubicBezTo>
                  <a:lnTo>
                    <a:pt x="11927" y="0"/>
                  </a:lnTo>
                  <a:close/>
                  <a:moveTo>
                    <a:pt x="5394" y="3239"/>
                  </a:moveTo>
                  <a:cubicBezTo>
                    <a:pt x="4971" y="3418"/>
                    <a:pt x="4569" y="3631"/>
                    <a:pt x="4192" y="3867"/>
                  </a:cubicBezTo>
                  <a:cubicBezTo>
                    <a:pt x="4430" y="4003"/>
                    <a:pt x="4673" y="4128"/>
                    <a:pt x="4923" y="4245"/>
                  </a:cubicBezTo>
                  <a:cubicBezTo>
                    <a:pt x="5174" y="4362"/>
                    <a:pt x="5435" y="4472"/>
                    <a:pt x="5696" y="4572"/>
                  </a:cubicBezTo>
                  <a:cubicBezTo>
                    <a:pt x="5840" y="4267"/>
                    <a:pt x="6003" y="3965"/>
                    <a:pt x="6174" y="3669"/>
                  </a:cubicBezTo>
                  <a:cubicBezTo>
                    <a:pt x="6345" y="3372"/>
                    <a:pt x="6521" y="3084"/>
                    <a:pt x="6719" y="2797"/>
                  </a:cubicBezTo>
                  <a:cubicBezTo>
                    <a:pt x="6262" y="2917"/>
                    <a:pt x="5818" y="3060"/>
                    <a:pt x="5394" y="3239"/>
                  </a:cubicBezTo>
                  <a:close/>
                  <a:moveTo>
                    <a:pt x="8111" y="2528"/>
                  </a:moveTo>
                  <a:cubicBezTo>
                    <a:pt x="7815" y="2902"/>
                    <a:pt x="7543" y="3287"/>
                    <a:pt x="7298" y="3681"/>
                  </a:cubicBezTo>
                  <a:cubicBezTo>
                    <a:pt x="7054" y="4074"/>
                    <a:pt x="6836" y="4477"/>
                    <a:pt x="6643" y="4888"/>
                  </a:cubicBezTo>
                  <a:cubicBezTo>
                    <a:pt x="7029" y="4999"/>
                    <a:pt x="7434" y="5094"/>
                    <a:pt x="7836" y="5166"/>
                  </a:cubicBezTo>
                  <a:cubicBezTo>
                    <a:pt x="8238" y="5238"/>
                    <a:pt x="8643" y="5293"/>
                    <a:pt x="9058" y="5327"/>
                  </a:cubicBezTo>
                  <a:lnTo>
                    <a:pt x="9258" y="2461"/>
                  </a:lnTo>
                  <a:cubicBezTo>
                    <a:pt x="9068" y="2462"/>
                    <a:pt x="8871" y="2466"/>
                    <a:pt x="8681" y="2478"/>
                  </a:cubicBezTo>
                  <a:cubicBezTo>
                    <a:pt x="8492" y="2490"/>
                    <a:pt x="8298" y="2506"/>
                    <a:pt x="8111" y="2528"/>
                  </a:cubicBezTo>
                  <a:close/>
                  <a:moveTo>
                    <a:pt x="3332" y="4418"/>
                  </a:moveTo>
                  <a:cubicBezTo>
                    <a:pt x="2706" y="4923"/>
                    <a:pt x="2197" y="5495"/>
                    <a:pt x="1822" y="6116"/>
                  </a:cubicBezTo>
                  <a:cubicBezTo>
                    <a:pt x="1446" y="6736"/>
                    <a:pt x="1199" y="7397"/>
                    <a:pt x="1096" y="8089"/>
                  </a:cubicBezTo>
                  <a:lnTo>
                    <a:pt x="4650" y="8241"/>
                  </a:lnTo>
                  <a:cubicBezTo>
                    <a:pt x="4701" y="7753"/>
                    <a:pt x="4783" y="7263"/>
                    <a:pt x="4900" y="6783"/>
                  </a:cubicBezTo>
                  <a:cubicBezTo>
                    <a:pt x="5017" y="6305"/>
                    <a:pt x="5162" y="5834"/>
                    <a:pt x="5343" y="5367"/>
                  </a:cubicBezTo>
                  <a:cubicBezTo>
                    <a:pt x="4988" y="5238"/>
                    <a:pt x="4643" y="5093"/>
                    <a:pt x="4305" y="4935"/>
                  </a:cubicBezTo>
                  <a:cubicBezTo>
                    <a:pt x="3967" y="4776"/>
                    <a:pt x="3650" y="4606"/>
                    <a:pt x="3332" y="4418"/>
                  </a:cubicBezTo>
                  <a:close/>
                  <a:moveTo>
                    <a:pt x="10293" y="2496"/>
                  </a:moveTo>
                  <a:lnTo>
                    <a:pt x="10092" y="5362"/>
                  </a:lnTo>
                  <a:cubicBezTo>
                    <a:pt x="10477" y="5359"/>
                    <a:pt x="10864" y="5342"/>
                    <a:pt x="11246" y="5304"/>
                  </a:cubicBezTo>
                  <a:cubicBezTo>
                    <a:pt x="11627" y="5267"/>
                    <a:pt x="12001" y="5211"/>
                    <a:pt x="12374" y="5139"/>
                  </a:cubicBezTo>
                  <a:cubicBezTo>
                    <a:pt x="12236" y="4706"/>
                    <a:pt x="12076" y="4278"/>
                    <a:pt x="11881" y="3859"/>
                  </a:cubicBezTo>
                  <a:cubicBezTo>
                    <a:pt x="11686" y="3439"/>
                    <a:pt x="11470" y="3025"/>
                    <a:pt x="11220" y="2622"/>
                  </a:cubicBezTo>
                  <a:cubicBezTo>
                    <a:pt x="11069" y="2594"/>
                    <a:pt x="10904" y="2570"/>
                    <a:pt x="10750" y="2550"/>
                  </a:cubicBezTo>
                  <a:cubicBezTo>
                    <a:pt x="10596" y="2530"/>
                    <a:pt x="10449" y="2511"/>
                    <a:pt x="10293" y="2496"/>
                  </a:cubicBezTo>
                  <a:close/>
                  <a:moveTo>
                    <a:pt x="12546" y="2964"/>
                  </a:moveTo>
                  <a:cubicBezTo>
                    <a:pt x="12714" y="3280"/>
                    <a:pt x="12868" y="3593"/>
                    <a:pt x="13006" y="3918"/>
                  </a:cubicBezTo>
                  <a:cubicBezTo>
                    <a:pt x="13143" y="4242"/>
                    <a:pt x="13264" y="4578"/>
                    <a:pt x="13370" y="4909"/>
                  </a:cubicBezTo>
                  <a:cubicBezTo>
                    <a:pt x="13667" y="4827"/>
                    <a:pt x="13966" y="4724"/>
                    <a:pt x="14251" y="4619"/>
                  </a:cubicBezTo>
                  <a:cubicBezTo>
                    <a:pt x="14537" y="4515"/>
                    <a:pt x="14810" y="4404"/>
                    <a:pt x="15083" y="4279"/>
                  </a:cubicBezTo>
                  <a:cubicBezTo>
                    <a:pt x="14713" y="3995"/>
                    <a:pt x="14316" y="3740"/>
                    <a:pt x="13892" y="3520"/>
                  </a:cubicBezTo>
                  <a:cubicBezTo>
                    <a:pt x="13467" y="3300"/>
                    <a:pt x="13014" y="3118"/>
                    <a:pt x="12546" y="2964"/>
                  </a:cubicBezTo>
                  <a:close/>
                  <a:moveTo>
                    <a:pt x="6314" y="5674"/>
                  </a:moveTo>
                  <a:cubicBezTo>
                    <a:pt x="6153" y="6098"/>
                    <a:pt x="6029" y="6530"/>
                    <a:pt x="5924" y="6964"/>
                  </a:cubicBezTo>
                  <a:cubicBezTo>
                    <a:pt x="5819" y="7399"/>
                    <a:pt x="5732" y="7834"/>
                    <a:pt x="5684" y="8277"/>
                  </a:cubicBezTo>
                  <a:lnTo>
                    <a:pt x="8848" y="8407"/>
                  </a:lnTo>
                  <a:lnTo>
                    <a:pt x="9000" y="6134"/>
                  </a:lnTo>
                  <a:cubicBezTo>
                    <a:pt x="8537" y="6101"/>
                    <a:pt x="8088" y="6045"/>
                    <a:pt x="7639" y="5969"/>
                  </a:cubicBezTo>
                  <a:cubicBezTo>
                    <a:pt x="7191" y="5894"/>
                    <a:pt x="6744" y="5793"/>
                    <a:pt x="6314" y="5674"/>
                  </a:cubicBezTo>
                  <a:close/>
                  <a:moveTo>
                    <a:pt x="1037" y="8896"/>
                  </a:moveTo>
                  <a:cubicBezTo>
                    <a:pt x="1047" y="9594"/>
                    <a:pt x="1206" y="10280"/>
                    <a:pt x="1496" y="10928"/>
                  </a:cubicBezTo>
                  <a:cubicBezTo>
                    <a:pt x="1786" y="11576"/>
                    <a:pt x="2210" y="12192"/>
                    <a:pt x="2764" y="12745"/>
                  </a:cubicBezTo>
                  <a:cubicBezTo>
                    <a:pt x="3007" y="12630"/>
                    <a:pt x="3260" y="12514"/>
                    <a:pt x="3512" y="12414"/>
                  </a:cubicBezTo>
                  <a:cubicBezTo>
                    <a:pt x="3964" y="12235"/>
                    <a:pt x="4426" y="12086"/>
                    <a:pt x="4903" y="11958"/>
                  </a:cubicBezTo>
                  <a:cubicBezTo>
                    <a:pt x="4786" y="11479"/>
                    <a:pt x="4700" y="10999"/>
                    <a:pt x="4648" y="10513"/>
                  </a:cubicBezTo>
                  <a:cubicBezTo>
                    <a:pt x="4597" y="10027"/>
                    <a:pt x="4589" y="9533"/>
                    <a:pt x="4604" y="9043"/>
                  </a:cubicBezTo>
                  <a:lnTo>
                    <a:pt x="1037" y="8896"/>
                  </a:lnTo>
                  <a:close/>
                  <a:moveTo>
                    <a:pt x="10034" y="6170"/>
                  </a:moveTo>
                  <a:lnTo>
                    <a:pt x="9888" y="8452"/>
                  </a:lnTo>
                  <a:lnTo>
                    <a:pt x="12877" y="8570"/>
                  </a:lnTo>
                  <a:cubicBezTo>
                    <a:pt x="12889" y="8129"/>
                    <a:pt x="12873" y="7693"/>
                    <a:pt x="12828" y="7255"/>
                  </a:cubicBezTo>
                  <a:cubicBezTo>
                    <a:pt x="12783" y="6817"/>
                    <a:pt x="12706" y="6382"/>
                    <a:pt x="12605" y="5950"/>
                  </a:cubicBezTo>
                  <a:cubicBezTo>
                    <a:pt x="12185" y="6026"/>
                    <a:pt x="11754" y="6078"/>
                    <a:pt x="11326" y="6116"/>
                  </a:cubicBezTo>
                  <a:cubicBezTo>
                    <a:pt x="10897" y="6154"/>
                    <a:pt x="10465" y="6172"/>
                    <a:pt x="10034" y="6170"/>
                  </a:cubicBezTo>
                  <a:close/>
                  <a:moveTo>
                    <a:pt x="13607" y="5729"/>
                  </a:moveTo>
                  <a:cubicBezTo>
                    <a:pt x="13722" y="6204"/>
                    <a:pt x="13804" y="6683"/>
                    <a:pt x="13855" y="7165"/>
                  </a:cubicBezTo>
                  <a:cubicBezTo>
                    <a:pt x="13906" y="7647"/>
                    <a:pt x="13932" y="8129"/>
                    <a:pt x="13917" y="8615"/>
                  </a:cubicBezTo>
                  <a:lnTo>
                    <a:pt x="17466" y="8758"/>
                  </a:lnTo>
                  <a:cubicBezTo>
                    <a:pt x="17456" y="8067"/>
                    <a:pt x="17305" y="7387"/>
                    <a:pt x="17019" y="6745"/>
                  </a:cubicBezTo>
                  <a:cubicBezTo>
                    <a:pt x="16733" y="6102"/>
                    <a:pt x="16308" y="5496"/>
                    <a:pt x="15763" y="4946"/>
                  </a:cubicBezTo>
                  <a:cubicBezTo>
                    <a:pt x="15538" y="5052"/>
                    <a:pt x="15319" y="5157"/>
                    <a:pt x="15087" y="5249"/>
                  </a:cubicBezTo>
                  <a:cubicBezTo>
                    <a:pt x="14848" y="5343"/>
                    <a:pt x="14597" y="5425"/>
                    <a:pt x="14350" y="5505"/>
                  </a:cubicBezTo>
                  <a:cubicBezTo>
                    <a:pt x="14104" y="5585"/>
                    <a:pt x="13859" y="5663"/>
                    <a:pt x="13607" y="5729"/>
                  </a:cubicBezTo>
                  <a:close/>
                  <a:moveTo>
                    <a:pt x="5626" y="9084"/>
                  </a:moveTo>
                  <a:cubicBezTo>
                    <a:pt x="5614" y="9529"/>
                    <a:pt x="5641" y="9977"/>
                    <a:pt x="5687" y="10418"/>
                  </a:cubicBezTo>
                  <a:cubicBezTo>
                    <a:pt x="5733" y="10859"/>
                    <a:pt x="5801" y="11302"/>
                    <a:pt x="5904" y="11737"/>
                  </a:cubicBezTo>
                  <a:cubicBezTo>
                    <a:pt x="6351" y="11653"/>
                    <a:pt x="6799" y="11583"/>
                    <a:pt x="7255" y="11543"/>
                  </a:cubicBezTo>
                  <a:cubicBezTo>
                    <a:pt x="7711" y="11502"/>
                    <a:pt x="8176" y="11483"/>
                    <a:pt x="8637" y="11488"/>
                  </a:cubicBezTo>
                  <a:lnTo>
                    <a:pt x="8789" y="9215"/>
                  </a:lnTo>
                  <a:lnTo>
                    <a:pt x="5626" y="9084"/>
                  </a:lnTo>
                  <a:close/>
                  <a:moveTo>
                    <a:pt x="9830" y="9260"/>
                  </a:moveTo>
                  <a:lnTo>
                    <a:pt x="9678" y="11533"/>
                  </a:lnTo>
                  <a:cubicBezTo>
                    <a:pt x="10111" y="11566"/>
                    <a:pt x="10539" y="11622"/>
                    <a:pt x="10960" y="11693"/>
                  </a:cubicBezTo>
                  <a:cubicBezTo>
                    <a:pt x="11380" y="11765"/>
                    <a:pt x="11789" y="11857"/>
                    <a:pt x="12195" y="11966"/>
                  </a:cubicBezTo>
                  <a:cubicBezTo>
                    <a:pt x="12354" y="11544"/>
                    <a:pt x="12487" y="11117"/>
                    <a:pt x="12591" y="10685"/>
                  </a:cubicBezTo>
                  <a:cubicBezTo>
                    <a:pt x="12695" y="10253"/>
                    <a:pt x="12771" y="9818"/>
                    <a:pt x="12819" y="9378"/>
                  </a:cubicBezTo>
                  <a:lnTo>
                    <a:pt x="9830" y="9260"/>
                  </a:lnTo>
                  <a:close/>
                  <a:moveTo>
                    <a:pt x="4330" y="13039"/>
                  </a:moveTo>
                  <a:cubicBezTo>
                    <a:pt x="4065" y="13135"/>
                    <a:pt x="3812" y="13241"/>
                    <a:pt x="3558" y="13356"/>
                  </a:cubicBezTo>
                  <a:cubicBezTo>
                    <a:pt x="3906" y="13626"/>
                    <a:pt x="4274" y="13873"/>
                    <a:pt x="4671" y="14087"/>
                  </a:cubicBezTo>
                  <a:cubicBezTo>
                    <a:pt x="5068" y="14300"/>
                    <a:pt x="5484" y="14479"/>
                    <a:pt x="5921" y="14635"/>
                  </a:cubicBezTo>
                  <a:cubicBezTo>
                    <a:pt x="5762" y="14333"/>
                    <a:pt x="5616" y="14028"/>
                    <a:pt x="5485" y="13718"/>
                  </a:cubicBezTo>
                  <a:cubicBezTo>
                    <a:pt x="5354" y="13409"/>
                    <a:pt x="5242" y="13093"/>
                    <a:pt x="5139" y="12778"/>
                  </a:cubicBezTo>
                  <a:cubicBezTo>
                    <a:pt x="4865" y="12856"/>
                    <a:pt x="4595" y="12943"/>
                    <a:pt x="4330" y="13039"/>
                  </a:cubicBezTo>
                  <a:close/>
                  <a:moveTo>
                    <a:pt x="13859" y="9423"/>
                  </a:moveTo>
                  <a:cubicBezTo>
                    <a:pt x="13808" y="9907"/>
                    <a:pt x="13724" y="10381"/>
                    <a:pt x="13609" y="10857"/>
                  </a:cubicBezTo>
                  <a:cubicBezTo>
                    <a:pt x="13493" y="11332"/>
                    <a:pt x="13344" y="11810"/>
                    <a:pt x="13166" y="12273"/>
                  </a:cubicBezTo>
                  <a:cubicBezTo>
                    <a:pt x="13524" y="12401"/>
                    <a:pt x="13875" y="12542"/>
                    <a:pt x="14216" y="12701"/>
                  </a:cubicBezTo>
                  <a:cubicBezTo>
                    <a:pt x="14556" y="12859"/>
                    <a:pt x="14886" y="13034"/>
                    <a:pt x="15207" y="13222"/>
                  </a:cubicBezTo>
                  <a:cubicBezTo>
                    <a:pt x="15824" y="12719"/>
                    <a:pt x="16322" y="12150"/>
                    <a:pt x="16693" y="11534"/>
                  </a:cubicBezTo>
                  <a:cubicBezTo>
                    <a:pt x="17065" y="10917"/>
                    <a:pt x="17305" y="10252"/>
                    <a:pt x="17407" y="9565"/>
                  </a:cubicBezTo>
                  <a:lnTo>
                    <a:pt x="13859" y="9423"/>
                  </a:lnTo>
                  <a:close/>
                  <a:moveTo>
                    <a:pt x="6129" y="12538"/>
                  </a:moveTo>
                  <a:cubicBezTo>
                    <a:pt x="6265" y="12963"/>
                    <a:pt x="6431" y="13384"/>
                    <a:pt x="6622" y="13795"/>
                  </a:cubicBezTo>
                  <a:cubicBezTo>
                    <a:pt x="6812" y="14207"/>
                    <a:pt x="7039" y="14613"/>
                    <a:pt x="7283" y="15009"/>
                  </a:cubicBezTo>
                  <a:cubicBezTo>
                    <a:pt x="7466" y="15045"/>
                    <a:pt x="7639" y="15073"/>
                    <a:pt x="7825" y="15099"/>
                  </a:cubicBezTo>
                  <a:cubicBezTo>
                    <a:pt x="8012" y="15126"/>
                    <a:pt x="8207" y="15149"/>
                    <a:pt x="8397" y="15166"/>
                  </a:cubicBezTo>
                  <a:lnTo>
                    <a:pt x="8585" y="12305"/>
                  </a:lnTo>
                  <a:cubicBezTo>
                    <a:pt x="8171" y="12305"/>
                    <a:pt x="7764" y="12319"/>
                    <a:pt x="7353" y="12359"/>
                  </a:cubicBezTo>
                  <a:cubicBezTo>
                    <a:pt x="6944" y="12398"/>
                    <a:pt x="6529" y="12460"/>
                    <a:pt x="6129" y="12538"/>
                  </a:cubicBezTo>
                  <a:close/>
                  <a:moveTo>
                    <a:pt x="9626" y="12350"/>
                  </a:moveTo>
                  <a:lnTo>
                    <a:pt x="9425" y="15216"/>
                  </a:lnTo>
                  <a:cubicBezTo>
                    <a:pt x="9582" y="15214"/>
                    <a:pt x="9737" y="15203"/>
                    <a:pt x="9894" y="15194"/>
                  </a:cubicBezTo>
                  <a:cubicBezTo>
                    <a:pt x="10050" y="15186"/>
                    <a:pt x="10213" y="15175"/>
                    <a:pt x="10368" y="15159"/>
                  </a:cubicBezTo>
                  <a:cubicBezTo>
                    <a:pt x="10671" y="14778"/>
                    <a:pt x="10949" y="14389"/>
                    <a:pt x="11199" y="13988"/>
                  </a:cubicBezTo>
                  <a:cubicBezTo>
                    <a:pt x="11449" y="13586"/>
                    <a:pt x="11670" y="13171"/>
                    <a:pt x="11866" y="12752"/>
                  </a:cubicBezTo>
                  <a:cubicBezTo>
                    <a:pt x="11505" y="12651"/>
                    <a:pt x="11137" y="12565"/>
                    <a:pt x="10763" y="12497"/>
                  </a:cubicBezTo>
                  <a:cubicBezTo>
                    <a:pt x="10389" y="12429"/>
                    <a:pt x="10011" y="12384"/>
                    <a:pt x="9626" y="12350"/>
                  </a:cubicBezTo>
                  <a:close/>
                  <a:moveTo>
                    <a:pt x="12825" y="13064"/>
                  </a:moveTo>
                  <a:cubicBezTo>
                    <a:pt x="12674" y="13385"/>
                    <a:pt x="12510" y="13697"/>
                    <a:pt x="12329" y="14009"/>
                  </a:cubicBezTo>
                  <a:cubicBezTo>
                    <a:pt x="12148" y="14321"/>
                    <a:pt x="11954" y="14631"/>
                    <a:pt x="11743" y="14932"/>
                  </a:cubicBezTo>
                  <a:cubicBezTo>
                    <a:pt x="12192" y="14825"/>
                    <a:pt x="12634" y="14684"/>
                    <a:pt x="13055" y="14518"/>
                  </a:cubicBezTo>
                  <a:cubicBezTo>
                    <a:pt x="13547" y="14324"/>
                    <a:pt x="14011" y="14095"/>
                    <a:pt x="14443" y="13829"/>
                  </a:cubicBezTo>
                  <a:cubicBezTo>
                    <a:pt x="14187" y="13681"/>
                    <a:pt x="13927" y="13541"/>
                    <a:pt x="13658" y="13413"/>
                  </a:cubicBezTo>
                  <a:cubicBezTo>
                    <a:pt x="13389" y="13285"/>
                    <a:pt x="13107" y="13170"/>
                    <a:pt x="12825" y="1306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00" name="Shape 10422">
              <a:extLst>
                <a:ext uri="{FF2B5EF4-FFF2-40B4-BE49-F238E27FC236}">
                  <a16:creationId xmlns:a16="http://schemas.microsoft.com/office/drawing/2014/main" xmlns="" id="{F8F42EB3-7E21-4363-8670-792BA931FB1B}"/>
                </a:ext>
              </a:extLst>
            </p:cNvPr>
            <p:cNvSpPr/>
            <p:nvPr/>
          </p:nvSpPr>
          <p:spPr>
            <a:xfrm>
              <a:off x="20005513" y="11848666"/>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1" name="Shape 10423">
              <a:extLst>
                <a:ext uri="{FF2B5EF4-FFF2-40B4-BE49-F238E27FC236}">
                  <a16:creationId xmlns:a16="http://schemas.microsoft.com/office/drawing/2014/main" xmlns="" id="{F6072A63-8D13-4E9E-8500-7E067C704EDF}"/>
                </a:ext>
              </a:extLst>
            </p:cNvPr>
            <p:cNvSpPr/>
            <p:nvPr/>
          </p:nvSpPr>
          <p:spPr>
            <a:xfrm>
              <a:off x="20278364" y="10951879"/>
              <a:ext cx="600731" cy="838468"/>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2" name="Shape 10424">
              <a:extLst>
                <a:ext uri="{FF2B5EF4-FFF2-40B4-BE49-F238E27FC236}">
                  <a16:creationId xmlns:a16="http://schemas.microsoft.com/office/drawing/2014/main" xmlns="" id="{335C4814-E0A8-4238-AE44-D1F1E3FEB132}"/>
                </a:ext>
              </a:extLst>
            </p:cNvPr>
            <p:cNvSpPr/>
            <p:nvPr/>
          </p:nvSpPr>
          <p:spPr>
            <a:xfrm>
              <a:off x="18922347" y="11328122"/>
              <a:ext cx="534330"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3" name="Shape 10425">
              <a:extLst>
                <a:ext uri="{FF2B5EF4-FFF2-40B4-BE49-F238E27FC236}">
                  <a16:creationId xmlns:a16="http://schemas.microsoft.com/office/drawing/2014/main" xmlns="" id="{679A79F8-9411-45F9-9C9D-6BC08AFF0396}"/>
                </a:ext>
              </a:extLst>
            </p:cNvPr>
            <p:cNvSpPr/>
            <p:nvPr/>
          </p:nvSpPr>
          <p:spPr>
            <a:xfrm>
              <a:off x="18412450" y="12553817"/>
              <a:ext cx="745366" cy="625836"/>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4" name="Shape 10426">
              <a:extLst>
                <a:ext uri="{FF2B5EF4-FFF2-40B4-BE49-F238E27FC236}">
                  <a16:creationId xmlns:a16="http://schemas.microsoft.com/office/drawing/2014/main" xmlns="" id="{C5646632-6881-4531-9A8A-F3F56E81C043}"/>
                </a:ext>
              </a:extLst>
            </p:cNvPr>
            <p:cNvSpPr/>
            <p:nvPr/>
          </p:nvSpPr>
          <p:spPr>
            <a:xfrm>
              <a:off x="17735944" y="12437854"/>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5" name="Shape 10427">
              <a:extLst>
                <a:ext uri="{FF2B5EF4-FFF2-40B4-BE49-F238E27FC236}">
                  <a16:creationId xmlns:a16="http://schemas.microsoft.com/office/drawing/2014/main" xmlns="" id="{19A7FB7B-80D7-4760-9FB8-F26FF969B94E}"/>
                </a:ext>
              </a:extLst>
            </p:cNvPr>
            <p:cNvSpPr/>
            <p:nvPr/>
          </p:nvSpPr>
          <p:spPr>
            <a:xfrm>
              <a:off x="18227288" y="11702041"/>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6" name="Shape 10428">
              <a:extLst>
                <a:ext uri="{FF2B5EF4-FFF2-40B4-BE49-F238E27FC236}">
                  <a16:creationId xmlns:a16="http://schemas.microsoft.com/office/drawing/2014/main" xmlns="" id="{915CE394-0E42-46AA-93F1-014D61969E0F}"/>
                </a:ext>
              </a:extLst>
            </p:cNvPr>
            <p:cNvSpPr/>
            <p:nvPr/>
          </p:nvSpPr>
          <p:spPr>
            <a:xfrm>
              <a:off x="20222346" y="13053979"/>
              <a:ext cx="570427" cy="64004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accent3"/>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7" name="Shape 10429">
              <a:extLst>
                <a:ext uri="{FF2B5EF4-FFF2-40B4-BE49-F238E27FC236}">
                  <a16:creationId xmlns:a16="http://schemas.microsoft.com/office/drawing/2014/main" xmlns="" id="{FBD29885-20C4-44CF-9F27-CC041F6F0769}"/>
                </a:ext>
              </a:extLst>
            </p:cNvPr>
            <p:cNvSpPr/>
            <p:nvPr/>
          </p:nvSpPr>
          <p:spPr>
            <a:xfrm>
              <a:off x="20917823" y="12545727"/>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8" name="Shape 10430">
              <a:extLst>
                <a:ext uri="{FF2B5EF4-FFF2-40B4-BE49-F238E27FC236}">
                  <a16:creationId xmlns:a16="http://schemas.microsoft.com/office/drawing/2014/main" xmlns="" id="{C30A8DEC-4B96-4926-9856-29A0EFD799CC}"/>
                </a:ext>
              </a:extLst>
            </p:cNvPr>
            <p:cNvSpPr/>
            <p:nvPr/>
          </p:nvSpPr>
          <p:spPr>
            <a:xfrm>
              <a:off x="15503343" y="5283845"/>
              <a:ext cx="387479" cy="449473"/>
            </a:xfrm>
            <a:custGeom>
              <a:avLst/>
              <a:gdLst/>
              <a:ahLst/>
              <a:cxnLst>
                <a:cxn ang="0">
                  <a:pos x="wd2" y="hd2"/>
                </a:cxn>
                <a:cxn ang="5400000">
                  <a:pos x="wd2" y="hd2"/>
                </a:cxn>
                <a:cxn ang="10800000">
                  <a:pos x="wd2" y="hd2"/>
                </a:cxn>
                <a:cxn ang="16200000">
                  <a:pos x="wd2" y="hd2"/>
                </a:cxn>
              </a:cxnLst>
              <a:rect l="0" t="0" r="r" b="b"/>
              <a:pathLst>
                <a:path w="21600" h="21600" extrusionOk="0">
                  <a:moveTo>
                    <a:pt x="10664" y="0"/>
                  </a:moveTo>
                  <a:lnTo>
                    <a:pt x="0" y="14712"/>
                  </a:lnTo>
                  <a:lnTo>
                    <a:pt x="12786" y="21600"/>
                  </a:lnTo>
                  <a:lnTo>
                    <a:pt x="21600" y="9440"/>
                  </a:lnTo>
                  <a:lnTo>
                    <a:pt x="20503" y="5300"/>
                  </a:lnTo>
                  <a:lnTo>
                    <a:pt x="10664" y="0"/>
                  </a:lnTo>
                  <a:close/>
                  <a:moveTo>
                    <a:pt x="12273" y="5578"/>
                  </a:moveTo>
                  <a:lnTo>
                    <a:pt x="16930" y="8086"/>
                  </a:lnTo>
                  <a:lnTo>
                    <a:pt x="16635" y="8492"/>
                  </a:lnTo>
                  <a:lnTo>
                    <a:pt x="11979" y="5984"/>
                  </a:lnTo>
                  <a:lnTo>
                    <a:pt x="12273" y="5578"/>
                  </a:lnTo>
                  <a:close/>
                  <a:moveTo>
                    <a:pt x="7043" y="8326"/>
                  </a:moveTo>
                  <a:lnTo>
                    <a:pt x="16357" y="13343"/>
                  </a:lnTo>
                  <a:lnTo>
                    <a:pt x="16071" y="13738"/>
                  </a:lnTo>
                  <a:lnTo>
                    <a:pt x="6757" y="8721"/>
                  </a:lnTo>
                  <a:lnTo>
                    <a:pt x="7043" y="8326"/>
                  </a:lnTo>
                  <a:close/>
                  <a:moveTo>
                    <a:pt x="5596" y="10322"/>
                  </a:moveTo>
                  <a:lnTo>
                    <a:pt x="14910" y="15339"/>
                  </a:lnTo>
                  <a:lnTo>
                    <a:pt x="14616" y="15745"/>
                  </a:lnTo>
                  <a:lnTo>
                    <a:pt x="5302" y="10728"/>
                  </a:lnTo>
                  <a:lnTo>
                    <a:pt x="5596" y="10322"/>
                  </a:lnTo>
                  <a:close/>
                  <a:moveTo>
                    <a:pt x="4150" y="12318"/>
                  </a:moveTo>
                  <a:lnTo>
                    <a:pt x="8807" y="14826"/>
                  </a:lnTo>
                  <a:lnTo>
                    <a:pt x="8512" y="15232"/>
                  </a:lnTo>
                  <a:lnTo>
                    <a:pt x="3856" y="12724"/>
                  </a:lnTo>
                  <a:lnTo>
                    <a:pt x="4150" y="12318"/>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9" name="Shape 10431">
              <a:extLst>
                <a:ext uri="{FF2B5EF4-FFF2-40B4-BE49-F238E27FC236}">
                  <a16:creationId xmlns:a16="http://schemas.microsoft.com/office/drawing/2014/main" xmlns="" id="{F21E113B-C726-461C-AE95-34D7090ACB74}"/>
                </a:ext>
              </a:extLst>
            </p:cNvPr>
            <p:cNvSpPr/>
            <p:nvPr/>
          </p:nvSpPr>
          <p:spPr>
            <a:xfrm>
              <a:off x="15809852" y="8962276"/>
              <a:ext cx="461009" cy="979051"/>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0" name="Shape 10432">
              <a:extLst>
                <a:ext uri="{FF2B5EF4-FFF2-40B4-BE49-F238E27FC236}">
                  <a16:creationId xmlns:a16="http://schemas.microsoft.com/office/drawing/2014/main" xmlns="" id="{02FAEE22-E52C-4E5B-A06C-A46D776027A1}"/>
                </a:ext>
              </a:extLst>
            </p:cNvPr>
            <p:cNvSpPr/>
            <p:nvPr/>
          </p:nvSpPr>
          <p:spPr>
            <a:xfrm>
              <a:off x="21191605" y="12910829"/>
              <a:ext cx="410124" cy="45400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1" name="Shape 10433">
              <a:extLst>
                <a:ext uri="{FF2B5EF4-FFF2-40B4-BE49-F238E27FC236}">
                  <a16:creationId xmlns:a16="http://schemas.microsoft.com/office/drawing/2014/main" xmlns="" id="{F4069BD4-74B8-447E-AA84-53C750A5DC39}"/>
                </a:ext>
              </a:extLst>
            </p:cNvPr>
            <p:cNvSpPr/>
            <p:nvPr/>
          </p:nvSpPr>
          <p:spPr>
            <a:xfrm>
              <a:off x="19604389" y="11273229"/>
              <a:ext cx="550222" cy="527129"/>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2" name="Shape 10434">
              <a:extLst>
                <a:ext uri="{FF2B5EF4-FFF2-40B4-BE49-F238E27FC236}">
                  <a16:creationId xmlns:a16="http://schemas.microsoft.com/office/drawing/2014/main" xmlns="" id="{C1FD57B5-1F65-456C-B50D-BE924E569D86}"/>
                </a:ext>
              </a:extLst>
            </p:cNvPr>
            <p:cNvSpPr/>
            <p:nvPr/>
          </p:nvSpPr>
          <p:spPr>
            <a:xfrm>
              <a:off x="17735944" y="13251073"/>
              <a:ext cx="392649" cy="420201"/>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3" name="Shape 10435">
              <a:extLst>
                <a:ext uri="{FF2B5EF4-FFF2-40B4-BE49-F238E27FC236}">
                  <a16:creationId xmlns:a16="http://schemas.microsoft.com/office/drawing/2014/main" xmlns="" id="{7B75525F-B77D-4600-9C67-2E5825E634E3}"/>
                </a:ext>
              </a:extLst>
            </p:cNvPr>
            <p:cNvSpPr/>
            <p:nvPr/>
          </p:nvSpPr>
          <p:spPr>
            <a:xfrm>
              <a:off x="17721874" y="12822423"/>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0293" y="15970"/>
                  </a:lnTo>
                  <a:lnTo>
                    <a:pt x="15488" y="19464"/>
                  </a:lnTo>
                  <a:cubicBezTo>
                    <a:pt x="15488" y="19464"/>
                    <a:pt x="21600" y="21600"/>
                    <a:pt x="21600" y="21600"/>
                  </a:cubicBezTo>
                  <a:close/>
                  <a:moveTo>
                    <a:pt x="14827" y="18782"/>
                  </a:moveTo>
                  <a:lnTo>
                    <a:pt x="19632" y="15288"/>
                  </a:lnTo>
                  <a:lnTo>
                    <a:pt x="7863" y="3150"/>
                  </a:lnTo>
                  <a:lnTo>
                    <a:pt x="3055" y="6642"/>
                  </a:lnTo>
                  <a:cubicBezTo>
                    <a:pt x="3055" y="6642"/>
                    <a:pt x="14827" y="18782"/>
                    <a:pt x="14827" y="18782"/>
                  </a:cubicBezTo>
                  <a:close/>
                  <a:moveTo>
                    <a:pt x="2382" y="5946"/>
                  </a:moveTo>
                  <a:lnTo>
                    <a:pt x="7189" y="2455"/>
                  </a:lnTo>
                  <a:lnTo>
                    <a:pt x="4808" y="0"/>
                  </a:lnTo>
                  <a:lnTo>
                    <a:pt x="0" y="3492"/>
                  </a:lnTo>
                  <a:cubicBezTo>
                    <a:pt x="0" y="3492"/>
                    <a:pt x="2382" y="5946"/>
                    <a:pt x="2382"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4" name="Shape 10436">
              <a:extLst>
                <a:ext uri="{FF2B5EF4-FFF2-40B4-BE49-F238E27FC236}">
                  <a16:creationId xmlns:a16="http://schemas.microsoft.com/office/drawing/2014/main" xmlns="" id="{A8BE5926-92B2-40D0-8E59-CADB92F8998F}"/>
                </a:ext>
              </a:extLst>
            </p:cNvPr>
            <p:cNvSpPr/>
            <p:nvPr/>
          </p:nvSpPr>
          <p:spPr>
            <a:xfrm>
              <a:off x="18877036" y="1214536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5" name="Shape 10437">
              <a:extLst>
                <a:ext uri="{FF2B5EF4-FFF2-40B4-BE49-F238E27FC236}">
                  <a16:creationId xmlns:a16="http://schemas.microsoft.com/office/drawing/2014/main" xmlns="" id="{C332503B-1CE7-4246-BF82-A9CD39A45E72}"/>
                </a:ext>
              </a:extLst>
            </p:cNvPr>
            <p:cNvSpPr/>
            <p:nvPr/>
          </p:nvSpPr>
          <p:spPr>
            <a:xfrm>
              <a:off x="21489022" y="13379422"/>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6" name="Shape 10438">
              <a:extLst>
                <a:ext uri="{FF2B5EF4-FFF2-40B4-BE49-F238E27FC236}">
                  <a16:creationId xmlns:a16="http://schemas.microsoft.com/office/drawing/2014/main" xmlns="" id="{27E4FB6B-8DB7-46CD-982B-0942934EA8E7}"/>
                </a:ext>
              </a:extLst>
            </p:cNvPr>
            <p:cNvSpPr/>
            <p:nvPr/>
          </p:nvSpPr>
          <p:spPr>
            <a:xfrm>
              <a:off x="15223803" y="10656379"/>
              <a:ext cx="1231113" cy="1023300"/>
            </a:xfrm>
            <a:custGeom>
              <a:avLst/>
              <a:gdLst/>
              <a:ahLst/>
              <a:cxnLst>
                <a:cxn ang="0">
                  <a:pos x="wd2" y="hd2"/>
                </a:cxn>
                <a:cxn ang="5400000">
                  <a:pos x="wd2" y="hd2"/>
                </a:cxn>
                <a:cxn ang="10800000">
                  <a:pos x="wd2" y="hd2"/>
                </a:cxn>
                <a:cxn ang="16200000">
                  <a:pos x="wd2" y="hd2"/>
                </a:cxn>
              </a:cxnLst>
              <a:rect l="0" t="0" r="r" b="b"/>
              <a:pathLst>
                <a:path w="21307" h="21059" extrusionOk="0">
                  <a:moveTo>
                    <a:pt x="5067" y="1749"/>
                  </a:moveTo>
                  <a:cubicBezTo>
                    <a:pt x="3889" y="2785"/>
                    <a:pt x="2937" y="4241"/>
                    <a:pt x="2399" y="6003"/>
                  </a:cubicBezTo>
                  <a:cubicBezTo>
                    <a:pt x="1643" y="8477"/>
                    <a:pt x="1865" y="11193"/>
                    <a:pt x="2990" y="13443"/>
                  </a:cubicBezTo>
                  <a:cubicBezTo>
                    <a:pt x="3870" y="15269"/>
                    <a:pt x="5250" y="16660"/>
                    <a:pt x="6922" y="17380"/>
                  </a:cubicBezTo>
                  <a:cubicBezTo>
                    <a:pt x="9451" y="18469"/>
                    <a:pt x="12240" y="17907"/>
                    <a:pt x="14313" y="15902"/>
                  </a:cubicBezTo>
                  <a:cubicBezTo>
                    <a:pt x="18651" y="11419"/>
                    <a:pt x="17421" y="3049"/>
                    <a:pt x="12063" y="579"/>
                  </a:cubicBezTo>
                  <a:cubicBezTo>
                    <a:pt x="9632" y="-541"/>
                    <a:pt x="7029" y="23"/>
                    <a:pt x="5067" y="1749"/>
                  </a:cubicBezTo>
                  <a:close/>
                  <a:moveTo>
                    <a:pt x="144" y="7068"/>
                  </a:moveTo>
                  <a:cubicBezTo>
                    <a:pt x="-293" y="10041"/>
                    <a:pt x="271" y="13044"/>
                    <a:pt x="1730" y="15514"/>
                  </a:cubicBezTo>
                  <a:cubicBezTo>
                    <a:pt x="3189" y="17983"/>
                    <a:pt x="5373" y="19622"/>
                    <a:pt x="7873" y="20141"/>
                  </a:cubicBezTo>
                  <a:cubicBezTo>
                    <a:pt x="10701" y="20728"/>
                    <a:pt x="13525" y="19736"/>
                    <a:pt x="15626" y="17641"/>
                  </a:cubicBezTo>
                  <a:cubicBezTo>
                    <a:pt x="16046" y="17222"/>
                    <a:pt x="16441" y="16756"/>
                    <a:pt x="16797" y="16252"/>
                  </a:cubicBezTo>
                  <a:lnTo>
                    <a:pt x="17968" y="17912"/>
                  </a:lnTo>
                  <a:lnTo>
                    <a:pt x="15970" y="19906"/>
                  </a:lnTo>
                  <a:lnTo>
                    <a:pt x="16784" y="21059"/>
                  </a:lnTo>
                  <a:lnTo>
                    <a:pt x="21307" y="16546"/>
                  </a:lnTo>
                  <a:lnTo>
                    <a:pt x="20493" y="15393"/>
                  </a:lnTo>
                  <a:lnTo>
                    <a:pt x="18938" y="16945"/>
                  </a:lnTo>
                  <a:lnTo>
                    <a:pt x="17563" y="14996"/>
                  </a:lnTo>
                  <a:cubicBezTo>
                    <a:pt x="17707" y="14724"/>
                    <a:pt x="17841" y="14443"/>
                    <a:pt x="17966" y="14154"/>
                  </a:cubicBezTo>
                  <a:cubicBezTo>
                    <a:pt x="18091" y="13865"/>
                    <a:pt x="18199" y="13564"/>
                    <a:pt x="18303" y="13258"/>
                  </a:cubicBezTo>
                  <a:lnTo>
                    <a:pt x="17136" y="12695"/>
                  </a:lnTo>
                  <a:cubicBezTo>
                    <a:pt x="15692" y="16940"/>
                    <a:pt x="11882" y="19451"/>
                    <a:pt x="8083" y="18662"/>
                  </a:cubicBezTo>
                  <a:cubicBezTo>
                    <a:pt x="5916" y="18212"/>
                    <a:pt x="4035" y="16786"/>
                    <a:pt x="2770" y="14645"/>
                  </a:cubicBezTo>
                  <a:cubicBezTo>
                    <a:pt x="1505" y="12505"/>
                    <a:pt x="1009" y="9912"/>
                    <a:pt x="1387" y="7335"/>
                  </a:cubicBezTo>
                  <a:lnTo>
                    <a:pt x="144" y="7068"/>
                  </a:lnTo>
                  <a:close/>
                  <a:moveTo>
                    <a:pt x="5335" y="2836"/>
                  </a:moveTo>
                  <a:cubicBezTo>
                    <a:pt x="5642" y="2547"/>
                    <a:pt x="5974" y="2293"/>
                    <a:pt x="6321" y="2073"/>
                  </a:cubicBezTo>
                  <a:cubicBezTo>
                    <a:pt x="6377" y="2351"/>
                    <a:pt x="6420" y="2627"/>
                    <a:pt x="6454" y="2907"/>
                  </a:cubicBezTo>
                  <a:cubicBezTo>
                    <a:pt x="6487" y="3186"/>
                    <a:pt x="6509" y="3472"/>
                    <a:pt x="6523" y="3752"/>
                  </a:cubicBezTo>
                  <a:cubicBezTo>
                    <a:pt x="6184" y="3732"/>
                    <a:pt x="5841" y="3730"/>
                    <a:pt x="5502" y="3738"/>
                  </a:cubicBezTo>
                  <a:cubicBezTo>
                    <a:pt x="5162" y="3746"/>
                    <a:pt x="4828" y="3762"/>
                    <a:pt x="4490" y="3798"/>
                  </a:cubicBezTo>
                  <a:cubicBezTo>
                    <a:pt x="4750" y="3451"/>
                    <a:pt x="5029" y="3125"/>
                    <a:pt x="5335" y="2836"/>
                  </a:cubicBezTo>
                  <a:close/>
                  <a:moveTo>
                    <a:pt x="3789" y="4905"/>
                  </a:moveTo>
                  <a:cubicBezTo>
                    <a:pt x="4243" y="4824"/>
                    <a:pt x="4700" y="4769"/>
                    <a:pt x="5156" y="4743"/>
                  </a:cubicBezTo>
                  <a:cubicBezTo>
                    <a:pt x="5613" y="4717"/>
                    <a:pt x="6071" y="4719"/>
                    <a:pt x="6527" y="4747"/>
                  </a:cubicBezTo>
                  <a:cubicBezTo>
                    <a:pt x="6511" y="5144"/>
                    <a:pt x="6474" y="5550"/>
                    <a:pt x="6416" y="5942"/>
                  </a:cubicBezTo>
                  <a:cubicBezTo>
                    <a:pt x="6358" y="6335"/>
                    <a:pt x="6283" y="6721"/>
                    <a:pt x="6183" y="7106"/>
                  </a:cubicBezTo>
                  <a:lnTo>
                    <a:pt x="3360" y="5892"/>
                  </a:lnTo>
                  <a:cubicBezTo>
                    <a:pt x="3422" y="5724"/>
                    <a:pt x="3488" y="5550"/>
                    <a:pt x="3560" y="5387"/>
                  </a:cubicBezTo>
                  <a:cubicBezTo>
                    <a:pt x="3631" y="5225"/>
                    <a:pt x="3708" y="5061"/>
                    <a:pt x="3789" y="4905"/>
                  </a:cubicBezTo>
                  <a:close/>
                  <a:moveTo>
                    <a:pt x="7125" y="1576"/>
                  </a:moveTo>
                  <a:cubicBezTo>
                    <a:pt x="7809" y="1266"/>
                    <a:pt x="8522" y="1092"/>
                    <a:pt x="9239" y="1059"/>
                  </a:cubicBezTo>
                  <a:cubicBezTo>
                    <a:pt x="9955" y="1027"/>
                    <a:pt x="10670" y="1128"/>
                    <a:pt x="11369" y="1373"/>
                  </a:cubicBezTo>
                  <a:lnTo>
                    <a:pt x="10388" y="4605"/>
                  </a:lnTo>
                  <a:cubicBezTo>
                    <a:pt x="9901" y="4414"/>
                    <a:pt x="9404" y="4249"/>
                    <a:pt x="8905" y="4120"/>
                  </a:cubicBezTo>
                  <a:cubicBezTo>
                    <a:pt x="8407" y="3990"/>
                    <a:pt x="7907" y="3891"/>
                    <a:pt x="7401" y="3825"/>
                  </a:cubicBezTo>
                  <a:cubicBezTo>
                    <a:pt x="7389" y="3447"/>
                    <a:pt x="7359" y="3069"/>
                    <a:pt x="7314" y="2692"/>
                  </a:cubicBezTo>
                  <a:cubicBezTo>
                    <a:pt x="7268" y="2315"/>
                    <a:pt x="7205" y="1950"/>
                    <a:pt x="7125" y="1576"/>
                  </a:cubicBezTo>
                  <a:close/>
                  <a:moveTo>
                    <a:pt x="3066" y="6828"/>
                  </a:moveTo>
                  <a:lnTo>
                    <a:pt x="5890" y="8043"/>
                  </a:lnTo>
                  <a:cubicBezTo>
                    <a:pt x="5764" y="8384"/>
                    <a:pt x="5625" y="8719"/>
                    <a:pt x="5468" y="9040"/>
                  </a:cubicBezTo>
                  <a:cubicBezTo>
                    <a:pt x="5310" y="9361"/>
                    <a:pt x="5138" y="9666"/>
                    <a:pt x="4951" y="9963"/>
                  </a:cubicBezTo>
                  <a:cubicBezTo>
                    <a:pt x="4578" y="9629"/>
                    <a:pt x="4217" y="9279"/>
                    <a:pt x="3874" y="8902"/>
                  </a:cubicBezTo>
                  <a:cubicBezTo>
                    <a:pt x="3532" y="8525"/>
                    <a:pt x="3202" y="8131"/>
                    <a:pt x="2893" y="7713"/>
                  </a:cubicBezTo>
                  <a:cubicBezTo>
                    <a:pt x="2915" y="7565"/>
                    <a:pt x="2943" y="7407"/>
                    <a:pt x="2973" y="7261"/>
                  </a:cubicBezTo>
                  <a:cubicBezTo>
                    <a:pt x="3002" y="7114"/>
                    <a:pt x="3030" y="6974"/>
                    <a:pt x="3066" y="6828"/>
                  </a:cubicBezTo>
                  <a:close/>
                  <a:moveTo>
                    <a:pt x="2802" y="9057"/>
                  </a:moveTo>
                  <a:cubicBezTo>
                    <a:pt x="3052" y="9361"/>
                    <a:pt x="3305" y="9650"/>
                    <a:pt x="3574" y="9930"/>
                  </a:cubicBezTo>
                  <a:cubicBezTo>
                    <a:pt x="3843" y="10210"/>
                    <a:pt x="4128" y="10480"/>
                    <a:pt x="4413" y="10736"/>
                  </a:cubicBezTo>
                  <a:cubicBezTo>
                    <a:pt x="4240" y="10959"/>
                    <a:pt x="4046" y="11175"/>
                    <a:pt x="3855" y="11378"/>
                  </a:cubicBezTo>
                  <a:cubicBezTo>
                    <a:pt x="3663" y="11581"/>
                    <a:pt x="3470" y="11770"/>
                    <a:pt x="3263" y="11952"/>
                  </a:cubicBezTo>
                  <a:cubicBezTo>
                    <a:pt x="3107" y="11485"/>
                    <a:pt x="2988" y="11008"/>
                    <a:pt x="2911" y="10524"/>
                  </a:cubicBezTo>
                  <a:cubicBezTo>
                    <a:pt x="2833" y="10040"/>
                    <a:pt x="2802" y="9549"/>
                    <a:pt x="2802" y="9057"/>
                  </a:cubicBezTo>
                  <a:close/>
                  <a:moveTo>
                    <a:pt x="7388" y="4837"/>
                  </a:moveTo>
                  <a:cubicBezTo>
                    <a:pt x="7847" y="4900"/>
                    <a:pt x="8303" y="4999"/>
                    <a:pt x="8754" y="5117"/>
                  </a:cubicBezTo>
                  <a:cubicBezTo>
                    <a:pt x="9206" y="5235"/>
                    <a:pt x="9653" y="5369"/>
                    <a:pt x="10094" y="5542"/>
                  </a:cubicBezTo>
                  <a:lnTo>
                    <a:pt x="9216" y="8417"/>
                  </a:lnTo>
                  <a:lnTo>
                    <a:pt x="6979" y="7447"/>
                  </a:lnTo>
                  <a:cubicBezTo>
                    <a:pt x="7094" y="7020"/>
                    <a:pt x="7183" y="6594"/>
                    <a:pt x="7252" y="6158"/>
                  </a:cubicBezTo>
                  <a:cubicBezTo>
                    <a:pt x="7322" y="5723"/>
                    <a:pt x="7367" y="5277"/>
                    <a:pt x="7388" y="4837"/>
                  </a:cubicBezTo>
                  <a:close/>
                  <a:moveTo>
                    <a:pt x="12165" y="1714"/>
                  </a:moveTo>
                  <a:cubicBezTo>
                    <a:pt x="12833" y="2061"/>
                    <a:pt x="13444" y="2536"/>
                    <a:pt x="13976" y="3109"/>
                  </a:cubicBezTo>
                  <a:cubicBezTo>
                    <a:pt x="14508" y="3681"/>
                    <a:pt x="14966" y="4358"/>
                    <a:pt x="15323" y="5119"/>
                  </a:cubicBezTo>
                  <a:cubicBezTo>
                    <a:pt x="15135" y="5279"/>
                    <a:pt x="14943" y="5447"/>
                    <a:pt x="14767" y="5623"/>
                  </a:cubicBezTo>
                  <a:cubicBezTo>
                    <a:pt x="14452" y="5937"/>
                    <a:pt x="14161" y="6275"/>
                    <a:pt x="13887" y="6637"/>
                  </a:cubicBezTo>
                  <a:cubicBezTo>
                    <a:pt x="13463" y="6300"/>
                    <a:pt x="13028" y="5990"/>
                    <a:pt x="12576" y="5708"/>
                  </a:cubicBezTo>
                  <a:cubicBezTo>
                    <a:pt x="12124" y="5426"/>
                    <a:pt x="11652" y="5180"/>
                    <a:pt x="11175" y="4955"/>
                  </a:cubicBezTo>
                  <a:lnTo>
                    <a:pt x="12165" y="1714"/>
                  </a:lnTo>
                  <a:close/>
                  <a:moveTo>
                    <a:pt x="6686" y="8384"/>
                  </a:moveTo>
                  <a:lnTo>
                    <a:pt x="8930" y="9363"/>
                  </a:lnTo>
                  <a:lnTo>
                    <a:pt x="8095" y="12077"/>
                  </a:lnTo>
                  <a:cubicBezTo>
                    <a:pt x="7666" y="11873"/>
                    <a:pt x="7252" y="11647"/>
                    <a:pt x="6844" y="11394"/>
                  </a:cubicBezTo>
                  <a:cubicBezTo>
                    <a:pt x="6436" y="11141"/>
                    <a:pt x="6042" y="10862"/>
                    <a:pt x="5658" y="10561"/>
                  </a:cubicBezTo>
                  <a:cubicBezTo>
                    <a:pt x="5865" y="10226"/>
                    <a:pt x="6051" y="9868"/>
                    <a:pt x="6224" y="9506"/>
                  </a:cubicBezTo>
                  <a:cubicBezTo>
                    <a:pt x="6396" y="9143"/>
                    <a:pt x="6550" y="8768"/>
                    <a:pt x="6686" y="8384"/>
                  </a:cubicBezTo>
                  <a:close/>
                  <a:moveTo>
                    <a:pt x="5128" y="11344"/>
                  </a:moveTo>
                  <a:cubicBezTo>
                    <a:pt x="5549" y="11678"/>
                    <a:pt x="5983" y="11984"/>
                    <a:pt x="6431" y="12263"/>
                  </a:cubicBezTo>
                  <a:cubicBezTo>
                    <a:pt x="6880" y="12542"/>
                    <a:pt x="7336" y="12800"/>
                    <a:pt x="7808" y="13023"/>
                  </a:cubicBezTo>
                  <a:lnTo>
                    <a:pt x="6820" y="16246"/>
                  </a:lnTo>
                  <a:cubicBezTo>
                    <a:pt x="6157" y="15901"/>
                    <a:pt x="5551" y="15437"/>
                    <a:pt x="5023" y="14871"/>
                  </a:cubicBezTo>
                  <a:cubicBezTo>
                    <a:pt x="4495" y="14304"/>
                    <a:pt x="4047" y="13632"/>
                    <a:pt x="3690" y="12880"/>
                  </a:cubicBezTo>
                  <a:cubicBezTo>
                    <a:pt x="3863" y="12732"/>
                    <a:pt x="4034" y="12588"/>
                    <a:pt x="4196" y="12426"/>
                  </a:cubicBezTo>
                  <a:cubicBezTo>
                    <a:pt x="4362" y="12260"/>
                    <a:pt x="4521" y="12077"/>
                    <a:pt x="4677" y="11896"/>
                  </a:cubicBezTo>
                  <a:cubicBezTo>
                    <a:pt x="4831" y="11716"/>
                    <a:pt x="4984" y="11536"/>
                    <a:pt x="5128" y="11344"/>
                  </a:cubicBezTo>
                  <a:close/>
                  <a:moveTo>
                    <a:pt x="10890" y="5883"/>
                  </a:moveTo>
                  <a:cubicBezTo>
                    <a:pt x="11322" y="6088"/>
                    <a:pt x="11745" y="6330"/>
                    <a:pt x="12155" y="6586"/>
                  </a:cubicBezTo>
                  <a:cubicBezTo>
                    <a:pt x="12566" y="6841"/>
                    <a:pt x="12970" y="7117"/>
                    <a:pt x="13357" y="7420"/>
                  </a:cubicBezTo>
                  <a:cubicBezTo>
                    <a:pt x="13134" y="7775"/>
                    <a:pt x="12924" y="8140"/>
                    <a:pt x="12741" y="8526"/>
                  </a:cubicBezTo>
                  <a:cubicBezTo>
                    <a:pt x="12557" y="8911"/>
                    <a:pt x="12392" y="9315"/>
                    <a:pt x="12250" y="9727"/>
                  </a:cubicBezTo>
                  <a:lnTo>
                    <a:pt x="10012" y="8758"/>
                  </a:lnTo>
                  <a:lnTo>
                    <a:pt x="10890" y="5883"/>
                  </a:lnTo>
                  <a:close/>
                  <a:moveTo>
                    <a:pt x="9726" y="9704"/>
                  </a:moveTo>
                  <a:lnTo>
                    <a:pt x="11963" y="10674"/>
                  </a:lnTo>
                  <a:cubicBezTo>
                    <a:pt x="11858" y="11075"/>
                    <a:pt x="11775" y="11483"/>
                    <a:pt x="11711" y="11891"/>
                  </a:cubicBezTo>
                  <a:cubicBezTo>
                    <a:pt x="11647" y="12299"/>
                    <a:pt x="11605" y="12707"/>
                    <a:pt x="11582" y="13121"/>
                  </a:cubicBezTo>
                  <a:cubicBezTo>
                    <a:pt x="11125" y="13057"/>
                    <a:pt x="10671" y="12969"/>
                    <a:pt x="10223" y="12851"/>
                  </a:cubicBezTo>
                  <a:cubicBezTo>
                    <a:pt x="9773" y="12733"/>
                    <a:pt x="9330" y="12589"/>
                    <a:pt x="8891" y="12417"/>
                  </a:cubicBezTo>
                  <a:lnTo>
                    <a:pt x="9726" y="9704"/>
                  </a:lnTo>
                  <a:close/>
                  <a:moveTo>
                    <a:pt x="15110" y="6653"/>
                  </a:moveTo>
                  <a:cubicBezTo>
                    <a:pt x="15286" y="6465"/>
                    <a:pt x="15468" y="6291"/>
                    <a:pt x="15660" y="6121"/>
                  </a:cubicBezTo>
                  <a:cubicBezTo>
                    <a:pt x="15809" y="6562"/>
                    <a:pt x="15931" y="7009"/>
                    <a:pt x="16010" y="7466"/>
                  </a:cubicBezTo>
                  <a:cubicBezTo>
                    <a:pt x="16090" y="7922"/>
                    <a:pt x="16131" y="8379"/>
                    <a:pt x="16141" y="8842"/>
                  </a:cubicBezTo>
                  <a:cubicBezTo>
                    <a:pt x="15901" y="8554"/>
                    <a:pt x="15654" y="8277"/>
                    <a:pt x="15397" y="8010"/>
                  </a:cubicBezTo>
                  <a:cubicBezTo>
                    <a:pt x="15141" y="7743"/>
                    <a:pt x="14873" y="7490"/>
                    <a:pt x="14601" y="7245"/>
                  </a:cubicBezTo>
                  <a:cubicBezTo>
                    <a:pt x="14764" y="7040"/>
                    <a:pt x="14933" y="6842"/>
                    <a:pt x="15110" y="6653"/>
                  </a:cubicBezTo>
                  <a:close/>
                  <a:moveTo>
                    <a:pt x="8605" y="13364"/>
                  </a:moveTo>
                  <a:cubicBezTo>
                    <a:pt x="9087" y="13554"/>
                    <a:pt x="9570" y="13710"/>
                    <a:pt x="10065" y="13838"/>
                  </a:cubicBezTo>
                  <a:cubicBezTo>
                    <a:pt x="10559" y="13967"/>
                    <a:pt x="11066" y="14066"/>
                    <a:pt x="11569" y="14133"/>
                  </a:cubicBezTo>
                  <a:cubicBezTo>
                    <a:pt x="11579" y="14514"/>
                    <a:pt x="11603" y="14895"/>
                    <a:pt x="11648" y="15274"/>
                  </a:cubicBezTo>
                  <a:cubicBezTo>
                    <a:pt x="11692" y="15654"/>
                    <a:pt x="11756" y="16032"/>
                    <a:pt x="11835" y="16408"/>
                  </a:cubicBezTo>
                  <a:cubicBezTo>
                    <a:pt x="11155" y="16713"/>
                    <a:pt x="10449" y="16878"/>
                    <a:pt x="9738" y="16909"/>
                  </a:cubicBezTo>
                  <a:cubicBezTo>
                    <a:pt x="9027" y="16939"/>
                    <a:pt x="8310" y="16829"/>
                    <a:pt x="7616" y="16587"/>
                  </a:cubicBezTo>
                  <a:lnTo>
                    <a:pt x="8605" y="13364"/>
                  </a:lnTo>
                  <a:close/>
                  <a:moveTo>
                    <a:pt x="14057" y="8008"/>
                  </a:moveTo>
                  <a:cubicBezTo>
                    <a:pt x="14422" y="8336"/>
                    <a:pt x="14775" y="8688"/>
                    <a:pt x="15111" y="9058"/>
                  </a:cubicBezTo>
                  <a:cubicBezTo>
                    <a:pt x="15447" y="9427"/>
                    <a:pt x="15766" y="9826"/>
                    <a:pt x="16070" y="10235"/>
                  </a:cubicBezTo>
                  <a:cubicBezTo>
                    <a:pt x="16047" y="10415"/>
                    <a:pt x="16018" y="10583"/>
                    <a:pt x="15985" y="10761"/>
                  </a:cubicBezTo>
                  <a:cubicBezTo>
                    <a:pt x="15951" y="10940"/>
                    <a:pt x="15911" y="11124"/>
                    <a:pt x="15868" y="11301"/>
                  </a:cubicBezTo>
                  <a:lnTo>
                    <a:pt x="13053" y="10078"/>
                  </a:lnTo>
                  <a:cubicBezTo>
                    <a:pt x="13184" y="9710"/>
                    <a:pt x="13327" y="9355"/>
                    <a:pt x="13495" y="9009"/>
                  </a:cubicBezTo>
                  <a:cubicBezTo>
                    <a:pt x="13664" y="8665"/>
                    <a:pt x="13854" y="8326"/>
                    <a:pt x="14057" y="8008"/>
                  </a:cubicBezTo>
                  <a:close/>
                  <a:moveTo>
                    <a:pt x="12766" y="11024"/>
                  </a:moveTo>
                  <a:lnTo>
                    <a:pt x="15589" y="12239"/>
                  </a:lnTo>
                  <a:cubicBezTo>
                    <a:pt x="15538" y="12378"/>
                    <a:pt x="15478" y="12511"/>
                    <a:pt x="15420" y="12645"/>
                  </a:cubicBezTo>
                  <a:cubicBezTo>
                    <a:pt x="15362" y="12780"/>
                    <a:pt x="15300" y="12919"/>
                    <a:pt x="15235" y="13050"/>
                  </a:cubicBezTo>
                  <a:cubicBezTo>
                    <a:pt x="14772" y="13134"/>
                    <a:pt x="14310" y="13191"/>
                    <a:pt x="13844" y="13218"/>
                  </a:cubicBezTo>
                  <a:cubicBezTo>
                    <a:pt x="13378" y="13245"/>
                    <a:pt x="12908" y="13241"/>
                    <a:pt x="12443" y="13211"/>
                  </a:cubicBezTo>
                  <a:cubicBezTo>
                    <a:pt x="12460" y="12841"/>
                    <a:pt x="12494" y="12472"/>
                    <a:pt x="12547" y="12107"/>
                  </a:cubicBezTo>
                  <a:cubicBezTo>
                    <a:pt x="12600" y="11742"/>
                    <a:pt x="12676" y="11384"/>
                    <a:pt x="12766" y="11024"/>
                  </a:cubicBezTo>
                  <a:close/>
                  <a:moveTo>
                    <a:pt x="12438" y="14214"/>
                  </a:moveTo>
                  <a:cubicBezTo>
                    <a:pt x="12795" y="14237"/>
                    <a:pt x="13149" y="14242"/>
                    <a:pt x="13506" y="14233"/>
                  </a:cubicBezTo>
                  <a:cubicBezTo>
                    <a:pt x="13864" y="14224"/>
                    <a:pt x="14224" y="14202"/>
                    <a:pt x="14580" y="14161"/>
                  </a:cubicBezTo>
                  <a:cubicBezTo>
                    <a:pt x="14335" y="14508"/>
                    <a:pt x="14059" y="14833"/>
                    <a:pt x="13766" y="15126"/>
                  </a:cubicBezTo>
                  <a:cubicBezTo>
                    <a:pt x="13423" y="15468"/>
                    <a:pt x="13055" y="15770"/>
                    <a:pt x="12662" y="16024"/>
                  </a:cubicBezTo>
                  <a:cubicBezTo>
                    <a:pt x="12600" y="15725"/>
                    <a:pt x="12549" y="15426"/>
                    <a:pt x="12511" y="15125"/>
                  </a:cubicBezTo>
                  <a:cubicBezTo>
                    <a:pt x="12473" y="14823"/>
                    <a:pt x="12451" y="14517"/>
                    <a:pt x="12438" y="1421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7" name="Shape 10439">
              <a:extLst>
                <a:ext uri="{FF2B5EF4-FFF2-40B4-BE49-F238E27FC236}">
                  <a16:creationId xmlns:a16="http://schemas.microsoft.com/office/drawing/2014/main" xmlns="" id="{03F695BA-BEFD-43FD-8626-2D0E43E7AAE9}"/>
                </a:ext>
              </a:extLst>
            </p:cNvPr>
            <p:cNvSpPr/>
            <p:nvPr/>
          </p:nvSpPr>
          <p:spPr>
            <a:xfrm>
              <a:off x="15028523" y="10196678"/>
              <a:ext cx="417298" cy="446578"/>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8" name="Shape 10440">
              <a:extLst>
                <a:ext uri="{FF2B5EF4-FFF2-40B4-BE49-F238E27FC236}">
                  <a16:creationId xmlns:a16="http://schemas.microsoft.com/office/drawing/2014/main" xmlns="" id="{CC171924-88A2-47AD-8532-83AD3505BA73}"/>
                </a:ext>
              </a:extLst>
            </p:cNvPr>
            <p:cNvSpPr/>
            <p:nvPr/>
          </p:nvSpPr>
          <p:spPr>
            <a:xfrm>
              <a:off x="16217782" y="994407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9" name="Shape 10441">
              <a:extLst>
                <a:ext uri="{FF2B5EF4-FFF2-40B4-BE49-F238E27FC236}">
                  <a16:creationId xmlns:a16="http://schemas.microsoft.com/office/drawing/2014/main" xmlns="" id="{04DEB2E3-EC28-4EC1-B94B-887ED991A755}"/>
                </a:ext>
              </a:extLst>
            </p:cNvPr>
            <p:cNvSpPr/>
            <p:nvPr/>
          </p:nvSpPr>
          <p:spPr>
            <a:xfrm>
              <a:off x="14782479" y="8405887"/>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0" name="Shape 10442">
              <a:extLst>
                <a:ext uri="{FF2B5EF4-FFF2-40B4-BE49-F238E27FC236}">
                  <a16:creationId xmlns:a16="http://schemas.microsoft.com/office/drawing/2014/main" xmlns="" id="{6ABD6186-EFFA-497A-BE0B-E3EE39C8B096}"/>
                </a:ext>
              </a:extLst>
            </p:cNvPr>
            <p:cNvSpPr/>
            <p:nvPr/>
          </p:nvSpPr>
          <p:spPr>
            <a:xfrm>
              <a:off x="16163586" y="9475903"/>
              <a:ext cx="425669" cy="396235"/>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1" name="Shape 10443">
              <a:extLst>
                <a:ext uri="{FF2B5EF4-FFF2-40B4-BE49-F238E27FC236}">
                  <a16:creationId xmlns:a16="http://schemas.microsoft.com/office/drawing/2014/main" xmlns="" id="{1A0613B9-03A3-49C5-9246-31D8A6F13399}"/>
                </a:ext>
              </a:extLst>
            </p:cNvPr>
            <p:cNvSpPr/>
            <p:nvPr/>
          </p:nvSpPr>
          <p:spPr>
            <a:xfrm>
              <a:off x="14923512" y="9401109"/>
              <a:ext cx="530063" cy="653239"/>
            </a:xfrm>
            <a:custGeom>
              <a:avLst/>
              <a:gdLst/>
              <a:ahLst/>
              <a:cxnLst>
                <a:cxn ang="0">
                  <a:pos x="wd2" y="hd2"/>
                </a:cxn>
                <a:cxn ang="5400000">
                  <a:pos x="wd2" y="hd2"/>
                </a:cxn>
                <a:cxn ang="10800000">
                  <a:pos x="wd2" y="hd2"/>
                </a:cxn>
                <a:cxn ang="16200000">
                  <a:pos x="wd2" y="hd2"/>
                </a:cxn>
              </a:cxnLst>
              <a:rect l="0" t="0" r="r" b="b"/>
              <a:pathLst>
                <a:path w="21339" h="21341" extrusionOk="0">
                  <a:moveTo>
                    <a:pt x="19725" y="4962"/>
                  </a:moveTo>
                  <a:cubicBezTo>
                    <a:pt x="19481" y="4621"/>
                    <a:pt x="18944" y="4504"/>
                    <a:pt x="18524" y="4700"/>
                  </a:cubicBezTo>
                  <a:lnTo>
                    <a:pt x="16276" y="5753"/>
                  </a:lnTo>
                  <a:cubicBezTo>
                    <a:pt x="16665" y="6156"/>
                    <a:pt x="16967" y="6565"/>
                    <a:pt x="17201" y="6965"/>
                  </a:cubicBezTo>
                  <a:lnTo>
                    <a:pt x="19403" y="5935"/>
                  </a:lnTo>
                  <a:cubicBezTo>
                    <a:pt x="19823" y="5739"/>
                    <a:pt x="19967" y="5303"/>
                    <a:pt x="19725" y="4962"/>
                  </a:cubicBezTo>
                  <a:close/>
                  <a:moveTo>
                    <a:pt x="21339" y="9898"/>
                  </a:moveTo>
                  <a:cubicBezTo>
                    <a:pt x="21338" y="9504"/>
                    <a:pt x="20944" y="9185"/>
                    <a:pt x="20459" y="9185"/>
                  </a:cubicBezTo>
                  <a:lnTo>
                    <a:pt x="17939" y="9183"/>
                  </a:lnTo>
                  <a:cubicBezTo>
                    <a:pt x="17998" y="9688"/>
                    <a:pt x="17984" y="10167"/>
                    <a:pt x="17927" y="10609"/>
                  </a:cubicBezTo>
                  <a:lnTo>
                    <a:pt x="20460" y="10610"/>
                  </a:lnTo>
                  <a:cubicBezTo>
                    <a:pt x="20946" y="10610"/>
                    <a:pt x="21338" y="10292"/>
                    <a:pt x="21339" y="9898"/>
                  </a:cubicBezTo>
                  <a:close/>
                  <a:moveTo>
                    <a:pt x="4324" y="1565"/>
                  </a:moveTo>
                  <a:cubicBezTo>
                    <a:pt x="4080" y="1224"/>
                    <a:pt x="3543" y="1107"/>
                    <a:pt x="3123" y="1304"/>
                  </a:cubicBezTo>
                  <a:cubicBezTo>
                    <a:pt x="2703" y="1501"/>
                    <a:pt x="2559" y="1936"/>
                    <a:pt x="2802" y="2278"/>
                  </a:cubicBezTo>
                  <a:lnTo>
                    <a:pt x="4065" y="4052"/>
                  </a:lnTo>
                  <a:cubicBezTo>
                    <a:pt x="4512" y="3793"/>
                    <a:pt x="5019" y="3548"/>
                    <a:pt x="5588" y="3340"/>
                  </a:cubicBezTo>
                  <a:cubicBezTo>
                    <a:pt x="5588" y="3340"/>
                    <a:pt x="4324" y="1565"/>
                    <a:pt x="4324" y="1565"/>
                  </a:cubicBezTo>
                  <a:close/>
                  <a:moveTo>
                    <a:pt x="10086" y="713"/>
                  </a:moveTo>
                  <a:cubicBezTo>
                    <a:pt x="10086" y="319"/>
                    <a:pt x="9693" y="0"/>
                    <a:pt x="9207" y="0"/>
                  </a:cubicBezTo>
                  <a:cubicBezTo>
                    <a:pt x="8723" y="0"/>
                    <a:pt x="8330" y="319"/>
                    <a:pt x="8330" y="713"/>
                  </a:cubicBezTo>
                  <a:lnTo>
                    <a:pt x="8331" y="2772"/>
                  </a:lnTo>
                  <a:cubicBezTo>
                    <a:pt x="8876" y="2739"/>
                    <a:pt x="9464" y="2751"/>
                    <a:pt x="10088" y="2828"/>
                  </a:cubicBezTo>
                  <a:cubicBezTo>
                    <a:pt x="10088" y="2828"/>
                    <a:pt x="10086" y="713"/>
                    <a:pt x="10086" y="713"/>
                  </a:cubicBezTo>
                  <a:close/>
                  <a:moveTo>
                    <a:pt x="15284" y="1339"/>
                  </a:moveTo>
                  <a:cubicBezTo>
                    <a:pt x="14864" y="1142"/>
                    <a:pt x="14326" y="1258"/>
                    <a:pt x="14084" y="1599"/>
                  </a:cubicBezTo>
                  <a:lnTo>
                    <a:pt x="12730" y="3502"/>
                  </a:lnTo>
                  <a:cubicBezTo>
                    <a:pt x="12923" y="3577"/>
                    <a:pt x="14063" y="4115"/>
                    <a:pt x="14249" y="4220"/>
                  </a:cubicBezTo>
                  <a:lnTo>
                    <a:pt x="15606" y="2312"/>
                  </a:lnTo>
                  <a:cubicBezTo>
                    <a:pt x="15849" y="1971"/>
                    <a:pt x="15704" y="1536"/>
                    <a:pt x="15284" y="1339"/>
                  </a:cubicBezTo>
                  <a:close/>
                  <a:moveTo>
                    <a:pt x="16063" y="12771"/>
                  </a:moveTo>
                  <a:cubicBezTo>
                    <a:pt x="17178" y="10880"/>
                    <a:pt x="17910" y="6928"/>
                    <a:pt x="12930" y="4595"/>
                  </a:cubicBezTo>
                  <a:cubicBezTo>
                    <a:pt x="12930" y="4595"/>
                    <a:pt x="12929" y="4595"/>
                    <a:pt x="12928" y="4595"/>
                  </a:cubicBezTo>
                  <a:cubicBezTo>
                    <a:pt x="12928" y="4594"/>
                    <a:pt x="12927" y="4594"/>
                    <a:pt x="12926" y="4594"/>
                  </a:cubicBezTo>
                  <a:cubicBezTo>
                    <a:pt x="12926" y="4593"/>
                    <a:pt x="12925" y="4593"/>
                    <a:pt x="12924" y="4593"/>
                  </a:cubicBezTo>
                  <a:cubicBezTo>
                    <a:pt x="12924" y="4592"/>
                    <a:pt x="12923" y="4592"/>
                    <a:pt x="12922" y="4592"/>
                  </a:cubicBezTo>
                  <a:cubicBezTo>
                    <a:pt x="7943" y="2259"/>
                    <a:pt x="4092" y="4749"/>
                    <a:pt x="2631" y="6478"/>
                  </a:cubicBezTo>
                  <a:cubicBezTo>
                    <a:pt x="1322" y="8041"/>
                    <a:pt x="1632" y="10216"/>
                    <a:pt x="1621" y="10529"/>
                  </a:cubicBezTo>
                  <a:cubicBezTo>
                    <a:pt x="1602" y="11040"/>
                    <a:pt x="2174" y="13289"/>
                    <a:pt x="1592" y="14216"/>
                  </a:cubicBezTo>
                  <a:cubicBezTo>
                    <a:pt x="792" y="15491"/>
                    <a:pt x="955" y="15611"/>
                    <a:pt x="1594" y="16106"/>
                  </a:cubicBezTo>
                  <a:cubicBezTo>
                    <a:pt x="2244" y="16611"/>
                    <a:pt x="5442" y="18109"/>
                    <a:pt x="6306" y="18314"/>
                  </a:cubicBezTo>
                  <a:cubicBezTo>
                    <a:pt x="7154" y="18515"/>
                    <a:pt x="7364" y="18570"/>
                    <a:pt x="8324" y="17370"/>
                  </a:cubicBezTo>
                  <a:cubicBezTo>
                    <a:pt x="9022" y="16498"/>
                    <a:pt x="11709" y="15775"/>
                    <a:pt x="12245" y="15507"/>
                  </a:cubicBezTo>
                  <a:cubicBezTo>
                    <a:pt x="12574" y="15342"/>
                    <a:pt x="15049" y="14473"/>
                    <a:pt x="16063" y="12771"/>
                  </a:cubicBezTo>
                  <a:close/>
                  <a:moveTo>
                    <a:pt x="5425" y="20157"/>
                  </a:moveTo>
                  <a:cubicBezTo>
                    <a:pt x="5564" y="19962"/>
                    <a:pt x="5481" y="19712"/>
                    <a:pt x="5240" y="19599"/>
                  </a:cubicBezTo>
                  <a:lnTo>
                    <a:pt x="756" y="17498"/>
                  </a:lnTo>
                  <a:cubicBezTo>
                    <a:pt x="515" y="17385"/>
                    <a:pt x="206" y="17452"/>
                    <a:pt x="67" y="17647"/>
                  </a:cubicBezTo>
                  <a:lnTo>
                    <a:pt x="67" y="17647"/>
                  </a:lnTo>
                  <a:cubicBezTo>
                    <a:pt x="-72" y="17843"/>
                    <a:pt x="11" y="18093"/>
                    <a:pt x="252" y="18206"/>
                  </a:cubicBezTo>
                  <a:lnTo>
                    <a:pt x="4736" y="20307"/>
                  </a:lnTo>
                  <a:cubicBezTo>
                    <a:pt x="4977" y="20420"/>
                    <a:pt x="5286" y="20353"/>
                    <a:pt x="5425" y="20157"/>
                  </a:cubicBezTo>
                  <a:cubicBezTo>
                    <a:pt x="5425" y="20157"/>
                    <a:pt x="5425" y="20157"/>
                    <a:pt x="5425" y="20157"/>
                  </a:cubicBezTo>
                  <a:close/>
                  <a:moveTo>
                    <a:pt x="6113" y="19190"/>
                  </a:moveTo>
                  <a:cubicBezTo>
                    <a:pt x="6252" y="18995"/>
                    <a:pt x="6169" y="18745"/>
                    <a:pt x="5928" y="18632"/>
                  </a:cubicBezTo>
                  <a:lnTo>
                    <a:pt x="1444" y="16531"/>
                  </a:lnTo>
                  <a:cubicBezTo>
                    <a:pt x="1203" y="16418"/>
                    <a:pt x="894" y="16485"/>
                    <a:pt x="755" y="16680"/>
                  </a:cubicBezTo>
                  <a:lnTo>
                    <a:pt x="755" y="16680"/>
                  </a:lnTo>
                  <a:cubicBezTo>
                    <a:pt x="616" y="16876"/>
                    <a:pt x="699" y="17126"/>
                    <a:pt x="940" y="17239"/>
                  </a:cubicBezTo>
                  <a:lnTo>
                    <a:pt x="5424" y="19340"/>
                  </a:lnTo>
                  <a:cubicBezTo>
                    <a:pt x="5665" y="19453"/>
                    <a:pt x="5974" y="19386"/>
                    <a:pt x="6113" y="19190"/>
                  </a:cubicBezTo>
                  <a:cubicBezTo>
                    <a:pt x="6113" y="19190"/>
                    <a:pt x="6113" y="19190"/>
                    <a:pt x="6113" y="19190"/>
                  </a:cubicBezTo>
                  <a:close/>
                  <a:moveTo>
                    <a:pt x="360" y="18601"/>
                  </a:moveTo>
                  <a:lnTo>
                    <a:pt x="4260" y="20429"/>
                  </a:lnTo>
                  <a:cubicBezTo>
                    <a:pt x="3639" y="21302"/>
                    <a:pt x="2263" y="21600"/>
                    <a:pt x="1186" y="21095"/>
                  </a:cubicBezTo>
                  <a:cubicBezTo>
                    <a:pt x="109" y="20591"/>
                    <a:pt x="-261" y="19474"/>
                    <a:pt x="360" y="1860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2" name="Shape 10444">
              <a:extLst>
                <a:ext uri="{FF2B5EF4-FFF2-40B4-BE49-F238E27FC236}">
                  <a16:creationId xmlns:a16="http://schemas.microsoft.com/office/drawing/2014/main" xmlns="" id="{7BA38425-D3D2-4A5D-ABD7-532DF60635D2}"/>
                </a:ext>
              </a:extLst>
            </p:cNvPr>
            <p:cNvSpPr/>
            <p:nvPr/>
          </p:nvSpPr>
          <p:spPr>
            <a:xfrm>
              <a:off x="15668533" y="8652551"/>
              <a:ext cx="371824" cy="371843"/>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3" name="Shape 10445">
              <a:extLst>
                <a:ext uri="{FF2B5EF4-FFF2-40B4-BE49-F238E27FC236}">
                  <a16:creationId xmlns:a16="http://schemas.microsoft.com/office/drawing/2014/main" xmlns="" id="{403581D9-1F90-4FE7-AB59-EB333C680678}"/>
                </a:ext>
              </a:extLst>
            </p:cNvPr>
            <p:cNvSpPr/>
            <p:nvPr/>
          </p:nvSpPr>
          <p:spPr>
            <a:xfrm>
              <a:off x="19159242" y="10658993"/>
              <a:ext cx="622764" cy="569103"/>
            </a:xfrm>
            <a:custGeom>
              <a:avLst/>
              <a:gdLst/>
              <a:ahLst/>
              <a:cxnLst>
                <a:cxn ang="0">
                  <a:pos x="wd2" y="hd2"/>
                </a:cxn>
                <a:cxn ang="5400000">
                  <a:pos x="wd2" y="hd2"/>
                </a:cxn>
                <a:cxn ang="10800000">
                  <a:pos x="wd2" y="hd2"/>
                </a:cxn>
                <a:cxn ang="16200000">
                  <a:pos x="wd2" y="hd2"/>
                </a:cxn>
              </a:cxnLst>
              <a:rect l="0" t="0" r="r" b="b"/>
              <a:pathLst>
                <a:path w="20409" h="20716" extrusionOk="0">
                  <a:moveTo>
                    <a:pt x="1339" y="18146"/>
                  </a:moveTo>
                  <a:cubicBezTo>
                    <a:pt x="227" y="16314"/>
                    <a:pt x="661" y="13820"/>
                    <a:pt x="2308" y="12586"/>
                  </a:cubicBezTo>
                  <a:cubicBezTo>
                    <a:pt x="2748" y="12256"/>
                    <a:pt x="3232" y="12053"/>
                    <a:pt x="3725" y="11962"/>
                  </a:cubicBezTo>
                  <a:lnTo>
                    <a:pt x="3738" y="15889"/>
                  </a:lnTo>
                  <a:cubicBezTo>
                    <a:pt x="3739" y="16166"/>
                    <a:pt x="3941" y="16390"/>
                    <a:pt x="4190" y="16389"/>
                  </a:cubicBezTo>
                  <a:cubicBezTo>
                    <a:pt x="4439" y="16388"/>
                    <a:pt x="4640" y="16164"/>
                    <a:pt x="4639" y="15887"/>
                  </a:cubicBezTo>
                  <a:lnTo>
                    <a:pt x="4626" y="11921"/>
                  </a:lnTo>
                  <a:cubicBezTo>
                    <a:pt x="5675" y="12022"/>
                    <a:pt x="6678" y="12627"/>
                    <a:pt x="7312" y="13672"/>
                  </a:cubicBezTo>
                  <a:cubicBezTo>
                    <a:pt x="8425" y="15504"/>
                    <a:pt x="7990" y="17998"/>
                    <a:pt x="6343" y="19232"/>
                  </a:cubicBezTo>
                  <a:cubicBezTo>
                    <a:pt x="4697" y="20465"/>
                    <a:pt x="2452" y="19979"/>
                    <a:pt x="1339" y="18146"/>
                  </a:cubicBezTo>
                  <a:close/>
                  <a:moveTo>
                    <a:pt x="3670" y="7857"/>
                  </a:moveTo>
                  <a:lnTo>
                    <a:pt x="5119" y="6772"/>
                  </a:lnTo>
                  <a:cubicBezTo>
                    <a:pt x="5283" y="6649"/>
                    <a:pt x="5395" y="6369"/>
                    <a:pt x="5367" y="6151"/>
                  </a:cubicBezTo>
                  <a:lnTo>
                    <a:pt x="5135" y="4322"/>
                  </a:lnTo>
                  <a:lnTo>
                    <a:pt x="8435" y="5321"/>
                  </a:lnTo>
                  <a:cubicBezTo>
                    <a:pt x="8435" y="5321"/>
                    <a:pt x="8207" y="5706"/>
                    <a:pt x="7927" y="6179"/>
                  </a:cubicBezTo>
                  <a:lnTo>
                    <a:pt x="4301" y="8895"/>
                  </a:lnTo>
                  <a:cubicBezTo>
                    <a:pt x="4301" y="8895"/>
                    <a:pt x="3670" y="7857"/>
                    <a:pt x="3670" y="7857"/>
                  </a:cubicBezTo>
                  <a:close/>
                  <a:moveTo>
                    <a:pt x="5317" y="9342"/>
                  </a:moveTo>
                  <a:lnTo>
                    <a:pt x="6806" y="8227"/>
                  </a:lnTo>
                  <a:cubicBezTo>
                    <a:pt x="6763" y="8494"/>
                    <a:pt x="6811" y="8776"/>
                    <a:pt x="6952" y="9008"/>
                  </a:cubicBezTo>
                  <a:lnTo>
                    <a:pt x="6951" y="9008"/>
                  </a:lnTo>
                  <a:cubicBezTo>
                    <a:pt x="6951" y="9008"/>
                    <a:pt x="7368" y="9692"/>
                    <a:pt x="7887" y="10542"/>
                  </a:cubicBezTo>
                  <a:cubicBezTo>
                    <a:pt x="7887" y="10542"/>
                    <a:pt x="5317" y="9342"/>
                    <a:pt x="5317" y="9342"/>
                  </a:cubicBezTo>
                  <a:close/>
                  <a:moveTo>
                    <a:pt x="8791" y="8259"/>
                  </a:moveTo>
                  <a:cubicBezTo>
                    <a:pt x="8791" y="8259"/>
                    <a:pt x="10089" y="6315"/>
                    <a:pt x="10706" y="5383"/>
                  </a:cubicBezTo>
                  <a:lnTo>
                    <a:pt x="11903" y="5869"/>
                  </a:lnTo>
                  <a:cubicBezTo>
                    <a:pt x="11641" y="6978"/>
                    <a:pt x="11735" y="8186"/>
                    <a:pt x="12226" y="9262"/>
                  </a:cubicBezTo>
                  <a:lnTo>
                    <a:pt x="10284" y="10718"/>
                  </a:lnTo>
                  <a:cubicBezTo>
                    <a:pt x="10284" y="10718"/>
                    <a:pt x="8791" y="8259"/>
                    <a:pt x="8791" y="8259"/>
                  </a:cubicBezTo>
                  <a:close/>
                  <a:moveTo>
                    <a:pt x="13314" y="9656"/>
                  </a:moveTo>
                  <a:lnTo>
                    <a:pt x="16285" y="7430"/>
                  </a:lnTo>
                  <a:cubicBezTo>
                    <a:pt x="16491" y="7275"/>
                    <a:pt x="16545" y="6964"/>
                    <a:pt x="16406" y="6735"/>
                  </a:cubicBezTo>
                  <a:cubicBezTo>
                    <a:pt x="16343" y="6631"/>
                    <a:pt x="16251" y="6564"/>
                    <a:pt x="16150" y="6533"/>
                  </a:cubicBezTo>
                  <a:lnTo>
                    <a:pt x="16151" y="6531"/>
                  </a:lnTo>
                  <a:lnTo>
                    <a:pt x="12905" y="5212"/>
                  </a:lnTo>
                  <a:cubicBezTo>
                    <a:pt x="13172" y="4652"/>
                    <a:pt x="13562" y="4155"/>
                    <a:pt x="14067" y="3777"/>
                  </a:cubicBezTo>
                  <a:cubicBezTo>
                    <a:pt x="15713" y="2543"/>
                    <a:pt x="17958" y="3030"/>
                    <a:pt x="19071" y="4862"/>
                  </a:cubicBezTo>
                  <a:cubicBezTo>
                    <a:pt x="20183" y="6694"/>
                    <a:pt x="19749" y="9188"/>
                    <a:pt x="18102" y="10422"/>
                  </a:cubicBezTo>
                  <a:cubicBezTo>
                    <a:pt x="16556" y="11580"/>
                    <a:pt x="14482" y="11221"/>
                    <a:pt x="13314" y="9656"/>
                  </a:cubicBezTo>
                  <a:close/>
                  <a:moveTo>
                    <a:pt x="15048" y="7148"/>
                  </a:moveTo>
                  <a:lnTo>
                    <a:pt x="12832" y="8808"/>
                  </a:lnTo>
                  <a:cubicBezTo>
                    <a:pt x="12470" y="7960"/>
                    <a:pt x="12397" y="7021"/>
                    <a:pt x="12588" y="6148"/>
                  </a:cubicBezTo>
                  <a:cubicBezTo>
                    <a:pt x="12588" y="6148"/>
                    <a:pt x="15048" y="7148"/>
                    <a:pt x="15048" y="7148"/>
                  </a:cubicBezTo>
                  <a:close/>
                  <a:moveTo>
                    <a:pt x="742" y="18594"/>
                  </a:moveTo>
                  <a:cubicBezTo>
                    <a:pt x="2079" y="20796"/>
                    <a:pt x="4768" y="21379"/>
                    <a:pt x="6747" y="19896"/>
                  </a:cubicBezTo>
                  <a:cubicBezTo>
                    <a:pt x="8726" y="18413"/>
                    <a:pt x="9246" y="15426"/>
                    <a:pt x="7909" y="13224"/>
                  </a:cubicBezTo>
                  <a:cubicBezTo>
                    <a:pt x="7134" y="11948"/>
                    <a:pt x="5905" y="11216"/>
                    <a:pt x="4623" y="11115"/>
                  </a:cubicBezTo>
                  <a:lnTo>
                    <a:pt x="4619" y="10101"/>
                  </a:lnTo>
                  <a:lnTo>
                    <a:pt x="8815" y="12059"/>
                  </a:lnTo>
                  <a:cubicBezTo>
                    <a:pt x="9382" y="12983"/>
                    <a:pt x="9863" y="13764"/>
                    <a:pt x="9886" y="13787"/>
                  </a:cubicBezTo>
                  <a:cubicBezTo>
                    <a:pt x="10275" y="14180"/>
                    <a:pt x="10877" y="14149"/>
                    <a:pt x="11230" y="13717"/>
                  </a:cubicBezTo>
                  <a:cubicBezTo>
                    <a:pt x="11531" y="13349"/>
                    <a:pt x="11553" y="12810"/>
                    <a:pt x="11313" y="12415"/>
                  </a:cubicBezTo>
                  <a:lnTo>
                    <a:pt x="11314" y="12414"/>
                  </a:lnTo>
                  <a:lnTo>
                    <a:pt x="10788" y="11548"/>
                  </a:lnTo>
                  <a:lnTo>
                    <a:pt x="12715" y="10105"/>
                  </a:lnTo>
                  <a:cubicBezTo>
                    <a:pt x="14109" y="12039"/>
                    <a:pt x="16627" y="12494"/>
                    <a:pt x="18506" y="11086"/>
                  </a:cubicBezTo>
                  <a:cubicBezTo>
                    <a:pt x="20485" y="9603"/>
                    <a:pt x="21005" y="6616"/>
                    <a:pt x="19668" y="4414"/>
                  </a:cubicBezTo>
                  <a:cubicBezTo>
                    <a:pt x="18331" y="2212"/>
                    <a:pt x="15642" y="1629"/>
                    <a:pt x="13663" y="3112"/>
                  </a:cubicBezTo>
                  <a:cubicBezTo>
                    <a:pt x="13027" y="3589"/>
                    <a:pt x="12542" y="4222"/>
                    <a:pt x="12221" y="4933"/>
                  </a:cubicBezTo>
                  <a:lnTo>
                    <a:pt x="11168" y="4506"/>
                  </a:lnTo>
                  <a:cubicBezTo>
                    <a:pt x="11303" y="3945"/>
                    <a:pt x="11158" y="3323"/>
                    <a:pt x="10745" y="2905"/>
                  </a:cubicBezTo>
                  <a:cubicBezTo>
                    <a:pt x="10551" y="2709"/>
                    <a:pt x="10321" y="2584"/>
                    <a:pt x="10082" y="2526"/>
                  </a:cubicBezTo>
                  <a:lnTo>
                    <a:pt x="10082" y="2525"/>
                  </a:lnTo>
                  <a:lnTo>
                    <a:pt x="5355" y="1211"/>
                  </a:lnTo>
                  <a:lnTo>
                    <a:pt x="5355" y="1211"/>
                  </a:lnTo>
                  <a:cubicBezTo>
                    <a:pt x="4823" y="1000"/>
                    <a:pt x="4206" y="1148"/>
                    <a:pt x="3803" y="1641"/>
                  </a:cubicBezTo>
                  <a:cubicBezTo>
                    <a:pt x="3485" y="2031"/>
                    <a:pt x="3373" y="2548"/>
                    <a:pt x="3458" y="3028"/>
                  </a:cubicBezTo>
                  <a:lnTo>
                    <a:pt x="3457" y="3029"/>
                  </a:lnTo>
                  <a:lnTo>
                    <a:pt x="3914" y="5740"/>
                  </a:lnTo>
                  <a:lnTo>
                    <a:pt x="2179" y="7041"/>
                  </a:lnTo>
                  <a:cubicBezTo>
                    <a:pt x="1849" y="7288"/>
                    <a:pt x="1762" y="7786"/>
                    <a:pt x="1985" y="8153"/>
                  </a:cubicBezTo>
                  <a:cubicBezTo>
                    <a:pt x="2193" y="8496"/>
                    <a:pt x="2598" y="8599"/>
                    <a:pt x="2919" y="8409"/>
                  </a:cubicBezTo>
                  <a:lnTo>
                    <a:pt x="3717" y="9723"/>
                  </a:lnTo>
                  <a:lnTo>
                    <a:pt x="3722" y="11148"/>
                  </a:lnTo>
                  <a:cubicBezTo>
                    <a:pt x="3090" y="11245"/>
                    <a:pt x="2469" y="11499"/>
                    <a:pt x="1905" y="11922"/>
                  </a:cubicBezTo>
                  <a:cubicBezTo>
                    <a:pt x="-75" y="13405"/>
                    <a:pt x="-595" y="16392"/>
                    <a:pt x="742" y="18594"/>
                  </a:cubicBezTo>
                  <a:close/>
                  <a:moveTo>
                    <a:pt x="2678" y="707"/>
                  </a:moveTo>
                  <a:cubicBezTo>
                    <a:pt x="2232" y="-27"/>
                    <a:pt x="1336" y="-221"/>
                    <a:pt x="676" y="273"/>
                  </a:cubicBezTo>
                  <a:cubicBezTo>
                    <a:pt x="16" y="767"/>
                    <a:pt x="-157" y="1763"/>
                    <a:pt x="289" y="2497"/>
                  </a:cubicBezTo>
                  <a:cubicBezTo>
                    <a:pt x="734" y="3231"/>
                    <a:pt x="1630" y="3426"/>
                    <a:pt x="2290" y="2931"/>
                  </a:cubicBezTo>
                  <a:cubicBezTo>
                    <a:pt x="2950" y="2437"/>
                    <a:pt x="3123" y="1441"/>
                    <a:pt x="2678"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4" name="Shape 10446">
              <a:extLst>
                <a:ext uri="{FF2B5EF4-FFF2-40B4-BE49-F238E27FC236}">
                  <a16:creationId xmlns:a16="http://schemas.microsoft.com/office/drawing/2014/main" xmlns="" id="{B2F2DFB3-EA73-4429-B665-97D760072D4B}"/>
                </a:ext>
              </a:extLst>
            </p:cNvPr>
            <p:cNvSpPr/>
            <p:nvPr/>
          </p:nvSpPr>
          <p:spPr>
            <a:xfrm>
              <a:off x="15268309" y="8005297"/>
              <a:ext cx="498843" cy="55221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4"/>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6" name="Shape 10447">
              <a:extLst>
                <a:ext uri="{FF2B5EF4-FFF2-40B4-BE49-F238E27FC236}">
                  <a16:creationId xmlns:a16="http://schemas.microsoft.com/office/drawing/2014/main" xmlns="" id="{020FA84A-3911-4197-A479-DC09AA92F3F5}"/>
                </a:ext>
              </a:extLst>
            </p:cNvPr>
            <p:cNvSpPr/>
            <p:nvPr/>
          </p:nvSpPr>
          <p:spPr>
            <a:xfrm>
              <a:off x="15182165" y="7422392"/>
              <a:ext cx="482786" cy="501735"/>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7" name="Shape 10448">
              <a:extLst>
                <a:ext uri="{FF2B5EF4-FFF2-40B4-BE49-F238E27FC236}">
                  <a16:creationId xmlns:a16="http://schemas.microsoft.com/office/drawing/2014/main" xmlns="" id="{51B77178-9A75-45D0-918F-843E92D548FC}"/>
                </a:ext>
              </a:extLst>
            </p:cNvPr>
            <p:cNvSpPr/>
            <p:nvPr/>
          </p:nvSpPr>
          <p:spPr>
            <a:xfrm>
              <a:off x="15128412" y="6820063"/>
              <a:ext cx="371717" cy="5983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3" y="16426"/>
                  </a:lnTo>
                  <a:lnTo>
                    <a:pt x="6939" y="18801"/>
                  </a:lnTo>
                  <a:cubicBezTo>
                    <a:pt x="6939" y="18801"/>
                    <a:pt x="0" y="21600"/>
                    <a:pt x="0" y="21600"/>
                  </a:cubicBezTo>
                  <a:close/>
                  <a:moveTo>
                    <a:pt x="7564" y="18101"/>
                  </a:moveTo>
                  <a:lnTo>
                    <a:pt x="678" y="15726"/>
                  </a:lnTo>
                  <a:lnTo>
                    <a:pt x="11819" y="3241"/>
                  </a:lnTo>
                  <a:lnTo>
                    <a:pt x="18708" y="5613"/>
                  </a:lnTo>
                  <a:cubicBezTo>
                    <a:pt x="18708" y="5613"/>
                    <a:pt x="7564" y="18101"/>
                    <a:pt x="7564" y="18101"/>
                  </a:cubicBezTo>
                  <a:close/>
                  <a:moveTo>
                    <a:pt x="19345" y="4898"/>
                  </a:moveTo>
                  <a:lnTo>
                    <a:pt x="12456" y="2525"/>
                  </a:lnTo>
                  <a:lnTo>
                    <a:pt x="14711" y="0"/>
                  </a:lnTo>
                  <a:lnTo>
                    <a:pt x="21600" y="2372"/>
                  </a:lnTo>
                  <a:cubicBezTo>
                    <a:pt x="21600" y="2372"/>
                    <a:pt x="19345" y="4898"/>
                    <a:pt x="19345" y="489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8" name="Shape 10449">
              <a:extLst>
                <a:ext uri="{FF2B5EF4-FFF2-40B4-BE49-F238E27FC236}">
                  <a16:creationId xmlns:a16="http://schemas.microsoft.com/office/drawing/2014/main" xmlns="" id="{5541F0CB-4AE5-4326-8772-4ED531DD91C2}"/>
                </a:ext>
              </a:extLst>
            </p:cNvPr>
            <p:cNvSpPr/>
            <p:nvPr/>
          </p:nvSpPr>
          <p:spPr>
            <a:xfrm>
              <a:off x="19860235" y="12623190"/>
              <a:ext cx="635104" cy="38320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29" name="Shape 10450">
              <a:extLst>
                <a:ext uri="{FF2B5EF4-FFF2-40B4-BE49-F238E27FC236}">
                  <a16:creationId xmlns:a16="http://schemas.microsoft.com/office/drawing/2014/main" xmlns="" id="{FA5D4C6B-A6FC-4F1A-9FDB-DD19CDB3C800}"/>
                </a:ext>
              </a:extLst>
            </p:cNvPr>
            <p:cNvSpPr/>
            <p:nvPr/>
          </p:nvSpPr>
          <p:spPr>
            <a:xfrm>
              <a:off x="17597371" y="10224894"/>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0" name="Shape 10451">
              <a:extLst>
                <a:ext uri="{FF2B5EF4-FFF2-40B4-BE49-F238E27FC236}">
                  <a16:creationId xmlns:a16="http://schemas.microsoft.com/office/drawing/2014/main" xmlns="" id="{62D962CD-8837-4E6E-BE86-1F712AFD6D0E}"/>
                </a:ext>
              </a:extLst>
            </p:cNvPr>
            <p:cNvSpPr/>
            <p:nvPr/>
          </p:nvSpPr>
          <p:spPr>
            <a:xfrm>
              <a:off x="16686920" y="10342144"/>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1" name="Shape 10452">
              <a:extLst>
                <a:ext uri="{FF2B5EF4-FFF2-40B4-BE49-F238E27FC236}">
                  <a16:creationId xmlns:a16="http://schemas.microsoft.com/office/drawing/2014/main" xmlns="" id="{D12FB9FE-DD54-4330-B2D3-7A7645F52778}"/>
                </a:ext>
              </a:extLst>
            </p:cNvPr>
            <p:cNvSpPr/>
            <p:nvPr/>
          </p:nvSpPr>
          <p:spPr>
            <a:xfrm>
              <a:off x="16291801" y="1057320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2" name="Shape 10453">
              <a:extLst>
                <a:ext uri="{FF2B5EF4-FFF2-40B4-BE49-F238E27FC236}">
                  <a16:creationId xmlns:a16="http://schemas.microsoft.com/office/drawing/2014/main" xmlns="" id="{A92119D2-C691-472A-B084-C6D86C3EBCF5}"/>
                </a:ext>
              </a:extLst>
            </p:cNvPr>
            <p:cNvSpPr/>
            <p:nvPr/>
          </p:nvSpPr>
          <p:spPr>
            <a:xfrm>
              <a:off x="16950890" y="11189795"/>
              <a:ext cx="310646" cy="332440"/>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33" name="Shape 10454">
              <a:extLst>
                <a:ext uri="{FF2B5EF4-FFF2-40B4-BE49-F238E27FC236}">
                  <a16:creationId xmlns:a16="http://schemas.microsoft.com/office/drawing/2014/main" xmlns="" id="{E9C06ABA-BB1C-412D-A3AA-5E943AA2C7DB}"/>
                </a:ext>
              </a:extLst>
            </p:cNvPr>
            <p:cNvSpPr/>
            <p:nvPr/>
          </p:nvSpPr>
          <p:spPr>
            <a:xfrm>
              <a:off x="18327410" y="11333169"/>
              <a:ext cx="410124" cy="2907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4" name="Shape 10455">
              <a:extLst>
                <a:ext uri="{FF2B5EF4-FFF2-40B4-BE49-F238E27FC236}">
                  <a16:creationId xmlns:a16="http://schemas.microsoft.com/office/drawing/2014/main" xmlns="" id="{1D93C925-F42F-41A0-95BC-558A9CD3DBD9}"/>
                </a:ext>
              </a:extLst>
            </p:cNvPr>
            <p:cNvSpPr/>
            <p:nvPr/>
          </p:nvSpPr>
          <p:spPr>
            <a:xfrm>
              <a:off x="15200800" y="9711571"/>
              <a:ext cx="534280" cy="414613"/>
            </a:xfrm>
            <a:custGeom>
              <a:avLst/>
              <a:gdLst/>
              <a:ahLst/>
              <a:cxnLst>
                <a:cxn ang="0">
                  <a:pos x="wd2" y="hd2"/>
                </a:cxn>
                <a:cxn ang="5400000">
                  <a:pos x="wd2" y="hd2"/>
                </a:cxn>
                <a:cxn ang="10800000">
                  <a:pos x="wd2" y="hd2"/>
                </a:cxn>
                <a:cxn ang="16200000">
                  <a:pos x="wd2" y="hd2"/>
                </a:cxn>
              </a:cxnLst>
              <a:rect l="0" t="0" r="r" b="b"/>
              <a:pathLst>
                <a:path w="21504" h="21459" extrusionOk="0">
                  <a:moveTo>
                    <a:pt x="20046" y="0"/>
                  </a:moveTo>
                  <a:lnTo>
                    <a:pt x="18382" y="1612"/>
                  </a:lnTo>
                  <a:cubicBezTo>
                    <a:pt x="18349" y="1555"/>
                    <a:pt x="18183" y="1271"/>
                    <a:pt x="18183" y="1271"/>
                  </a:cubicBezTo>
                  <a:lnTo>
                    <a:pt x="16876" y="2541"/>
                  </a:lnTo>
                  <a:lnTo>
                    <a:pt x="17075" y="2882"/>
                  </a:lnTo>
                  <a:lnTo>
                    <a:pt x="16682" y="3264"/>
                  </a:lnTo>
                  <a:lnTo>
                    <a:pt x="3502" y="16032"/>
                  </a:lnTo>
                  <a:cubicBezTo>
                    <a:pt x="3033" y="16486"/>
                    <a:pt x="956" y="19168"/>
                    <a:pt x="714" y="20293"/>
                  </a:cubicBezTo>
                  <a:cubicBezTo>
                    <a:pt x="679" y="20454"/>
                    <a:pt x="682" y="20584"/>
                    <a:pt x="733" y="20670"/>
                  </a:cubicBezTo>
                  <a:cubicBezTo>
                    <a:pt x="1136" y="21359"/>
                    <a:pt x="4430" y="19041"/>
                    <a:pt x="4965" y="18523"/>
                  </a:cubicBezTo>
                  <a:lnTo>
                    <a:pt x="18142" y="5753"/>
                  </a:lnTo>
                  <a:lnTo>
                    <a:pt x="18535" y="5371"/>
                  </a:lnTo>
                  <a:lnTo>
                    <a:pt x="18743" y="5727"/>
                  </a:lnTo>
                  <a:lnTo>
                    <a:pt x="13621" y="10688"/>
                  </a:lnTo>
                  <a:lnTo>
                    <a:pt x="13920" y="11200"/>
                  </a:lnTo>
                  <a:lnTo>
                    <a:pt x="20349" y="4970"/>
                  </a:lnTo>
                  <a:cubicBezTo>
                    <a:pt x="20349" y="4970"/>
                    <a:pt x="20022" y="4416"/>
                    <a:pt x="19840" y="4106"/>
                  </a:cubicBezTo>
                  <a:lnTo>
                    <a:pt x="21504" y="2494"/>
                  </a:lnTo>
                  <a:cubicBezTo>
                    <a:pt x="21504" y="2494"/>
                    <a:pt x="20046" y="0"/>
                    <a:pt x="20046" y="0"/>
                  </a:cubicBezTo>
                  <a:close/>
                  <a:moveTo>
                    <a:pt x="714" y="20293"/>
                  </a:moveTo>
                  <a:cubicBezTo>
                    <a:pt x="727" y="20240"/>
                    <a:pt x="731" y="20197"/>
                    <a:pt x="751" y="20139"/>
                  </a:cubicBezTo>
                  <a:lnTo>
                    <a:pt x="480" y="20398"/>
                  </a:lnTo>
                  <a:cubicBezTo>
                    <a:pt x="370" y="20505"/>
                    <a:pt x="-96" y="21209"/>
                    <a:pt x="18" y="21404"/>
                  </a:cubicBezTo>
                  <a:cubicBezTo>
                    <a:pt x="133" y="21600"/>
                    <a:pt x="787" y="21217"/>
                    <a:pt x="897" y="21111"/>
                  </a:cubicBezTo>
                  <a:lnTo>
                    <a:pt x="1169" y="20846"/>
                  </a:lnTo>
                  <a:cubicBezTo>
                    <a:pt x="944" y="20888"/>
                    <a:pt x="778" y="20864"/>
                    <a:pt x="705" y="20740"/>
                  </a:cubicBezTo>
                  <a:cubicBezTo>
                    <a:pt x="649" y="20644"/>
                    <a:pt x="665" y="20481"/>
                    <a:pt x="714" y="202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5" name="Shape 10456">
              <a:extLst>
                <a:ext uri="{FF2B5EF4-FFF2-40B4-BE49-F238E27FC236}">
                  <a16:creationId xmlns:a16="http://schemas.microsoft.com/office/drawing/2014/main" xmlns="" id="{CFDD92ED-61AE-4A17-99C7-2EA74D8B3FB1}"/>
                </a:ext>
              </a:extLst>
            </p:cNvPr>
            <p:cNvSpPr/>
            <p:nvPr/>
          </p:nvSpPr>
          <p:spPr>
            <a:xfrm>
              <a:off x="15431053" y="9155014"/>
              <a:ext cx="444362" cy="290705"/>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grpSp>
      <p:sp>
        <p:nvSpPr>
          <p:cNvPr id="137" name="TextBox 148">
            <a:extLst>
              <a:ext uri="{FF2B5EF4-FFF2-40B4-BE49-F238E27FC236}">
                <a16:creationId xmlns:a16="http://schemas.microsoft.com/office/drawing/2014/main" xmlns="" id="{6CD44323-51CE-4F2B-99F9-2F488EEC4646}"/>
              </a:ext>
            </a:extLst>
          </p:cNvPr>
          <p:cNvSpPr txBox="1"/>
          <p:nvPr/>
        </p:nvSpPr>
        <p:spPr>
          <a:xfrm>
            <a:off x="6725264" y="2370677"/>
            <a:ext cx="5466736" cy="4708981"/>
          </a:xfrm>
          <a:prstGeom prst="rect">
            <a:avLst/>
          </a:prstGeom>
          <a:noFill/>
        </p:spPr>
        <p:txBody>
          <a:bodyPr wrap="square" rtlCol="0" anchor="ctr" anchorCtr="0">
            <a:spAutoFit/>
          </a:bodyPr>
          <a:lstStyle/>
          <a:p>
            <a:r>
              <a:rPr lang="en-GB" sz="2400" dirty="0">
                <a:solidFill>
                  <a:srgbClr val="0070C0"/>
                </a:solidFill>
                <a:latin typeface="+mj-lt"/>
                <a:ea typeface="League Spartan" charset="0"/>
                <a:cs typeface="Poppins" pitchFamily="2" charset="77"/>
              </a:rPr>
              <a:t>¿Qué has </a:t>
            </a:r>
            <a:r>
              <a:rPr lang="en-GB" sz="2400" b="1" dirty="0">
                <a:solidFill>
                  <a:srgbClr val="0070C0"/>
                </a:solidFill>
                <a:latin typeface="+mj-lt"/>
                <a:ea typeface="League Spartan" charset="0"/>
                <a:cs typeface="Poppins" pitchFamily="2" charset="77"/>
              </a:rPr>
              <a:t>aprendido </a:t>
            </a:r>
            <a:r>
              <a:rPr lang="en-GB" sz="2400" dirty="0">
                <a:solidFill>
                  <a:srgbClr val="0070C0"/>
                </a:solidFill>
                <a:latin typeface="+mj-lt"/>
                <a:ea typeface="League Spartan" charset="0"/>
                <a:cs typeface="Poppins" pitchFamily="2" charset="77"/>
              </a:rPr>
              <a:t>sobre </a:t>
            </a:r>
            <a:r>
              <a:rPr lang="en-GB" sz="2400" b="1" dirty="0">
                <a:solidFill>
                  <a:srgbClr val="0070C0"/>
                </a:solidFill>
                <a:latin typeface="+mj-lt"/>
                <a:ea typeface="League Spartan" charset="0"/>
                <a:cs typeface="Poppins" pitchFamily="2" charset="77"/>
              </a:rPr>
              <a:t>ti mismo</a:t>
            </a:r>
            <a:r>
              <a:rPr lang="en-GB" sz="2400" dirty="0">
                <a:solidFill>
                  <a:srgbClr val="0070C0"/>
                </a:solidFill>
                <a:latin typeface="+mj-lt"/>
                <a:ea typeface="League Spartan" charset="0"/>
                <a:cs typeface="Poppins" pitchFamily="2" charset="77"/>
              </a:rPr>
              <a:t>, </a:t>
            </a:r>
            <a:r>
              <a:rPr lang="en-GB" sz="2400" b="1" dirty="0">
                <a:solidFill>
                  <a:srgbClr val="0070C0"/>
                </a:solidFill>
                <a:latin typeface="+mj-lt"/>
                <a:ea typeface="League Spartan" charset="0"/>
                <a:cs typeface="Poppins" pitchFamily="2" charset="77"/>
              </a:rPr>
              <a:t>tu equipo </a:t>
            </a:r>
            <a:r>
              <a:rPr lang="en-GB" sz="2400" dirty="0">
                <a:solidFill>
                  <a:srgbClr val="0070C0"/>
                </a:solidFill>
                <a:latin typeface="+mj-lt"/>
                <a:ea typeface="League Spartan" charset="0"/>
                <a:cs typeface="Poppins" pitchFamily="2" charset="77"/>
              </a:rPr>
              <a:t>y </a:t>
            </a:r>
            <a:r>
              <a:rPr lang="en-GB" sz="2400" b="1" dirty="0">
                <a:solidFill>
                  <a:srgbClr val="0070C0"/>
                </a:solidFill>
                <a:latin typeface="+mj-lt"/>
                <a:ea typeface="League Spartan" charset="0"/>
                <a:cs typeface="Poppins" pitchFamily="2" charset="77"/>
              </a:rPr>
              <a:t>tu organización </a:t>
            </a:r>
            <a:br>
              <a:rPr lang="en-GB" sz="2400" b="1" dirty="0">
                <a:solidFill>
                  <a:srgbClr val="0070C0"/>
                </a:solidFill>
                <a:latin typeface="+mj-lt"/>
                <a:ea typeface="League Spartan" charset="0"/>
                <a:cs typeface="Poppins" pitchFamily="2" charset="77"/>
              </a:rPr>
            </a:br>
            <a:r>
              <a:rPr lang="en-GB" sz="2400" b="1" dirty="0">
                <a:solidFill>
                  <a:srgbClr val="0070C0"/>
                </a:solidFill>
                <a:latin typeface="+mj-lt"/>
                <a:ea typeface="League Spartan" charset="0"/>
                <a:cs typeface="Poppins" pitchFamily="2" charset="77"/>
              </a:rPr>
              <a:t>organización </a:t>
            </a:r>
            <a:r>
              <a:rPr lang="en-GB" sz="2400" dirty="0">
                <a:solidFill>
                  <a:srgbClr val="0070C0"/>
                </a:solidFill>
                <a:latin typeface="+mj-lt"/>
                <a:ea typeface="League Spartan" charset="0"/>
                <a:cs typeface="Poppins" pitchFamily="2" charset="77"/>
              </a:rPr>
              <a:t>durante la crisis?</a:t>
            </a:r>
          </a:p>
          <a:p>
            <a:r>
              <a:rPr lang="en-GB" sz="2400" dirty="0">
                <a:solidFill>
                  <a:srgbClr val="0070C0"/>
                </a:solidFill>
                <a:latin typeface="+mj-lt"/>
                <a:ea typeface="League Spartan" charset="0"/>
                <a:cs typeface="Poppins" pitchFamily="2" charset="77"/>
              </a:rPr>
              <a:t>¿Cómo ha </a:t>
            </a:r>
            <a:r>
              <a:rPr lang="en-GB" sz="2400" b="1" dirty="0">
                <a:solidFill>
                  <a:srgbClr val="0070C0"/>
                </a:solidFill>
                <a:latin typeface="+mj-lt"/>
                <a:ea typeface="League Spartan" charset="0"/>
                <a:cs typeface="Poppins" pitchFamily="2" charset="77"/>
              </a:rPr>
              <a:t>eliminado el trabajo sin importancia</a:t>
            </a:r>
            <a:r>
              <a:rPr lang="en-GB" sz="2400" dirty="0">
                <a:solidFill>
                  <a:srgbClr val="0070C0"/>
                </a:solidFill>
                <a:latin typeface="+mj-lt"/>
                <a:ea typeface="League Spartan" charset="0"/>
                <a:cs typeface="Poppins" pitchFamily="2" charset="77"/>
              </a:rPr>
              <a:t>?</a:t>
            </a:r>
          </a:p>
          <a:p>
            <a:r>
              <a:rPr lang="en-GB" sz="2400" dirty="0">
                <a:solidFill>
                  <a:srgbClr val="0070C0"/>
                </a:solidFill>
                <a:latin typeface="+mj-lt"/>
                <a:ea typeface="League Spartan" charset="0"/>
                <a:cs typeface="Poppins" pitchFamily="2" charset="77"/>
              </a:rPr>
              <a:t>¿Cómo ha </a:t>
            </a:r>
            <a:r>
              <a:rPr lang="en-GB" sz="2400" b="1" dirty="0">
                <a:solidFill>
                  <a:srgbClr val="0070C0"/>
                </a:solidFill>
                <a:latin typeface="+mj-lt"/>
                <a:ea typeface="League Spartan" charset="0"/>
                <a:cs typeface="Poppins" pitchFamily="2" charset="77"/>
              </a:rPr>
              <a:t>elevado el trabajo importante</a:t>
            </a:r>
            <a:r>
              <a:rPr lang="en-GB" sz="2400" dirty="0">
                <a:solidFill>
                  <a:srgbClr val="0070C0"/>
                </a:solidFill>
                <a:latin typeface="+mj-lt"/>
                <a:ea typeface="League Spartan" charset="0"/>
                <a:cs typeface="Poppins" pitchFamily="2" charset="77"/>
              </a:rPr>
              <a:t>?</a:t>
            </a:r>
          </a:p>
          <a:p>
            <a:r>
              <a:rPr lang="en-GB" sz="2400" dirty="0">
                <a:solidFill>
                  <a:srgbClr val="0070C0"/>
                </a:solidFill>
                <a:latin typeface="+mj-lt"/>
              </a:rPr>
              <a:t>¿Qué </a:t>
            </a:r>
            <a:r>
              <a:rPr lang="en-GB" sz="2400" b="1" dirty="0">
                <a:solidFill>
                  <a:srgbClr val="0070C0"/>
                </a:solidFill>
                <a:latin typeface="+mj-lt"/>
              </a:rPr>
              <a:t>talentos/capacidades ocultas </a:t>
            </a:r>
            <a:r>
              <a:rPr lang="en-GB" sz="2400" dirty="0">
                <a:solidFill>
                  <a:srgbClr val="0070C0"/>
                </a:solidFill>
                <a:latin typeface="+mj-lt"/>
              </a:rPr>
              <a:t>ha descubierto?</a:t>
            </a:r>
          </a:p>
          <a:p>
            <a:r>
              <a:rPr lang="en-GB" sz="2400" dirty="0">
                <a:solidFill>
                  <a:srgbClr val="0070C0"/>
                </a:solidFill>
                <a:latin typeface="+mj-lt"/>
                <a:ea typeface="League Spartan" charset="0"/>
                <a:cs typeface="Poppins" pitchFamily="2" charset="77"/>
              </a:rPr>
              <a:t>¿Qué </a:t>
            </a:r>
            <a:r>
              <a:rPr lang="en-GB" sz="2400" b="1" dirty="0">
                <a:solidFill>
                  <a:srgbClr val="0070C0"/>
                </a:solidFill>
                <a:latin typeface="+mj-lt"/>
                <a:ea typeface="League Spartan" charset="0"/>
                <a:cs typeface="Poppins" pitchFamily="2" charset="77"/>
              </a:rPr>
              <a:t>gustos y disgustos ha </a:t>
            </a:r>
            <a:r>
              <a:rPr lang="en-GB" sz="2400" dirty="0">
                <a:solidFill>
                  <a:srgbClr val="0070C0"/>
                </a:solidFill>
                <a:latin typeface="+mj-lt"/>
                <a:ea typeface="League Spartan" charset="0"/>
                <a:cs typeface="Poppins" pitchFamily="2" charset="77"/>
              </a:rPr>
              <a:t>descubierto?</a:t>
            </a:r>
          </a:p>
          <a:p>
            <a:endParaRPr lang="en-GB" sz="1400" dirty="0">
              <a:solidFill>
                <a:schemeClr val="tx2"/>
              </a:solidFill>
              <a:latin typeface="+mj-lt"/>
            </a:endParaRPr>
          </a:p>
          <a:p>
            <a:endParaRPr lang="en-GB" sz="1400" dirty="0">
              <a:solidFill>
                <a:schemeClr val="tx2"/>
              </a:solidFill>
              <a:latin typeface="+mj-lt"/>
              <a:ea typeface="League Spartan" charset="0"/>
              <a:cs typeface="Poppins" pitchFamily="2" charset="77"/>
            </a:endParaRPr>
          </a:p>
          <a:p>
            <a:endParaRPr lang="en-GB" sz="1600" dirty="0">
              <a:solidFill>
                <a:schemeClr val="tx2"/>
              </a:solidFill>
              <a:latin typeface="+mj-lt"/>
              <a:ea typeface="League Spartan" charset="0"/>
              <a:cs typeface="Poppins" pitchFamily="2" charset="77"/>
            </a:endParaRPr>
          </a:p>
          <a:p>
            <a:endParaRPr lang="en-GB" sz="1600"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14939692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363783" y="2637864"/>
            <a:ext cx="9821959" cy="1582271"/>
          </a:xfrm>
        </p:spPr>
        <p:txBody>
          <a:bodyPr/>
          <a:lstStyle/>
          <a:p>
            <a:r>
              <a:rPr lang="en-GB" dirty="0"/>
              <a:t>Percepción personal del fracaso</a:t>
            </a:r>
          </a:p>
        </p:txBody>
      </p:sp>
    </p:spTree>
    <p:extLst>
      <p:ext uri="{BB962C8B-B14F-4D97-AF65-F5344CB8AC3E}">
        <p14:creationId xmlns:p14="http://schemas.microsoft.com/office/powerpoint/2010/main" val="5403520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16496" y="734732"/>
            <a:ext cx="8852375" cy="697353"/>
          </a:xfrm>
        </p:spPr>
        <p:txBody>
          <a:bodyPr>
            <a:normAutofit/>
          </a:bodyPr>
          <a:lstStyle/>
          <a:p>
            <a:r>
              <a:rPr lang="en-GB" dirty="0"/>
              <a:t>Consecuencias personales del fracaso</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060504"/>
            <a:ext cx="5483152" cy="403730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Los empresarios en situaciones particulares pueden pensar de forma diferente cuando se enfrentan a una tarea o a un entorno de decisión diferente.</a:t>
            </a:r>
            <a:endParaRPr lang="en-US" sz="2200" dirty="0">
              <a:solidFill>
                <a:srgbClr val="245473"/>
              </a:solidFill>
            </a:endParaRPr>
          </a:p>
          <a:p>
            <a:pPr algn="l">
              <a:lnSpc>
                <a:spcPct val="100000"/>
              </a:lnSpc>
              <a:spcBef>
                <a:spcPts val="600"/>
              </a:spcBef>
            </a:pPr>
            <a:r>
              <a:rPr lang="en-GB" altLang="de-DE" sz="2200" dirty="0">
                <a:solidFill>
                  <a:srgbClr val="245473"/>
                </a:solidFill>
                <a:latin typeface="+mj-lt"/>
              </a:rPr>
              <a:t>Tienen que enfrentarse a tareas diferentes y a menudo tienen que enfrentarse a un entorno de decisión diferente.</a:t>
            </a:r>
          </a:p>
          <a:p>
            <a:pPr algn="l">
              <a:lnSpc>
                <a:spcPct val="100000"/>
              </a:lnSpc>
              <a:spcBef>
                <a:spcPts val="600"/>
              </a:spcBef>
            </a:pPr>
            <a:r>
              <a:rPr lang="en-GB" altLang="de-DE" sz="2200" dirty="0">
                <a:solidFill>
                  <a:srgbClr val="245473"/>
                </a:solidFill>
                <a:latin typeface="+mj-lt"/>
              </a:rPr>
              <a:t>Los emprendedores necesitan ser eficaces, tener capacidad de adaptación cognitiva y aprender del fracaso muy rápidamente</a:t>
            </a:r>
          </a:p>
          <a:p>
            <a:pPr algn="l">
              <a:lnSpc>
                <a:spcPct val="100000"/>
              </a:lnSpc>
              <a:spcBef>
                <a:spcPts val="600"/>
              </a:spcBef>
            </a:pPr>
            <a:r>
              <a:rPr lang="en-GB" altLang="de-DE" sz="2200" dirty="0">
                <a:solidFill>
                  <a:srgbClr val="245473"/>
                </a:solidFill>
                <a:latin typeface="+mj-lt"/>
              </a:rPr>
              <a:t>La mentalidad emprendedora implica la capacidad de percibir, actuar y movilizarse rápidamente, incluso en condiciones de incertidumbre</a:t>
            </a: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550278" y="6528494"/>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Fuente: Adaptado de Brightline Initiative en colaboración con Quartz Insights 2018</a:t>
            </a:r>
            <a:endParaRPr lang="en-GB" sz="1000" dirty="0">
              <a:latin typeface="+mj-lt"/>
              <a:ea typeface="League Spartan" charset="0"/>
              <a:cs typeface="Poppins" pitchFamily="2" charset="77"/>
            </a:endParaRPr>
          </a:p>
        </p:txBody>
      </p:sp>
      <p:sp>
        <p:nvSpPr>
          <p:cNvPr id="51" name="Subtitle 2">
            <a:extLst>
              <a:ext uri="{FF2B5EF4-FFF2-40B4-BE49-F238E27FC236}">
                <a16:creationId xmlns:a16="http://schemas.microsoft.com/office/drawing/2014/main" xmlns="" id="{1E04ACF3-59B5-48F9-B9F8-6B8F95B01226}"/>
              </a:ext>
            </a:extLst>
          </p:cNvPr>
          <p:cNvSpPr txBox="1">
            <a:spLocks/>
          </p:cNvSpPr>
          <p:nvPr/>
        </p:nvSpPr>
        <p:spPr>
          <a:xfrm>
            <a:off x="6863891" y="1892527"/>
            <a:ext cx="8235949"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solidFill>
                  <a:srgbClr val="245473"/>
                </a:solidFill>
                <a:latin typeface="+mj-lt"/>
                <a:ea typeface="Lato Light" panose="020F0502020204030203" pitchFamily="34" charset="0"/>
                <a:cs typeface="Mukta ExtraLight" panose="020B0000000000000000" pitchFamily="34" charset="77"/>
              </a:rPr>
              <a:t>Dada la naturaleza de su entorno de toma de decisiones </a:t>
            </a:r>
            <a:br>
              <a:rPr lang="en-GB" sz="1800" b="1" dirty="0">
                <a:solidFill>
                  <a:srgbClr val="245473"/>
                </a:solidFill>
                <a:latin typeface="+mj-lt"/>
                <a:ea typeface="Lato Light" panose="020F0502020204030203" pitchFamily="34" charset="0"/>
                <a:cs typeface="Mukta ExtraLight" panose="020B0000000000000000" pitchFamily="34" charset="77"/>
              </a:rPr>
            </a:br>
            <a:r>
              <a:rPr lang="en-GB" sz="1800" b="1" dirty="0">
                <a:solidFill>
                  <a:srgbClr val="245473"/>
                </a:solidFill>
                <a:latin typeface="+mj-lt"/>
                <a:ea typeface="Lato Light" panose="020F0502020204030203" pitchFamily="34" charset="0"/>
                <a:cs typeface="Mukta ExtraLight" panose="020B0000000000000000" pitchFamily="34" charset="77"/>
              </a:rPr>
              <a:t>los empresarios necesitan a veces:</a:t>
            </a:r>
          </a:p>
        </p:txBody>
      </p:sp>
      <p:sp>
        <p:nvSpPr>
          <p:cNvPr id="10" name="Freeform 43">
            <a:extLst>
              <a:ext uri="{FF2B5EF4-FFF2-40B4-BE49-F238E27FC236}">
                <a16:creationId xmlns:a16="http://schemas.microsoft.com/office/drawing/2014/main" xmlns="" id="{439AB075-704F-4DF1-8AAD-CF7A623F8EFD}"/>
              </a:ext>
            </a:extLst>
          </p:cNvPr>
          <p:cNvSpPr>
            <a:spLocks/>
          </p:cNvSpPr>
          <p:nvPr/>
        </p:nvSpPr>
        <p:spPr bwMode="auto">
          <a:xfrm>
            <a:off x="7885220" y="3869178"/>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1" name="Freeform 36">
            <a:extLst>
              <a:ext uri="{FF2B5EF4-FFF2-40B4-BE49-F238E27FC236}">
                <a16:creationId xmlns:a16="http://schemas.microsoft.com/office/drawing/2014/main" xmlns="" id="{91CB81DE-3D07-4F75-BED5-CF978C7F18F0}"/>
              </a:ext>
            </a:extLst>
          </p:cNvPr>
          <p:cNvSpPr>
            <a:spLocks/>
          </p:cNvSpPr>
          <p:nvPr/>
        </p:nvSpPr>
        <p:spPr bwMode="auto">
          <a:xfrm>
            <a:off x="6863891" y="3869178"/>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2" name="Freeform 37">
            <a:extLst>
              <a:ext uri="{FF2B5EF4-FFF2-40B4-BE49-F238E27FC236}">
                <a16:creationId xmlns:a16="http://schemas.microsoft.com/office/drawing/2014/main" xmlns="" id="{5F213513-73B8-41A9-A1AA-49279C878BD0}"/>
              </a:ext>
            </a:extLst>
          </p:cNvPr>
          <p:cNvSpPr>
            <a:spLocks/>
          </p:cNvSpPr>
          <p:nvPr/>
        </p:nvSpPr>
        <p:spPr bwMode="auto">
          <a:xfrm>
            <a:off x="6863891" y="3869178"/>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3" name="Rectangle 48">
            <a:extLst>
              <a:ext uri="{FF2B5EF4-FFF2-40B4-BE49-F238E27FC236}">
                <a16:creationId xmlns:a16="http://schemas.microsoft.com/office/drawing/2014/main" xmlns="" id="{B7D06AC3-1445-4A32-8DEC-DB2E253FA8F5}"/>
              </a:ext>
            </a:extLst>
          </p:cNvPr>
          <p:cNvSpPr>
            <a:spLocks/>
          </p:cNvSpPr>
          <p:nvPr/>
        </p:nvSpPr>
        <p:spPr bwMode="auto">
          <a:xfrm>
            <a:off x="7170672" y="4172416"/>
            <a:ext cx="487441"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3601" b="1" spc="113">
                <a:solidFill>
                  <a:schemeClr val="bg1"/>
                </a:solidFill>
                <a:latin typeface="+mj-lt"/>
                <a:ea typeface="Roboto" charset="0"/>
                <a:cs typeface="Roboto" charset="0"/>
                <a:sym typeface="Bebas Neue" charset="0"/>
              </a:rPr>
              <a:t>02</a:t>
            </a:r>
            <a:endParaRPr lang="en-GB" sz="3601" b="1" spc="113" dirty="0">
              <a:solidFill>
                <a:schemeClr val="bg1"/>
              </a:solidFill>
              <a:latin typeface="+mj-lt"/>
              <a:ea typeface="Roboto" charset="0"/>
              <a:cs typeface="Roboto" charset="0"/>
              <a:sym typeface="Bebas Neue" charset="0"/>
            </a:endParaRPr>
          </a:p>
        </p:txBody>
      </p:sp>
      <p:sp>
        <p:nvSpPr>
          <p:cNvPr id="14" name="TextBox 49">
            <a:extLst>
              <a:ext uri="{FF2B5EF4-FFF2-40B4-BE49-F238E27FC236}">
                <a16:creationId xmlns:a16="http://schemas.microsoft.com/office/drawing/2014/main" xmlns="" id="{23F4EC38-BC36-463C-927F-556D2F38AE0F}"/>
              </a:ext>
            </a:extLst>
          </p:cNvPr>
          <p:cNvSpPr txBox="1"/>
          <p:nvPr/>
        </p:nvSpPr>
        <p:spPr>
          <a:xfrm>
            <a:off x="8449416" y="3953395"/>
            <a:ext cx="3091287" cy="954107"/>
          </a:xfrm>
          <a:prstGeom prst="rect">
            <a:avLst/>
          </a:prstGeom>
          <a:noFill/>
        </p:spPr>
        <p:txBody>
          <a:bodyPr wrap="square" rtlCol="0">
            <a:spAutoFit/>
          </a:bodyPr>
          <a:lstStyle/>
          <a:p>
            <a:r>
              <a:rPr lang="en-GB" sz="2800" dirty="0">
                <a:solidFill>
                  <a:schemeClr val="bg1"/>
                </a:solidFill>
                <a:latin typeface="+mj-lt"/>
                <a:ea typeface="Lato Light" charset="0"/>
                <a:cs typeface="Lato Light" charset="0"/>
              </a:rPr>
              <a:t>Ser cognitivamente adaptable</a:t>
            </a:r>
          </a:p>
        </p:txBody>
      </p:sp>
      <p:sp>
        <p:nvSpPr>
          <p:cNvPr id="15" name="Freeform 43">
            <a:extLst>
              <a:ext uri="{FF2B5EF4-FFF2-40B4-BE49-F238E27FC236}">
                <a16:creationId xmlns:a16="http://schemas.microsoft.com/office/drawing/2014/main" xmlns="" id="{74066035-0FDF-43BF-8BEF-A53EFB1B261A}"/>
              </a:ext>
            </a:extLst>
          </p:cNvPr>
          <p:cNvSpPr>
            <a:spLocks/>
          </p:cNvSpPr>
          <p:nvPr/>
        </p:nvSpPr>
        <p:spPr bwMode="auto">
          <a:xfrm>
            <a:off x="7885220" y="5099730"/>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7" name="Freeform 36">
            <a:extLst>
              <a:ext uri="{FF2B5EF4-FFF2-40B4-BE49-F238E27FC236}">
                <a16:creationId xmlns:a16="http://schemas.microsoft.com/office/drawing/2014/main" xmlns="" id="{DD18262F-8E11-4E1E-A03E-5AA7177FCA59}"/>
              </a:ext>
            </a:extLst>
          </p:cNvPr>
          <p:cNvSpPr>
            <a:spLocks/>
          </p:cNvSpPr>
          <p:nvPr/>
        </p:nvSpPr>
        <p:spPr bwMode="auto">
          <a:xfrm>
            <a:off x="6863891" y="509973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8" name="Freeform 37">
            <a:extLst>
              <a:ext uri="{FF2B5EF4-FFF2-40B4-BE49-F238E27FC236}">
                <a16:creationId xmlns:a16="http://schemas.microsoft.com/office/drawing/2014/main" xmlns="" id="{A0C96CDA-D8A0-4F0C-82C7-3BFBBEBA9BC0}"/>
              </a:ext>
            </a:extLst>
          </p:cNvPr>
          <p:cNvSpPr>
            <a:spLocks/>
          </p:cNvSpPr>
          <p:nvPr/>
        </p:nvSpPr>
        <p:spPr bwMode="auto">
          <a:xfrm>
            <a:off x="6863891" y="509973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9" name="Rectangle 59">
            <a:extLst>
              <a:ext uri="{FF2B5EF4-FFF2-40B4-BE49-F238E27FC236}">
                <a16:creationId xmlns:a16="http://schemas.microsoft.com/office/drawing/2014/main" xmlns="" id="{0067984E-00FF-4303-ADF2-A1D314CE9FFC}"/>
              </a:ext>
            </a:extLst>
          </p:cNvPr>
          <p:cNvSpPr>
            <a:spLocks/>
          </p:cNvSpPr>
          <p:nvPr/>
        </p:nvSpPr>
        <p:spPr bwMode="auto">
          <a:xfrm>
            <a:off x="7170672" y="5402968"/>
            <a:ext cx="487441"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3601" b="1" spc="113">
                <a:solidFill>
                  <a:schemeClr val="bg1"/>
                </a:solidFill>
                <a:latin typeface="+mj-lt"/>
                <a:ea typeface="Roboto" charset="0"/>
                <a:cs typeface="Roboto" charset="0"/>
                <a:sym typeface="Bebas Neue" charset="0"/>
              </a:rPr>
              <a:t>03</a:t>
            </a:r>
            <a:endParaRPr lang="en-GB" sz="3601" b="1" spc="113" dirty="0">
              <a:solidFill>
                <a:schemeClr val="bg1"/>
              </a:solidFill>
              <a:latin typeface="+mj-lt"/>
              <a:ea typeface="Roboto" charset="0"/>
              <a:cs typeface="Roboto" charset="0"/>
              <a:sym typeface="Bebas Neue" charset="0"/>
            </a:endParaRPr>
          </a:p>
        </p:txBody>
      </p:sp>
      <p:sp>
        <p:nvSpPr>
          <p:cNvPr id="20" name="TextBox 80">
            <a:extLst>
              <a:ext uri="{FF2B5EF4-FFF2-40B4-BE49-F238E27FC236}">
                <a16:creationId xmlns:a16="http://schemas.microsoft.com/office/drawing/2014/main" xmlns="" id="{2CFF0562-9425-4ED0-B387-B3EE845DA532}"/>
              </a:ext>
            </a:extLst>
          </p:cNvPr>
          <p:cNvSpPr txBox="1"/>
          <p:nvPr/>
        </p:nvSpPr>
        <p:spPr>
          <a:xfrm>
            <a:off x="8504307" y="5436055"/>
            <a:ext cx="3091287" cy="350609"/>
          </a:xfrm>
          <a:prstGeom prst="rect">
            <a:avLst/>
          </a:prstGeom>
          <a:noFill/>
        </p:spPr>
        <p:txBody>
          <a:bodyPr wrap="square" rtlCol="0">
            <a:spAutoFit/>
          </a:bodyPr>
          <a:lstStyle/>
          <a:p>
            <a:pPr>
              <a:lnSpc>
                <a:spcPts val="1665"/>
              </a:lnSpc>
            </a:pPr>
            <a:r>
              <a:rPr lang="en-GB" sz="2800" dirty="0">
                <a:solidFill>
                  <a:schemeClr val="bg1"/>
                </a:solidFill>
                <a:latin typeface="+mj-lt"/>
                <a:ea typeface="Lato Light" charset="0"/>
                <a:cs typeface="Lato Light" charset="0"/>
              </a:rPr>
              <a:t>Aprender del fracaso</a:t>
            </a:r>
          </a:p>
        </p:txBody>
      </p:sp>
      <p:sp>
        <p:nvSpPr>
          <p:cNvPr id="21" name="Freeform 43">
            <a:extLst>
              <a:ext uri="{FF2B5EF4-FFF2-40B4-BE49-F238E27FC236}">
                <a16:creationId xmlns:a16="http://schemas.microsoft.com/office/drawing/2014/main" xmlns="" id="{0BA5A545-BF71-4D16-A4A4-74A3597999D9}"/>
              </a:ext>
            </a:extLst>
          </p:cNvPr>
          <p:cNvSpPr>
            <a:spLocks/>
          </p:cNvSpPr>
          <p:nvPr/>
        </p:nvSpPr>
        <p:spPr bwMode="auto">
          <a:xfrm>
            <a:off x="7885218" y="2638626"/>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2" name="Freeform 36">
            <a:extLst>
              <a:ext uri="{FF2B5EF4-FFF2-40B4-BE49-F238E27FC236}">
                <a16:creationId xmlns:a16="http://schemas.microsoft.com/office/drawing/2014/main" xmlns="" id="{C62448B9-3394-4F3F-BBC0-80E17DAA3A64}"/>
              </a:ext>
            </a:extLst>
          </p:cNvPr>
          <p:cNvSpPr>
            <a:spLocks/>
          </p:cNvSpPr>
          <p:nvPr/>
        </p:nvSpPr>
        <p:spPr bwMode="auto">
          <a:xfrm>
            <a:off x="6863891" y="2623854"/>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3" name="Freeform 37">
            <a:extLst>
              <a:ext uri="{FF2B5EF4-FFF2-40B4-BE49-F238E27FC236}">
                <a16:creationId xmlns:a16="http://schemas.microsoft.com/office/drawing/2014/main" xmlns="" id="{57374032-37BD-4082-A10F-0BAE03ABC84C}"/>
              </a:ext>
            </a:extLst>
          </p:cNvPr>
          <p:cNvSpPr>
            <a:spLocks/>
          </p:cNvSpPr>
          <p:nvPr/>
        </p:nvSpPr>
        <p:spPr bwMode="auto">
          <a:xfrm>
            <a:off x="6863891" y="2623854"/>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4" name="Rectangle 85">
            <a:extLst>
              <a:ext uri="{FF2B5EF4-FFF2-40B4-BE49-F238E27FC236}">
                <a16:creationId xmlns:a16="http://schemas.microsoft.com/office/drawing/2014/main" xmlns="" id="{D6EBA538-DE5D-4CA5-9BFE-21B6F91B719E}"/>
              </a:ext>
            </a:extLst>
          </p:cNvPr>
          <p:cNvSpPr>
            <a:spLocks/>
          </p:cNvSpPr>
          <p:nvPr/>
        </p:nvSpPr>
        <p:spPr bwMode="auto">
          <a:xfrm>
            <a:off x="7170672" y="2927092"/>
            <a:ext cx="487441"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3601" b="1" spc="113">
                <a:solidFill>
                  <a:schemeClr val="bg1"/>
                </a:solidFill>
                <a:latin typeface="+mj-lt"/>
                <a:ea typeface="Roboto" charset="0"/>
                <a:cs typeface="Roboto" charset="0"/>
                <a:sym typeface="Bebas Neue" charset="0"/>
              </a:rPr>
              <a:t>01</a:t>
            </a:r>
            <a:endParaRPr lang="en-GB" sz="3601" b="1" spc="113" dirty="0">
              <a:solidFill>
                <a:schemeClr val="bg1"/>
              </a:solidFill>
              <a:latin typeface="+mj-lt"/>
              <a:ea typeface="Roboto" charset="0"/>
              <a:cs typeface="Roboto" charset="0"/>
              <a:sym typeface="Bebas Neue" charset="0"/>
            </a:endParaRPr>
          </a:p>
        </p:txBody>
      </p:sp>
      <p:sp>
        <p:nvSpPr>
          <p:cNvPr id="25" name="TextBox 86">
            <a:extLst>
              <a:ext uri="{FF2B5EF4-FFF2-40B4-BE49-F238E27FC236}">
                <a16:creationId xmlns:a16="http://schemas.microsoft.com/office/drawing/2014/main" xmlns="" id="{91BE9FCD-250A-4A6A-94E6-BF3F4B46FC0E}"/>
              </a:ext>
            </a:extLst>
          </p:cNvPr>
          <p:cNvSpPr txBox="1"/>
          <p:nvPr/>
        </p:nvSpPr>
        <p:spPr>
          <a:xfrm>
            <a:off x="8204452" y="2638626"/>
            <a:ext cx="3584777" cy="954107"/>
          </a:xfrm>
          <a:prstGeom prst="rect">
            <a:avLst/>
          </a:prstGeom>
          <a:noFill/>
        </p:spPr>
        <p:txBody>
          <a:bodyPr wrap="square" rtlCol="0">
            <a:spAutoFit/>
          </a:bodyPr>
          <a:lstStyle/>
          <a:p>
            <a:r>
              <a:rPr lang="en-GB" sz="2800" dirty="0">
                <a:solidFill>
                  <a:schemeClr val="bg1"/>
                </a:solidFill>
                <a:latin typeface="+mj-lt"/>
                <a:ea typeface="Lato Light" charset="0"/>
                <a:cs typeface="Lato Light" charset="0"/>
              </a:rPr>
              <a:t>Ejecutar - </a:t>
            </a:r>
            <a:r>
              <a:rPr lang="en-GB" sz="2800" b="0" i="0" dirty="0">
                <a:solidFill>
                  <a:schemeClr val="bg1"/>
                </a:solidFill>
                <a:effectLst/>
                <a:latin typeface="+mj-lt"/>
              </a:rPr>
              <a:t>poner en vigor o en funcionamiento.</a:t>
            </a:r>
            <a:endParaRPr lang="en-GB" sz="2800" dirty="0">
              <a:solidFill>
                <a:schemeClr val="bg1"/>
              </a:solidFill>
              <a:latin typeface="+mj-lt"/>
              <a:ea typeface="Lato Light" charset="0"/>
              <a:cs typeface="Lato Light" charset="0"/>
            </a:endParaRPr>
          </a:p>
        </p:txBody>
      </p:sp>
    </p:spTree>
    <p:extLst>
      <p:ext uri="{BB962C8B-B14F-4D97-AF65-F5344CB8AC3E}">
        <p14:creationId xmlns:p14="http://schemas.microsoft.com/office/powerpoint/2010/main" val="14121441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24875" y="629436"/>
            <a:ext cx="8852375" cy="697353"/>
          </a:xfrm>
        </p:spPr>
        <p:txBody>
          <a:bodyPr>
            <a:normAutofit/>
          </a:bodyPr>
          <a:lstStyle/>
          <a:p>
            <a:r>
              <a:rPr lang="en-GB" dirty="0"/>
              <a:t>Riesgos, éxitos y fracaso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29234" y="1794699"/>
            <a:ext cx="5630741" cy="489908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El éxito y el fracaso están estrechamente relacionados con los riesgos que conlleva una empresa, un proyecto o una tarea. Una respuesta errónea o fallida a los riesgos provoca el fracaso, y los riesgos llaman al llamado miedo al fracaso. El miedo al fracaso es uno de los mayores temores que pueden tener las personas. Crece debido a las críticas anteriores o al rechazo tras los fracasos y nos incapacita y autolimita. </a:t>
            </a:r>
          </a:p>
          <a:p>
            <a:pPr algn="l">
              <a:lnSpc>
                <a:spcPct val="100000"/>
              </a:lnSpc>
              <a:spcBef>
                <a:spcPts val="600"/>
              </a:spcBef>
            </a:pPr>
            <a:r>
              <a:rPr lang="en-GB" altLang="de-DE" sz="2200" dirty="0">
                <a:latin typeface="+mj-lt"/>
              </a:rPr>
              <a:t>El miedo al fracaso es una de las principales razones por las que la gente ni siquiera empieza a trabajar en una idea o proyecto. Pero el miedo al fracaso también es un buen equilibrio. Evita que vayamos en la dirección equivocada y que nos entusiasmemos demasiado con una idea. Se trata del equilibrio.</a:t>
            </a:r>
          </a:p>
        </p:txBody>
      </p:sp>
      <p:grpSp>
        <p:nvGrpSpPr>
          <p:cNvPr id="5" name="Gruppieren 4">
            <a:extLst>
              <a:ext uri="{FF2B5EF4-FFF2-40B4-BE49-F238E27FC236}">
                <a16:creationId xmlns:a16="http://schemas.microsoft.com/office/drawing/2014/main" xmlns="" id="{BF2C38FF-69BB-4C92-B3BB-9183737C4D1B}"/>
              </a:ext>
            </a:extLst>
          </p:cNvPr>
          <p:cNvGrpSpPr>
            <a:grpSpLocks noChangeAspect="1"/>
          </p:cNvGrpSpPr>
          <p:nvPr/>
        </p:nvGrpSpPr>
        <p:grpSpPr>
          <a:xfrm>
            <a:off x="5890338" y="2617592"/>
            <a:ext cx="6393586" cy="3537288"/>
            <a:chOff x="4553656" y="2577942"/>
            <a:chExt cx="5723995" cy="3012841"/>
          </a:xfrm>
        </p:grpSpPr>
        <p:cxnSp>
          <p:nvCxnSpPr>
            <p:cNvPr id="26" name="Gerade Verbindung mit Pfeil 25">
              <a:extLst>
                <a:ext uri="{FF2B5EF4-FFF2-40B4-BE49-F238E27FC236}">
                  <a16:creationId xmlns:a16="http://schemas.microsoft.com/office/drawing/2014/main" xmlns="" id="{AF08A923-D8C9-40A5-830D-13F34BF213A7}"/>
                </a:ext>
              </a:extLst>
            </p:cNvPr>
            <p:cNvCxnSpPr/>
            <p:nvPr/>
          </p:nvCxnSpPr>
          <p:spPr>
            <a:xfrm flipV="1">
              <a:off x="4913458" y="3118023"/>
              <a:ext cx="0" cy="2167466"/>
            </a:xfrm>
            <a:prstGeom prst="straightConnector1">
              <a:avLst/>
            </a:prstGeom>
            <a:ln>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7" name="Gerade Verbindung mit Pfeil 26">
              <a:extLst>
                <a:ext uri="{FF2B5EF4-FFF2-40B4-BE49-F238E27FC236}">
                  <a16:creationId xmlns:a16="http://schemas.microsoft.com/office/drawing/2014/main" xmlns="" id="{7F59BF23-99C6-42AE-9C49-937713A6FBE8}"/>
                </a:ext>
              </a:extLst>
            </p:cNvPr>
            <p:cNvCxnSpPr/>
            <p:nvPr/>
          </p:nvCxnSpPr>
          <p:spPr>
            <a:xfrm flipV="1">
              <a:off x="4913458" y="5285489"/>
              <a:ext cx="4470400" cy="1"/>
            </a:xfrm>
            <a:prstGeom prst="straightConnector1">
              <a:avLst/>
            </a:prstGeom>
            <a:ln>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sp>
          <p:nvSpPr>
            <p:cNvPr id="28" name="Textfeld 27">
              <a:extLst>
                <a:ext uri="{FF2B5EF4-FFF2-40B4-BE49-F238E27FC236}">
                  <a16:creationId xmlns:a16="http://schemas.microsoft.com/office/drawing/2014/main" xmlns="" id="{B12EAF4A-58C6-4748-B8C7-EF5A5BCE5A17}"/>
                </a:ext>
              </a:extLst>
            </p:cNvPr>
            <p:cNvSpPr txBox="1"/>
            <p:nvPr/>
          </p:nvSpPr>
          <p:spPr>
            <a:xfrm rot="16200000">
              <a:off x="4297062" y="4051696"/>
              <a:ext cx="906147" cy="303098"/>
            </a:xfrm>
            <a:prstGeom prst="rect">
              <a:avLst/>
            </a:prstGeom>
            <a:noFill/>
            <a:ln>
              <a:noFill/>
            </a:ln>
          </p:spPr>
          <p:txBody>
            <a:bodyPr wrap="none" lIns="91440" tIns="45720" rIns="91440" bIns="45720" rtlCol="0" anchor="t">
              <a:spAutoFit/>
            </a:bodyPr>
            <a:lstStyle/>
            <a:p>
              <a:pPr algn="ctr"/>
              <a:r>
                <a:rPr lang="en-GB" sz="1600" dirty="0">
                  <a:solidFill>
                    <a:schemeClr val="tx2"/>
                  </a:solidFill>
                  <a:latin typeface="Helvetica Light"/>
                  <a:cs typeface="Helvetica Light"/>
                </a:rPr>
                <a:t>Nivel de riesgo</a:t>
              </a:r>
            </a:p>
          </p:txBody>
        </p:sp>
        <p:sp>
          <p:nvSpPr>
            <p:cNvPr id="29" name="Textfeld 28">
              <a:extLst>
                <a:ext uri="{FF2B5EF4-FFF2-40B4-BE49-F238E27FC236}">
                  <a16:creationId xmlns:a16="http://schemas.microsoft.com/office/drawing/2014/main" xmlns="" id="{F9E391F7-4167-44E5-85A0-E85281905D42}"/>
                </a:ext>
              </a:extLst>
            </p:cNvPr>
            <p:cNvSpPr txBox="1"/>
            <p:nvPr/>
          </p:nvSpPr>
          <p:spPr>
            <a:xfrm>
              <a:off x="4853222" y="5302424"/>
              <a:ext cx="550054" cy="288359"/>
            </a:xfrm>
            <a:prstGeom prst="rect">
              <a:avLst/>
            </a:prstGeom>
            <a:noFill/>
            <a:ln>
              <a:noFill/>
            </a:ln>
          </p:spPr>
          <p:txBody>
            <a:bodyPr wrap="none" lIns="91440" tIns="45720" rIns="91440" bIns="45720" rtlCol="0" anchor="t">
              <a:spAutoFit/>
            </a:bodyPr>
            <a:lstStyle/>
            <a:p>
              <a:r>
                <a:rPr lang="en-GB" sz="1600" dirty="0">
                  <a:solidFill>
                    <a:schemeClr val="tx2"/>
                  </a:solidFill>
                  <a:latin typeface="Helvetica Light"/>
                  <a:cs typeface="Helvetica Light"/>
                </a:rPr>
                <a:t>(baja)</a:t>
              </a:r>
            </a:p>
          </p:txBody>
        </p:sp>
        <p:sp>
          <p:nvSpPr>
            <p:cNvPr id="30" name="Textfeld 29">
              <a:extLst>
                <a:ext uri="{FF2B5EF4-FFF2-40B4-BE49-F238E27FC236}">
                  <a16:creationId xmlns:a16="http://schemas.microsoft.com/office/drawing/2014/main" xmlns="" id="{280F6568-43D7-494E-A281-0DA38DF6CD5D}"/>
                </a:ext>
              </a:extLst>
            </p:cNvPr>
            <p:cNvSpPr txBox="1"/>
            <p:nvPr/>
          </p:nvSpPr>
          <p:spPr>
            <a:xfrm>
              <a:off x="8762507" y="5302424"/>
              <a:ext cx="621351" cy="288359"/>
            </a:xfrm>
            <a:prstGeom prst="rect">
              <a:avLst/>
            </a:prstGeom>
            <a:noFill/>
            <a:ln>
              <a:noFill/>
            </a:ln>
          </p:spPr>
          <p:txBody>
            <a:bodyPr wrap="none" lIns="91440" tIns="45720" rIns="91440" bIns="45720" rtlCol="0" anchor="t">
              <a:spAutoFit/>
            </a:bodyPr>
            <a:lstStyle/>
            <a:p>
              <a:pPr algn="r"/>
              <a:r>
                <a:rPr lang="en-GB" sz="1600" dirty="0">
                  <a:solidFill>
                    <a:schemeClr val="tx2"/>
                  </a:solidFill>
                  <a:latin typeface="Helvetica Light"/>
                  <a:cs typeface="Helvetica Light"/>
                </a:rPr>
                <a:t>(alto)</a:t>
              </a:r>
            </a:p>
          </p:txBody>
        </p:sp>
        <p:sp>
          <p:nvSpPr>
            <p:cNvPr id="31" name="Textfeld 30">
              <a:extLst>
                <a:ext uri="{FF2B5EF4-FFF2-40B4-BE49-F238E27FC236}">
                  <a16:creationId xmlns:a16="http://schemas.microsoft.com/office/drawing/2014/main" xmlns="" id="{8A521000-8C1F-4401-9AC6-828A78A16B75}"/>
                </a:ext>
              </a:extLst>
            </p:cNvPr>
            <p:cNvSpPr txBox="1"/>
            <p:nvPr/>
          </p:nvSpPr>
          <p:spPr>
            <a:xfrm rot="16200000">
              <a:off x="4464002" y="3223578"/>
              <a:ext cx="591137" cy="303098"/>
            </a:xfrm>
            <a:prstGeom prst="rect">
              <a:avLst/>
            </a:prstGeom>
            <a:noFill/>
            <a:ln>
              <a:noFill/>
            </a:ln>
          </p:spPr>
          <p:txBody>
            <a:bodyPr wrap="none" lIns="91440" tIns="45720" rIns="91440" bIns="45720" rtlCol="0" anchor="t">
              <a:spAutoFit/>
            </a:bodyPr>
            <a:lstStyle/>
            <a:p>
              <a:pPr algn="r"/>
              <a:r>
                <a:rPr lang="en-GB" sz="1600" dirty="0">
                  <a:solidFill>
                    <a:schemeClr val="tx2"/>
                  </a:solidFill>
                  <a:latin typeface="Helvetica Light"/>
                  <a:cs typeface="Helvetica Light"/>
                </a:rPr>
                <a:t>(alto)</a:t>
              </a:r>
            </a:p>
          </p:txBody>
        </p:sp>
        <p:sp>
          <p:nvSpPr>
            <p:cNvPr id="32" name="Textfeld 31">
              <a:extLst>
                <a:ext uri="{FF2B5EF4-FFF2-40B4-BE49-F238E27FC236}">
                  <a16:creationId xmlns:a16="http://schemas.microsoft.com/office/drawing/2014/main" xmlns="" id="{2527A049-3863-469B-92DB-55207607CFB5}"/>
                </a:ext>
              </a:extLst>
            </p:cNvPr>
            <p:cNvSpPr txBox="1"/>
            <p:nvPr/>
          </p:nvSpPr>
          <p:spPr>
            <a:xfrm rot="16200000">
              <a:off x="4488480" y="4864109"/>
              <a:ext cx="523307" cy="303098"/>
            </a:xfrm>
            <a:prstGeom prst="rect">
              <a:avLst/>
            </a:prstGeom>
            <a:noFill/>
            <a:ln>
              <a:noFill/>
            </a:ln>
          </p:spPr>
          <p:txBody>
            <a:bodyPr wrap="none" lIns="91440" tIns="45720" rIns="91440" bIns="45720" rtlCol="0" anchor="t">
              <a:spAutoFit/>
            </a:bodyPr>
            <a:lstStyle/>
            <a:p>
              <a:r>
                <a:rPr lang="en-GB" sz="1600" dirty="0">
                  <a:solidFill>
                    <a:schemeClr val="tx2"/>
                  </a:solidFill>
                  <a:latin typeface="Helvetica Light"/>
                  <a:cs typeface="Helvetica Light"/>
                </a:rPr>
                <a:t>(baja)</a:t>
              </a:r>
            </a:p>
          </p:txBody>
        </p:sp>
        <p:sp>
          <p:nvSpPr>
            <p:cNvPr id="33" name="Textfeld 32">
              <a:extLst>
                <a:ext uri="{FF2B5EF4-FFF2-40B4-BE49-F238E27FC236}">
                  <a16:creationId xmlns:a16="http://schemas.microsoft.com/office/drawing/2014/main" xmlns="" id="{B448CF3E-E2A1-4EC1-B65A-33DB4B70A3D4}"/>
                </a:ext>
              </a:extLst>
            </p:cNvPr>
            <p:cNvSpPr txBox="1"/>
            <p:nvPr/>
          </p:nvSpPr>
          <p:spPr>
            <a:xfrm>
              <a:off x="6417017" y="5302424"/>
              <a:ext cx="1275136" cy="288359"/>
            </a:xfrm>
            <a:prstGeom prst="rect">
              <a:avLst/>
            </a:prstGeom>
            <a:noFill/>
            <a:ln>
              <a:noFill/>
            </a:ln>
          </p:spPr>
          <p:txBody>
            <a:bodyPr wrap="none" lIns="91440" tIns="45720" rIns="91440" bIns="45720" rtlCol="0" anchor="t">
              <a:spAutoFit/>
            </a:bodyPr>
            <a:lstStyle/>
            <a:p>
              <a:pPr algn="ctr"/>
              <a:r>
                <a:rPr lang="en-GB" sz="1600" dirty="0">
                  <a:solidFill>
                    <a:schemeClr val="tx2"/>
                  </a:solidFill>
                  <a:latin typeface="Helvetica Light"/>
                  <a:cs typeface="Helvetica Light"/>
                </a:rPr>
                <a:t>Miedo al fracaso</a:t>
              </a:r>
            </a:p>
          </p:txBody>
        </p:sp>
        <p:sp>
          <p:nvSpPr>
            <p:cNvPr id="34" name="Freihandform 12">
              <a:extLst>
                <a:ext uri="{FF2B5EF4-FFF2-40B4-BE49-F238E27FC236}">
                  <a16:creationId xmlns:a16="http://schemas.microsoft.com/office/drawing/2014/main" xmlns="" id="{FF4D3F39-43CA-445F-BD3A-A28503E63E20}"/>
                </a:ext>
              </a:extLst>
            </p:cNvPr>
            <p:cNvSpPr/>
            <p:nvPr/>
          </p:nvSpPr>
          <p:spPr>
            <a:xfrm rot="10800000" flipH="1">
              <a:off x="5116930" y="3366029"/>
              <a:ext cx="4021861" cy="1693551"/>
            </a:xfrm>
            <a:custGeom>
              <a:avLst/>
              <a:gdLst>
                <a:gd name="connsiteX0" fmla="*/ 0 w 5843407"/>
                <a:gd name="connsiteY0" fmla="*/ 3451473 h 3451473"/>
                <a:gd name="connsiteX1" fmla="*/ 606778 w 5843407"/>
                <a:gd name="connsiteY1" fmla="*/ 2760028 h 3451473"/>
                <a:gd name="connsiteX2" fmla="*/ 1171222 w 5843407"/>
                <a:gd name="connsiteY2" fmla="*/ 2844695 h 3451473"/>
                <a:gd name="connsiteX3" fmla="*/ 1763889 w 5843407"/>
                <a:gd name="connsiteY3" fmla="*/ 2266139 h 3451473"/>
                <a:gd name="connsiteX4" fmla="*/ 2314222 w 5843407"/>
                <a:gd name="connsiteY4" fmla="*/ 2350806 h 3451473"/>
                <a:gd name="connsiteX5" fmla="*/ 2681111 w 5843407"/>
                <a:gd name="connsiteY5" fmla="*/ 1546473 h 3451473"/>
                <a:gd name="connsiteX6" fmla="*/ 3513667 w 5843407"/>
                <a:gd name="connsiteY6" fmla="*/ 1631139 h 3451473"/>
                <a:gd name="connsiteX7" fmla="*/ 3880555 w 5843407"/>
                <a:gd name="connsiteY7" fmla="*/ 982028 h 3451473"/>
                <a:gd name="connsiteX8" fmla="*/ 4487333 w 5843407"/>
                <a:gd name="connsiteY8" fmla="*/ 1123139 h 3451473"/>
                <a:gd name="connsiteX9" fmla="*/ 4924778 w 5843407"/>
                <a:gd name="connsiteY9" fmla="*/ 474028 h 3451473"/>
                <a:gd name="connsiteX10" fmla="*/ 5277555 w 5843407"/>
                <a:gd name="connsiteY10" fmla="*/ 530473 h 3451473"/>
                <a:gd name="connsiteX11" fmla="*/ 5799667 w 5843407"/>
                <a:gd name="connsiteY11" fmla="*/ 36584 h 3451473"/>
                <a:gd name="connsiteX12" fmla="*/ 5813778 w 5843407"/>
                <a:gd name="connsiteY12" fmla="*/ 36584 h 345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43407" h="3451473">
                  <a:moveTo>
                    <a:pt x="0" y="3451473"/>
                  </a:moveTo>
                  <a:cubicBezTo>
                    <a:pt x="205787" y="3156315"/>
                    <a:pt x="411574" y="2861158"/>
                    <a:pt x="606778" y="2760028"/>
                  </a:cubicBezTo>
                  <a:cubicBezTo>
                    <a:pt x="801982" y="2658898"/>
                    <a:pt x="978370" y="2927010"/>
                    <a:pt x="1171222" y="2844695"/>
                  </a:cubicBezTo>
                  <a:cubicBezTo>
                    <a:pt x="1364074" y="2762380"/>
                    <a:pt x="1573389" y="2348454"/>
                    <a:pt x="1763889" y="2266139"/>
                  </a:cubicBezTo>
                  <a:cubicBezTo>
                    <a:pt x="1954389" y="2183824"/>
                    <a:pt x="2161352" y="2470750"/>
                    <a:pt x="2314222" y="2350806"/>
                  </a:cubicBezTo>
                  <a:cubicBezTo>
                    <a:pt x="2467092" y="2230862"/>
                    <a:pt x="2481204" y="1666417"/>
                    <a:pt x="2681111" y="1546473"/>
                  </a:cubicBezTo>
                  <a:cubicBezTo>
                    <a:pt x="2881019" y="1426528"/>
                    <a:pt x="3313760" y="1725213"/>
                    <a:pt x="3513667" y="1631139"/>
                  </a:cubicBezTo>
                  <a:cubicBezTo>
                    <a:pt x="3713574" y="1537065"/>
                    <a:pt x="3718277" y="1066695"/>
                    <a:pt x="3880555" y="982028"/>
                  </a:cubicBezTo>
                  <a:cubicBezTo>
                    <a:pt x="4042833" y="897361"/>
                    <a:pt x="4313296" y="1207806"/>
                    <a:pt x="4487333" y="1123139"/>
                  </a:cubicBezTo>
                  <a:cubicBezTo>
                    <a:pt x="4661370" y="1038472"/>
                    <a:pt x="4793074" y="572806"/>
                    <a:pt x="4924778" y="474028"/>
                  </a:cubicBezTo>
                  <a:cubicBezTo>
                    <a:pt x="5056482" y="375250"/>
                    <a:pt x="5131740" y="603380"/>
                    <a:pt x="5277555" y="530473"/>
                  </a:cubicBezTo>
                  <a:cubicBezTo>
                    <a:pt x="5423370" y="457566"/>
                    <a:pt x="5710297" y="118899"/>
                    <a:pt x="5799667" y="36584"/>
                  </a:cubicBezTo>
                  <a:cubicBezTo>
                    <a:pt x="5889037" y="-45731"/>
                    <a:pt x="5813778" y="36584"/>
                    <a:pt x="5813778" y="36584"/>
                  </a:cubicBezTo>
                </a:path>
              </a:pathLst>
            </a:custGeom>
            <a:ln w="38100">
              <a:solidFill>
                <a:srgbClr val="C00000"/>
              </a:solidFill>
              <a:headEnd type="triangle"/>
              <a:tailEnd type="stealt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solidFill>
                  <a:schemeClr val="tx2"/>
                </a:solidFill>
              </a:endParaRPr>
            </a:p>
          </p:txBody>
        </p:sp>
        <p:sp>
          <p:nvSpPr>
            <p:cNvPr id="35" name="Explosion 2 13">
              <a:extLst>
                <a:ext uri="{FF2B5EF4-FFF2-40B4-BE49-F238E27FC236}">
                  <a16:creationId xmlns:a16="http://schemas.microsoft.com/office/drawing/2014/main" xmlns="" id="{67AEA14B-A9D9-4CF9-ACD8-E4C1DC44CFA0}"/>
                </a:ext>
              </a:extLst>
            </p:cNvPr>
            <p:cNvSpPr/>
            <p:nvPr/>
          </p:nvSpPr>
          <p:spPr>
            <a:xfrm>
              <a:off x="8487318" y="4228078"/>
              <a:ext cx="1790333" cy="1188072"/>
            </a:xfrm>
            <a:prstGeom prst="irregularSeal2">
              <a:avLst/>
            </a:prstGeom>
            <a:noFill/>
            <a:ln w="38100">
              <a:solidFill>
                <a:srgbClr val="C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600" dirty="0">
                  <a:solidFill>
                    <a:schemeClr val="tx2"/>
                  </a:solidFill>
                  <a:latin typeface="Helvetica"/>
                  <a:cs typeface="Helvetica"/>
                </a:rPr>
                <a:t>Peligro</a:t>
              </a:r>
              <a:r>
                <a:rPr lang="en-GB" sz="1600" dirty="0">
                  <a:latin typeface="Helvetica"/>
                  <a:cs typeface="Helvetica"/>
                </a:rPr>
                <a:t/>
              </a:r>
              <a:br>
                <a:rPr lang="en-GB" sz="1600" dirty="0">
                  <a:latin typeface="Helvetica"/>
                  <a:cs typeface="Helvetica"/>
                </a:rPr>
              </a:br>
              <a:r>
                <a:rPr lang="en-GB" sz="1600" dirty="0">
                  <a:solidFill>
                    <a:schemeClr val="tx2"/>
                  </a:solidFill>
                  <a:latin typeface="Helvetica"/>
                  <a:cs typeface="Helvetica"/>
                </a:rPr>
                <a:t>Zona</a:t>
              </a:r>
            </a:p>
          </p:txBody>
        </p:sp>
        <p:sp>
          <p:nvSpPr>
            <p:cNvPr id="36" name="Explosion 2 14">
              <a:extLst>
                <a:ext uri="{FF2B5EF4-FFF2-40B4-BE49-F238E27FC236}">
                  <a16:creationId xmlns:a16="http://schemas.microsoft.com/office/drawing/2014/main" xmlns="" id="{DC630005-0C6A-413D-82B2-B7848CA1E2A5}"/>
                </a:ext>
              </a:extLst>
            </p:cNvPr>
            <p:cNvSpPr/>
            <p:nvPr/>
          </p:nvSpPr>
          <p:spPr>
            <a:xfrm>
              <a:off x="4553656" y="2577942"/>
              <a:ext cx="1833510" cy="1188072"/>
            </a:xfrm>
            <a:prstGeom prst="irregularSeal2">
              <a:avLst/>
            </a:prstGeom>
            <a:noFill/>
            <a:ln w="38100">
              <a:solidFill>
                <a:srgbClr val="C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600" dirty="0">
                  <a:solidFill>
                    <a:schemeClr val="tx2"/>
                  </a:solidFill>
                  <a:latin typeface="Helvetica"/>
                  <a:cs typeface="Helvetica"/>
                </a:rPr>
                <a:t>Peligro</a:t>
              </a:r>
              <a:r>
                <a:rPr lang="en-GB" sz="1600" dirty="0">
                  <a:latin typeface="Helvetica"/>
                  <a:cs typeface="Helvetica"/>
                </a:rPr>
                <a:t/>
              </a:r>
              <a:br>
                <a:rPr lang="en-GB" sz="1600" dirty="0">
                  <a:latin typeface="Helvetica"/>
                  <a:cs typeface="Helvetica"/>
                </a:rPr>
              </a:br>
              <a:r>
                <a:rPr lang="en-GB" sz="1600" dirty="0">
                  <a:solidFill>
                    <a:schemeClr val="tx2"/>
                  </a:solidFill>
                  <a:latin typeface="Helvetica"/>
                  <a:cs typeface="Helvetica"/>
                </a:rPr>
                <a:t>Zona</a:t>
              </a:r>
            </a:p>
          </p:txBody>
        </p:sp>
      </p:grpSp>
      <p:sp>
        <p:nvSpPr>
          <p:cNvPr id="6" name="Rechteck 5">
            <a:extLst>
              <a:ext uri="{FF2B5EF4-FFF2-40B4-BE49-F238E27FC236}">
                <a16:creationId xmlns:a16="http://schemas.microsoft.com/office/drawing/2014/main" xmlns="" id="{E49AC5C1-A909-41C1-A219-C9E12F080917}"/>
              </a:ext>
            </a:extLst>
          </p:cNvPr>
          <p:cNvSpPr/>
          <p:nvPr/>
        </p:nvSpPr>
        <p:spPr>
          <a:xfrm>
            <a:off x="8340223" y="2677336"/>
            <a:ext cx="3107018" cy="1200329"/>
          </a:xfrm>
          <a:prstGeom prst="rect">
            <a:avLst/>
          </a:prstGeom>
        </p:spPr>
        <p:txBody>
          <a:bodyPr wrap="square">
            <a:spAutoFit/>
          </a:bodyPr>
          <a:lstStyle/>
          <a:p>
            <a:r>
              <a:rPr lang="en-GB" sz="2400" dirty="0">
                <a:solidFill>
                  <a:srgbClr val="E53292"/>
                </a:solidFill>
                <a:latin typeface="+mj-lt"/>
              </a:rPr>
              <a:t>Miedo al fracaso: Tanto el exceso como el defecto son peligrosos</a:t>
            </a:r>
          </a:p>
        </p:txBody>
      </p:sp>
    </p:spTree>
    <p:extLst>
      <p:ext uri="{BB962C8B-B14F-4D97-AF65-F5344CB8AC3E}">
        <p14:creationId xmlns:p14="http://schemas.microsoft.com/office/powerpoint/2010/main" val="14483979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699131"/>
            <a:ext cx="8852375" cy="697353"/>
          </a:xfrm>
        </p:spPr>
        <p:txBody>
          <a:bodyPr>
            <a:normAutofit/>
          </a:bodyPr>
          <a:lstStyle/>
          <a:p>
            <a:r>
              <a:rPr lang="en-GB" dirty="0"/>
              <a:t>El nivel adecuado de riesgos: Equilibrar el fracaso</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70199" y="2044504"/>
            <a:ext cx="3104372" cy="380647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Es importante encontrar el nivel de riesgo personal con el que uno se siente cómodo. Las personas que tienen que tomar decisiones fuera de su zona de confort personal y del nivel de riesgo manejable tienden a sentir un mayor nivel de estrés y luego tienden a tomar decisiones equivocadas. </a:t>
            </a:r>
            <a:endParaRPr lang="en-US" dirty="0"/>
          </a:p>
        </p:txBody>
      </p:sp>
      <p:sp>
        <p:nvSpPr>
          <p:cNvPr id="19" name="Gleichschenkliges Dreieck 18">
            <a:extLst>
              <a:ext uri="{FF2B5EF4-FFF2-40B4-BE49-F238E27FC236}">
                <a16:creationId xmlns:a16="http://schemas.microsoft.com/office/drawing/2014/main" xmlns="" id="{65F74CF7-4743-4F49-A01B-2155DA7ABDF0}"/>
              </a:ext>
            </a:extLst>
          </p:cNvPr>
          <p:cNvSpPr/>
          <p:nvPr/>
        </p:nvSpPr>
        <p:spPr>
          <a:xfrm>
            <a:off x="6860132" y="3936930"/>
            <a:ext cx="2341972" cy="1658268"/>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2"/>
              </a:solidFill>
            </a:endParaRPr>
          </a:p>
        </p:txBody>
      </p:sp>
      <p:cxnSp>
        <p:nvCxnSpPr>
          <p:cNvPr id="20" name="Gerade Verbindung mit Pfeil 19">
            <a:extLst>
              <a:ext uri="{FF2B5EF4-FFF2-40B4-BE49-F238E27FC236}">
                <a16:creationId xmlns:a16="http://schemas.microsoft.com/office/drawing/2014/main" xmlns="" id="{C030EA10-A4D5-4EA0-956B-C14FFB688775}"/>
              </a:ext>
            </a:extLst>
          </p:cNvPr>
          <p:cNvCxnSpPr/>
          <p:nvPr/>
        </p:nvCxnSpPr>
        <p:spPr>
          <a:xfrm>
            <a:off x="4063937" y="3914543"/>
            <a:ext cx="7992235" cy="2"/>
          </a:xfrm>
          <a:prstGeom prst="straightConnector1">
            <a:avLst/>
          </a:prstGeom>
          <a:ln w="101600">
            <a:solidFill>
              <a:schemeClr val="accent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1" name="Textfeld 20">
            <a:extLst>
              <a:ext uri="{FF2B5EF4-FFF2-40B4-BE49-F238E27FC236}">
                <a16:creationId xmlns:a16="http://schemas.microsoft.com/office/drawing/2014/main" xmlns="" id="{80B65201-CD31-40FE-8ABA-E3B321AA9423}"/>
              </a:ext>
            </a:extLst>
          </p:cNvPr>
          <p:cNvSpPr txBox="1"/>
          <p:nvPr/>
        </p:nvSpPr>
        <p:spPr>
          <a:xfrm>
            <a:off x="4035001" y="4211310"/>
            <a:ext cx="1584408" cy="400110"/>
          </a:xfrm>
          <a:prstGeom prst="rect">
            <a:avLst/>
          </a:prstGeom>
          <a:noFill/>
        </p:spPr>
        <p:txBody>
          <a:bodyPr wrap="none" rtlCol="0">
            <a:spAutoFit/>
          </a:bodyPr>
          <a:lstStyle/>
          <a:p>
            <a:r>
              <a:rPr lang="en-GB" sz="2000" dirty="0">
                <a:solidFill>
                  <a:schemeClr val="tx2"/>
                </a:solidFill>
                <a:latin typeface="+mj-lt"/>
                <a:cs typeface="Helvetica Light"/>
              </a:rPr>
              <a:t>Demasiado poco riesgo</a:t>
            </a:r>
          </a:p>
        </p:txBody>
      </p:sp>
      <p:sp>
        <p:nvSpPr>
          <p:cNvPr id="22" name="Textfeld 21">
            <a:extLst>
              <a:ext uri="{FF2B5EF4-FFF2-40B4-BE49-F238E27FC236}">
                <a16:creationId xmlns:a16="http://schemas.microsoft.com/office/drawing/2014/main" xmlns="" id="{9A84E0AE-0A75-4A80-A110-76AD8E567881}"/>
              </a:ext>
            </a:extLst>
          </p:cNvPr>
          <p:cNvSpPr txBox="1"/>
          <p:nvPr/>
        </p:nvSpPr>
        <p:spPr>
          <a:xfrm>
            <a:off x="10363704" y="4211310"/>
            <a:ext cx="1663532" cy="400110"/>
          </a:xfrm>
          <a:prstGeom prst="rect">
            <a:avLst/>
          </a:prstGeom>
          <a:noFill/>
        </p:spPr>
        <p:txBody>
          <a:bodyPr wrap="none" rtlCol="0">
            <a:spAutoFit/>
          </a:bodyPr>
          <a:lstStyle/>
          <a:p>
            <a:pPr algn="r"/>
            <a:r>
              <a:rPr lang="en-GB" sz="2000" dirty="0">
                <a:solidFill>
                  <a:schemeClr val="tx2"/>
                </a:solidFill>
                <a:latin typeface="+mj-lt"/>
                <a:cs typeface="Helvetica Light"/>
              </a:rPr>
              <a:t>Demasiado riesgo</a:t>
            </a:r>
          </a:p>
        </p:txBody>
      </p:sp>
      <p:sp>
        <p:nvSpPr>
          <p:cNvPr id="23" name="Rechteck 22">
            <a:extLst>
              <a:ext uri="{FF2B5EF4-FFF2-40B4-BE49-F238E27FC236}">
                <a16:creationId xmlns:a16="http://schemas.microsoft.com/office/drawing/2014/main" xmlns="" id="{DDD4D00D-F512-44C3-AF82-562D1BEAB430}"/>
              </a:ext>
            </a:extLst>
          </p:cNvPr>
          <p:cNvSpPr/>
          <p:nvPr/>
        </p:nvSpPr>
        <p:spPr>
          <a:xfrm>
            <a:off x="6371344" y="3262826"/>
            <a:ext cx="3319549" cy="534780"/>
          </a:xfrm>
          <a:prstGeom prst="rect">
            <a:avLst/>
          </a:prstGeom>
          <a:solidFill>
            <a:srgbClr val="E64D9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dirty="0">
                <a:solidFill>
                  <a:schemeClr val="bg1"/>
                </a:solidFill>
                <a:latin typeface="+mj-lt"/>
                <a:cs typeface="Helvetica"/>
              </a:rPr>
              <a:t>Zona de riesgo manejable</a:t>
            </a:r>
          </a:p>
        </p:txBody>
      </p:sp>
    </p:spTree>
    <p:extLst>
      <p:ext uri="{BB962C8B-B14F-4D97-AF65-F5344CB8AC3E}">
        <p14:creationId xmlns:p14="http://schemas.microsoft.com/office/powerpoint/2010/main" val="4933042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827173" y="638630"/>
            <a:ext cx="8852375" cy="697353"/>
          </a:xfrm>
        </p:spPr>
        <p:txBody>
          <a:bodyPr>
            <a:normAutofit/>
          </a:bodyPr>
          <a:lstStyle/>
          <a:p>
            <a:r>
              <a:rPr lang="en-GB" dirty="0"/>
              <a:t>El nivel adecuado de riesgos: Equilibrar el fracaso (</a:t>
            </a:r>
            <a:r>
              <a:rPr lang="en-GB"/>
              <a:t>cont.)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60946" y="1993358"/>
            <a:ext cx="3532455" cy="554541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Es importante encontrar el nivel de riesgo personal con el que uno se siente cómodo. Las personas que tienen que tomar decisiones fuera de su zona de confort personal y del nivel de riesgo manejable tienden a sentir un mayor nivel de estrés y luego tienden a tomar decisiones equivocadas.</a:t>
            </a:r>
            <a:endParaRPr lang="en-US" dirty="0">
              <a:solidFill>
                <a:srgbClr val="245473"/>
              </a:solidFill>
            </a:endParaRPr>
          </a:p>
          <a:p>
            <a:pPr algn="l">
              <a:lnSpc>
                <a:spcPct val="100000"/>
              </a:lnSpc>
              <a:spcBef>
                <a:spcPts val="600"/>
              </a:spcBef>
            </a:pPr>
            <a:r>
              <a:rPr lang="en-GB" altLang="de-DE" sz="2200" b="1" dirty="0">
                <a:solidFill>
                  <a:srgbClr val="245473"/>
                </a:solidFill>
                <a:latin typeface="+mj-lt"/>
                <a:sym typeface="Wingdings" panose="05000000000000000000" pitchFamily="2" charset="2"/>
              </a:rPr>
              <a:t>El nivel adecuado de riesgos: </a:t>
            </a:r>
            <a:endParaRPr lang="en-GB" altLang="de-DE" sz="2200" b="1"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Tu zona de confort depende de tu mentalidad</a:t>
            </a:r>
            <a:endParaRPr lang="en-GB" altLang="de-DE" sz="22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endParaRPr lang="en-GB" altLang="de-DE" sz="2200" dirty="0">
              <a:latin typeface="+mj-lt"/>
            </a:endParaRPr>
          </a:p>
          <a:p>
            <a:pPr algn="l">
              <a:lnSpc>
                <a:spcPct val="100000"/>
              </a:lnSpc>
              <a:spcBef>
                <a:spcPts val="600"/>
              </a:spcBef>
            </a:pPr>
            <a:endParaRPr lang="en-GB" altLang="de-DE" sz="2200" dirty="0">
              <a:latin typeface="+mj-lt"/>
            </a:endParaRPr>
          </a:p>
        </p:txBody>
      </p:sp>
      <p:cxnSp>
        <p:nvCxnSpPr>
          <p:cNvPr id="11" name="Gerade Verbindung mit Pfeil 10">
            <a:extLst>
              <a:ext uri="{FF2B5EF4-FFF2-40B4-BE49-F238E27FC236}">
                <a16:creationId xmlns:a16="http://schemas.microsoft.com/office/drawing/2014/main" xmlns="" id="{0AB2AB31-46AA-4302-8792-29F8766AAFFA}"/>
              </a:ext>
            </a:extLst>
          </p:cNvPr>
          <p:cNvCxnSpPr/>
          <p:nvPr/>
        </p:nvCxnSpPr>
        <p:spPr>
          <a:xfrm>
            <a:off x="4056191" y="2993620"/>
            <a:ext cx="3988014" cy="2"/>
          </a:xfrm>
          <a:prstGeom prst="straightConnector1">
            <a:avLst/>
          </a:prstGeom>
          <a:ln w="101600">
            <a:solidFill>
              <a:schemeClr val="accent2"/>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2" name="Textfeld 11">
            <a:extLst>
              <a:ext uri="{FF2B5EF4-FFF2-40B4-BE49-F238E27FC236}">
                <a16:creationId xmlns:a16="http://schemas.microsoft.com/office/drawing/2014/main" xmlns="" id="{0AE82A7D-9BA8-4966-8050-228539DFEC98}"/>
              </a:ext>
            </a:extLst>
          </p:cNvPr>
          <p:cNvSpPr txBox="1"/>
          <p:nvPr/>
        </p:nvSpPr>
        <p:spPr>
          <a:xfrm>
            <a:off x="4955666" y="2274242"/>
            <a:ext cx="2203424" cy="584775"/>
          </a:xfrm>
          <a:prstGeom prst="rect">
            <a:avLst/>
          </a:prstGeom>
          <a:noFill/>
        </p:spPr>
        <p:txBody>
          <a:bodyPr wrap="none" rtlCol="0">
            <a:spAutoFit/>
          </a:bodyPr>
          <a:lstStyle/>
          <a:p>
            <a:pPr algn="ctr"/>
            <a:r>
              <a:rPr lang="en-GB" sz="1600" dirty="0">
                <a:solidFill>
                  <a:schemeClr val="tx2"/>
                </a:solidFill>
                <a:latin typeface="+mj-lt"/>
                <a:cs typeface="Helvetica Light"/>
              </a:rPr>
              <a:t>Zona de confort emocional</a:t>
            </a:r>
            <a:br>
              <a:rPr lang="en-GB" sz="1600" dirty="0">
                <a:solidFill>
                  <a:schemeClr val="tx2"/>
                </a:solidFill>
                <a:latin typeface="+mj-lt"/>
                <a:cs typeface="Helvetica Light"/>
              </a:rPr>
            </a:br>
            <a:r>
              <a:rPr lang="en-GB" sz="1600" b="1" dirty="0">
                <a:solidFill>
                  <a:schemeClr val="tx2"/>
                </a:solidFill>
                <a:latin typeface="+mj-lt"/>
                <a:cs typeface="Helvetica Light"/>
              </a:rPr>
              <a:t>(Mucho miedo al fracaso)</a:t>
            </a:r>
          </a:p>
        </p:txBody>
      </p:sp>
      <p:cxnSp>
        <p:nvCxnSpPr>
          <p:cNvPr id="13" name="Gerade Verbindung mit Pfeil 12">
            <a:extLst>
              <a:ext uri="{FF2B5EF4-FFF2-40B4-BE49-F238E27FC236}">
                <a16:creationId xmlns:a16="http://schemas.microsoft.com/office/drawing/2014/main" xmlns="" id="{8EA8EFA7-6CEE-435B-87C8-9F9B3F3F6208}"/>
              </a:ext>
            </a:extLst>
          </p:cNvPr>
          <p:cNvCxnSpPr/>
          <p:nvPr/>
        </p:nvCxnSpPr>
        <p:spPr>
          <a:xfrm>
            <a:off x="8044205" y="2993618"/>
            <a:ext cx="3988014" cy="2"/>
          </a:xfrm>
          <a:prstGeom prst="straightConnector1">
            <a:avLst/>
          </a:prstGeom>
          <a:ln w="101600">
            <a:solidFill>
              <a:schemeClr val="accent2"/>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4" name="Textfeld 13">
            <a:extLst>
              <a:ext uri="{FF2B5EF4-FFF2-40B4-BE49-F238E27FC236}">
                <a16:creationId xmlns:a16="http://schemas.microsoft.com/office/drawing/2014/main" xmlns="" id="{2B1C5756-23E0-445E-A0EF-4B3EED447245}"/>
              </a:ext>
            </a:extLst>
          </p:cNvPr>
          <p:cNvSpPr txBox="1"/>
          <p:nvPr/>
        </p:nvSpPr>
        <p:spPr>
          <a:xfrm>
            <a:off x="8943680" y="2314224"/>
            <a:ext cx="2203424" cy="800219"/>
          </a:xfrm>
          <a:prstGeom prst="rect">
            <a:avLst/>
          </a:prstGeom>
          <a:noFill/>
        </p:spPr>
        <p:txBody>
          <a:bodyPr wrap="none" rtlCol="0">
            <a:spAutoFit/>
          </a:bodyPr>
          <a:lstStyle/>
          <a:p>
            <a:pPr algn="ctr"/>
            <a:r>
              <a:rPr lang="en-GB" sz="1600" dirty="0">
                <a:solidFill>
                  <a:schemeClr val="tx2"/>
                </a:solidFill>
                <a:latin typeface="+mj-lt"/>
                <a:cs typeface="Helvetica Light"/>
              </a:rPr>
              <a:t>Zona de confort emocional</a:t>
            </a:r>
            <a:br>
              <a:rPr lang="en-GB" sz="1600" dirty="0">
                <a:solidFill>
                  <a:schemeClr val="tx2"/>
                </a:solidFill>
                <a:latin typeface="+mj-lt"/>
                <a:cs typeface="Helvetica Light"/>
              </a:rPr>
            </a:br>
            <a:r>
              <a:rPr lang="en-GB" sz="1600" b="1" dirty="0">
                <a:solidFill>
                  <a:schemeClr val="tx2"/>
                </a:solidFill>
                <a:latin typeface="+mj-lt"/>
                <a:cs typeface="Helvetica Light"/>
              </a:rPr>
              <a:t>(Poco miedo al fracaso)</a:t>
            </a:r>
          </a:p>
          <a:p>
            <a:pPr algn="ctr"/>
            <a:endParaRPr lang="en-GB" sz="1400" dirty="0">
              <a:solidFill>
                <a:schemeClr val="tx2"/>
              </a:solidFill>
              <a:latin typeface="Helvetica Light"/>
              <a:cs typeface="Helvetica Light"/>
            </a:endParaRPr>
          </a:p>
        </p:txBody>
      </p:sp>
      <p:sp>
        <p:nvSpPr>
          <p:cNvPr id="15" name="Gleichschenkliges Dreieck 18">
            <a:extLst>
              <a:ext uri="{FF2B5EF4-FFF2-40B4-BE49-F238E27FC236}">
                <a16:creationId xmlns:a16="http://schemas.microsoft.com/office/drawing/2014/main" xmlns="" id="{7C76CC2C-17D1-4B4C-A73E-06621E98C0F2}"/>
              </a:ext>
            </a:extLst>
          </p:cNvPr>
          <p:cNvSpPr/>
          <p:nvPr/>
        </p:nvSpPr>
        <p:spPr>
          <a:xfrm>
            <a:off x="6860132" y="3936930"/>
            <a:ext cx="2341972" cy="1658268"/>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2"/>
              </a:solidFill>
            </a:endParaRPr>
          </a:p>
        </p:txBody>
      </p:sp>
      <p:cxnSp>
        <p:nvCxnSpPr>
          <p:cNvPr id="17" name="Gerade Verbindung mit Pfeil 19">
            <a:extLst>
              <a:ext uri="{FF2B5EF4-FFF2-40B4-BE49-F238E27FC236}">
                <a16:creationId xmlns:a16="http://schemas.microsoft.com/office/drawing/2014/main" xmlns="" id="{961BAA40-6595-5E46-88BE-ED046FDD65E4}"/>
              </a:ext>
            </a:extLst>
          </p:cNvPr>
          <p:cNvCxnSpPr/>
          <p:nvPr/>
        </p:nvCxnSpPr>
        <p:spPr>
          <a:xfrm>
            <a:off x="4063937" y="3914543"/>
            <a:ext cx="7992235" cy="2"/>
          </a:xfrm>
          <a:prstGeom prst="straightConnector1">
            <a:avLst/>
          </a:prstGeom>
          <a:ln w="101600">
            <a:solidFill>
              <a:schemeClr val="accent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8" name="Textfeld 20">
            <a:extLst>
              <a:ext uri="{FF2B5EF4-FFF2-40B4-BE49-F238E27FC236}">
                <a16:creationId xmlns:a16="http://schemas.microsoft.com/office/drawing/2014/main" xmlns="" id="{BB582978-1003-DA4F-8FE7-3EDB0A9FBC0F}"/>
              </a:ext>
            </a:extLst>
          </p:cNvPr>
          <p:cNvSpPr txBox="1"/>
          <p:nvPr/>
        </p:nvSpPr>
        <p:spPr>
          <a:xfrm>
            <a:off x="4035001" y="4211310"/>
            <a:ext cx="1460656" cy="338554"/>
          </a:xfrm>
          <a:prstGeom prst="rect">
            <a:avLst/>
          </a:prstGeom>
          <a:noFill/>
        </p:spPr>
        <p:txBody>
          <a:bodyPr wrap="none" rtlCol="0">
            <a:spAutoFit/>
          </a:bodyPr>
          <a:lstStyle/>
          <a:p>
            <a:r>
              <a:rPr lang="en-GB" sz="1600" dirty="0">
                <a:solidFill>
                  <a:schemeClr val="tx2"/>
                </a:solidFill>
                <a:latin typeface="Helvetica Light"/>
                <a:cs typeface="Helvetica Light"/>
              </a:rPr>
              <a:t>Demasiado poco riesgo</a:t>
            </a:r>
          </a:p>
        </p:txBody>
      </p:sp>
      <p:sp>
        <p:nvSpPr>
          <p:cNvPr id="24" name="Textfeld 21">
            <a:extLst>
              <a:ext uri="{FF2B5EF4-FFF2-40B4-BE49-F238E27FC236}">
                <a16:creationId xmlns:a16="http://schemas.microsoft.com/office/drawing/2014/main" xmlns="" id="{993AC909-DD31-2D40-B58B-0EFF6856A12A}"/>
              </a:ext>
            </a:extLst>
          </p:cNvPr>
          <p:cNvSpPr txBox="1"/>
          <p:nvPr/>
        </p:nvSpPr>
        <p:spPr>
          <a:xfrm>
            <a:off x="10486429" y="4211310"/>
            <a:ext cx="1540807" cy="338554"/>
          </a:xfrm>
          <a:prstGeom prst="rect">
            <a:avLst/>
          </a:prstGeom>
          <a:noFill/>
        </p:spPr>
        <p:txBody>
          <a:bodyPr wrap="none" rtlCol="0">
            <a:spAutoFit/>
          </a:bodyPr>
          <a:lstStyle/>
          <a:p>
            <a:pPr algn="r"/>
            <a:r>
              <a:rPr lang="en-GB" sz="1600" dirty="0">
                <a:solidFill>
                  <a:schemeClr val="tx2"/>
                </a:solidFill>
                <a:latin typeface="Helvetica Light"/>
                <a:cs typeface="Helvetica Light"/>
              </a:rPr>
              <a:t>Demasiado riesgo</a:t>
            </a:r>
          </a:p>
        </p:txBody>
      </p:sp>
      <p:sp>
        <p:nvSpPr>
          <p:cNvPr id="25" name="Rechteck 22">
            <a:extLst>
              <a:ext uri="{FF2B5EF4-FFF2-40B4-BE49-F238E27FC236}">
                <a16:creationId xmlns:a16="http://schemas.microsoft.com/office/drawing/2014/main" xmlns="" id="{F5F8CAE8-9CE8-FA45-81C4-546BDFC62B49}"/>
              </a:ext>
            </a:extLst>
          </p:cNvPr>
          <p:cNvSpPr/>
          <p:nvPr/>
        </p:nvSpPr>
        <p:spPr>
          <a:xfrm>
            <a:off x="6371344" y="3262826"/>
            <a:ext cx="3319549" cy="534780"/>
          </a:xfrm>
          <a:prstGeom prst="rect">
            <a:avLst/>
          </a:prstGeom>
          <a:solidFill>
            <a:srgbClr val="E64D9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solidFill>
                  <a:schemeClr val="bg1"/>
                </a:solidFill>
                <a:latin typeface="Helvetica"/>
                <a:cs typeface="Helvetica"/>
              </a:rPr>
              <a:t>Zona de riesgo manejable</a:t>
            </a:r>
          </a:p>
        </p:txBody>
      </p:sp>
    </p:spTree>
    <p:extLst>
      <p:ext uri="{BB962C8B-B14F-4D97-AF65-F5344CB8AC3E}">
        <p14:creationId xmlns:p14="http://schemas.microsoft.com/office/powerpoint/2010/main" val="27050570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578334"/>
            <a:ext cx="8852375" cy="697353"/>
          </a:xfrm>
        </p:spPr>
        <p:txBody>
          <a:bodyPr>
            <a:normAutofit/>
          </a:bodyPr>
          <a:lstStyle/>
          <a:p>
            <a:r>
              <a:rPr lang="en-GB" dirty="0"/>
              <a:t>El miedo al fracaso</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66573" y="1791335"/>
            <a:ext cx="4267076" cy="463747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dirty="0">
                <a:solidFill>
                  <a:srgbClr val="245473"/>
                </a:solidFill>
                <a:latin typeface="+mj-lt"/>
              </a:rPr>
              <a:t>No es el fracaso lo que la gente teme. Es la percepción de las consecuencias negativas que siguen al fracaso lo que les estresa. Este miedo puede llevar a una disminución de la autoestima, a evitar las tareas desafiantes, a ser pesimista e incluso a hacer trampas.</a:t>
            </a:r>
            <a:endParaRPr lang="en-US" sz="2800" dirty="0">
              <a:solidFill>
                <a:srgbClr val="245473"/>
              </a:solidFill>
            </a:endParaRPr>
          </a:p>
          <a:p>
            <a:pPr algn="l">
              <a:lnSpc>
                <a:spcPct val="100000"/>
              </a:lnSpc>
              <a:spcBef>
                <a:spcPts val="600"/>
              </a:spcBef>
            </a:pPr>
            <a:r>
              <a:rPr lang="en-US" altLang="de-DE" b="1" dirty="0">
                <a:solidFill>
                  <a:srgbClr val="245473"/>
                </a:solidFill>
                <a:latin typeface="+mj-lt"/>
                <a:sym typeface="Wingdings" panose="05000000000000000000" pitchFamily="2" charset="2"/>
              </a:rPr>
              <a:t>Los psicólogos han identificado las cinco cosas principales a las que la gente teme que le lleve un fracaso:</a:t>
            </a:r>
            <a:endParaRPr lang="en-US" altLang="de-DE" b="1"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endParaRPr lang="en-GB" altLang="de-DE" sz="2200" dirty="0">
              <a:latin typeface="+mj-lt"/>
            </a:endParaRPr>
          </a:p>
        </p:txBody>
      </p:sp>
      <p:sp>
        <p:nvSpPr>
          <p:cNvPr id="17" name="Freeform 20">
            <a:extLst>
              <a:ext uri="{FF2B5EF4-FFF2-40B4-BE49-F238E27FC236}">
                <a16:creationId xmlns:a16="http://schemas.microsoft.com/office/drawing/2014/main" xmlns="" id="{9BBD1740-AFC7-4F81-AB1C-A7E9501AA599}"/>
              </a:ext>
            </a:extLst>
          </p:cNvPr>
          <p:cNvSpPr>
            <a:spLocks noChangeArrowheads="1"/>
          </p:cNvSpPr>
          <p:nvPr/>
        </p:nvSpPr>
        <p:spPr bwMode="auto">
          <a:xfrm>
            <a:off x="7164676" y="2186811"/>
            <a:ext cx="1887295" cy="1845049"/>
          </a:xfrm>
          <a:custGeom>
            <a:avLst/>
            <a:gdLst>
              <a:gd name="connsiteX0" fmla="*/ 794599 w 5031477"/>
              <a:gd name="connsiteY0" fmla="*/ 223 h 4918850"/>
              <a:gd name="connsiteX1" fmla="*/ 5010550 w 5031477"/>
              <a:gd name="connsiteY1" fmla="*/ 2485274 h 4918850"/>
              <a:gd name="connsiteX2" fmla="*/ 5031477 w 5031477"/>
              <a:gd name="connsiteY2" fmla="*/ 2546701 h 4918850"/>
              <a:gd name="connsiteX3" fmla="*/ 954864 w 5031477"/>
              <a:gd name="connsiteY3" fmla="*/ 4918850 h 4918850"/>
              <a:gd name="connsiteX4" fmla="*/ 0 w 5031477"/>
              <a:gd name="connsiteY4" fmla="*/ 44593 h 4918850"/>
              <a:gd name="connsiteX5" fmla="*/ 36481 w 5031477"/>
              <a:gd name="connsiteY5" fmla="*/ 39385 h 4918850"/>
              <a:gd name="connsiteX6" fmla="*/ 794599 w 5031477"/>
              <a:gd name="connsiteY6" fmla="*/ 223 h 491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1477" h="4918850">
                <a:moveTo>
                  <a:pt x="794599" y="223"/>
                </a:moveTo>
                <a:cubicBezTo>
                  <a:pt x="2607205" y="15455"/>
                  <a:pt x="4391640" y="813069"/>
                  <a:pt x="5010550" y="2485274"/>
                </a:cubicBezTo>
                <a:lnTo>
                  <a:pt x="5031477" y="2546701"/>
                </a:lnTo>
                <a:lnTo>
                  <a:pt x="954864" y="4918850"/>
                </a:lnTo>
                <a:lnTo>
                  <a:pt x="0" y="44593"/>
                </a:lnTo>
                <a:lnTo>
                  <a:pt x="36481" y="39385"/>
                </a:lnTo>
                <a:cubicBezTo>
                  <a:pt x="287670" y="11233"/>
                  <a:pt x="541409" y="-1905"/>
                  <a:pt x="794599" y="223"/>
                </a:cubicBezTo>
                <a:close/>
              </a:path>
            </a:pathLst>
          </a:custGeom>
          <a:solidFill>
            <a:schemeClr val="accent2"/>
          </a:solidFill>
          <a:ln>
            <a:noFill/>
          </a:ln>
          <a:effectLst/>
        </p:spPr>
        <p:txBody>
          <a:bodyPr wrap="square" anchor="ctr">
            <a:noAutofit/>
          </a:bodyPr>
          <a:lstStyle/>
          <a:p>
            <a:endParaRPr lang="en-US" sz="1600">
              <a:latin typeface="+mj-lt"/>
            </a:endParaRPr>
          </a:p>
        </p:txBody>
      </p:sp>
      <p:sp>
        <p:nvSpPr>
          <p:cNvPr id="18" name="Freeform 19">
            <a:extLst>
              <a:ext uri="{FF2B5EF4-FFF2-40B4-BE49-F238E27FC236}">
                <a16:creationId xmlns:a16="http://schemas.microsoft.com/office/drawing/2014/main" xmlns="" id="{EBB86866-944C-46AA-937D-156D2575690A}"/>
              </a:ext>
            </a:extLst>
          </p:cNvPr>
          <p:cNvSpPr>
            <a:spLocks noChangeArrowheads="1"/>
          </p:cNvSpPr>
          <p:nvPr/>
        </p:nvSpPr>
        <p:spPr bwMode="auto">
          <a:xfrm>
            <a:off x="5799450" y="2186811"/>
            <a:ext cx="1692877" cy="1833225"/>
          </a:xfrm>
          <a:custGeom>
            <a:avLst/>
            <a:gdLst>
              <a:gd name="connsiteX0" fmla="*/ 3555740 w 4513164"/>
              <a:gd name="connsiteY0" fmla="*/ 0 h 4887327"/>
              <a:gd name="connsiteX1" fmla="*/ 4513164 w 4513164"/>
              <a:gd name="connsiteY1" fmla="*/ 4887327 h 4887327"/>
              <a:gd name="connsiteX2" fmla="*/ 198431 w 4513164"/>
              <a:gd name="connsiteY2" fmla="*/ 4519338 h 4887327"/>
              <a:gd name="connsiteX3" fmla="*/ 194263 w 4513164"/>
              <a:gd name="connsiteY3" fmla="*/ 4504262 h 4887327"/>
              <a:gd name="connsiteX4" fmla="*/ 1629107 w 4513164"/>
              <a:gd name="connsiteY4" fmla="*/ 626044 h 4887327"/>
              <a:gd name="connsiteX5" fmla="*/ 3362780 w 4513164"/>
              <a:gd name="connsiteY5" fmla="*/ 27544 h 4887327"/>
              <a:gd name="connsiteX6" fmla="*/ 3555740 w 4513164"/>
              <a:gd name="connsiteY6" fmla="*/ 0 h 488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3164" h="4887327">
                <a:moveTo>
                  <a:pt x="3555740" y="0"/>
                </a:moveTo>
                <a:lnTo>
                  <a:pt x="4513164" y="4887327"/>
                </a:lnTo>
                <a:lnTo>
                  <a:pt x="198431" y="4519338"/>
                </a:lnTo>
                <a:lnTo>
                  <a:pt x="194263" y="4504262"/>
                </a:lnTo>
                <a:cubicBezTo>
                  <a:pt x="-10524" y="3759201"/>
                  <a:pt x="-488023" y="1806270"/>
                  <a:pt x="1629107" y="626044"/>
                </a:cubicBezTo>
                <a:cubicBezTo>
                  <a:pt x="2149085" y="336110"/>
                  <a:pt x="2743120" y="135301"/>
                  <a:pt x="3362780" y="27544"/>
                </a:cubicBezTo>
                <a:lnTo>
                  <a:pt x="3555740" y="0"/>
                </a:lnTo>
                <a:close/>
              </a:path>
            </a:pathLst>
          </a:custGeom>
          <a:solidFill>
            <a:schemeClr val="accent1"/>
          </a:solidFill>
          <a:ln>
            <a:noFill/>
          </a:ln>
          <a:effectLst/>
        </p:spPr>
        <p:txBody>
          <a:bodyPr wrap="square" anchor="ctr">
            <a:noAutofit/>
          </a:bodyPr>
          <a:lstStyle/>
          <a:p>
            <a:endParaRPr lang="en-US" sz="1600">
              <a:latin typeface="+mj-lt"/>
            </a:endParaRPr>
          </a:p>
        </p:txBody>
      </p:sp>
      <p:sp>
        <p:nvSpPr>
          <p:cNvPr id="19" name="Freeform 17">
            <a:extLst>
              <a:ext uri="{FF2B5EF4-FFF2-40B4-BE49-F238E27FC236}">
                <a16:creationId xmlns:a16="http://schemas.microsoft.com/office/drawing/2014/main" xmlns="" id="{D534E00D-07E2-448B-9264-BE4CA18F6DB5}"/>
              </a:ext>
            </a:extLst>
          </p:cNvPr>
          <p:cNvSpPr>
            <a:spLocks noChangeArrowheads="1"/>
          </p:cNvSpPr>
          <p:nvPr/>
        </p:nvSpPr>
        <p:spPr bwMode="auto">
          <a:xfrm>
            <a:off x="7573170" y="3170919"/>
            <a:ext cx="1589016" cy="1801871"/>
          </a:xfrm>
          <a:custGeom>
            <a:avLst/>
            <a:gdLst>
              <a:gd name="connsiteX0" fmla="*/ 4050107 w 4236272"/>
              <a:gd name="connsiteY0" fmla="*/ 0 h 4803738"/>
              <a:gd name="connsiteX1" fmla="*/ 4090545 w 4236272"/>
              <a:gd name="connsiteY1" fmla="*/ 142499 h 4803738"/>
              <a:gd name="connsiteX2" fmla="*/ 2840339 w 4236272"/>
              <a:gd name="connsiteY2" fmla="*/ 4771305 h 4803738"/>
              <a:gd name="connsiteX3" fmla="*/ 2811784 w 4236272"/>
              <a:gd name="connsiteY3" fmla="*/ 4803738 h 4803738"/>
              <a:gd name="connsiteX4" fmla="*/ 0 w 4236272"/>
              <a:gd name="connsiteY4" fmla="*/ 2356726 h 4803738"/>
              <a:gd name="connsiteX5" fmla="*/ 4050107 w 4236272"/>
              <a:gd name="connsiteY5" fmla="*/ 0 h 480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36272" h="4803738">
                <a:moveTo>
                  <a:pt x="4050107" y="0"/>
                </a:moveTo>
                <a:lnTo>
                  <a:pt x="4090545" y="142499"/>
                </a:lnTo>
                <a:cubicBezTo>
                  <a:pt x="4648909" y="2323143"/>
                  <a:pt x="3466461" y="4046111"/>
                  <a:pt x="2840339" y="4771305"/>
                </a:cubicBezTo>
                <a:lnTo>
                  <a:pt x="2811784" y="4803738"/>
                </a:lnTo>
                <a:lnTo>
                  <a:pt x="0" y="2356726"/>
                </a:lnTo>
                <a:lnTo>
                  <a:pt x="4050107" y="0"/>
                </a:lnTo>
                <a:close/>
              </a:path>
            </a:pathLst>
          </a:custGeom>
          <a:solidFill>
            <a:schemeClr val="accent3"/>
          </a:solidFill>
          <a:ln>
            <a:noFill/>
          </a:ln>
          <a:effectLst/>
        </p:spPr>
        <p:txBody>
          <a:bodyPr wrap="square" anchor="ctr">
            <a:noAutofit/>
          </a:bodyPr>
          <a:lstStyle/>
          <a:p>
            <a:endParaRPr lang="en-US" sz="1600">
              <a:latin typeface="+mj-lt"/>
            </a:endParaRPr>
          </a:p>
        </p:txBody>
      </p:sp>
      <p:sp>
        <p:nvSpPr>
          <p:cNvPr id="20" name="Freeform 15">
            <a:extLst>
              <a:ext uri="{FF2B5EF4-FFF2-40B4-BE49-F238E27FC236}">
                <a16:creationId xmlns:a16="http://schemas.microsoft.com/office/drawing/2014/main" xmlns="" id="{07736993-51BD-4C5A-9B1D-5DC916B073B8}"/>
              </a:ext>
            </a:extLst>
          </p:cNvPr>
          <p:cNvSpPr>
            <a:spLocks noChangeArrowheads="1"/>
          </p:cNvSpPr>
          <p:nvPr/>
        </p:nvSpPr>
        <p:spPr bwMode="auto">
          <a:xfrm>
            <a:off x="5556236" y="3938404"/>
            <a:ext cx="1928436" cy="1732784"/>
          </a:xfrm>
          <a:custGeom>
            <a:avLst/>
            <a:gdLst>
              <a:gd name="connsiteX0" fmla="*/ 887798 w 5141157"/>
              <a:gd name="connsiteY0" fmla="*/ 0 h 4619555"/>
              <a:gd name="connsiteX1" fmla="*/ 5141157 w 5141157"/>
              <a:gd name="connsiteY1" fmla="*/ 362755 h 4619555"/>
              <a:gd name="connsiteX2" fmla="*/ 3172945 w 5141157"/>
              <a:gd name="connsiteY2" fmla="*/ 4554805 h 4619555"/>
              <a:gd name="connsiteX3" fmla="*/ 3068058 w 5141157"/>
              <a:gd name="connsiteY3" fmla="*/ 4503048 h 4619555"/>
              <a:gd name="connsiteX4" fmla="*/ 2686431 w 5141157"/>
              <a:gd name="connsiteY4" fmla="*/ 4447319 h 4619555"/>
              <a:gd name="connsiteX5" fmla="*/ 1132250 w 5141157"/>
              <a:gd name="connsiteY5" fmla="*/ 4401137 h 4619555"/>
              <a:gd name="connsiteX6" fmla="*/ 948166 w 5141157"/>
              <a:gd name="connsiteY6" fmla="*/ 3533836 h 4619555"/>
              <a:gd name="connsiteX7" fmla="*/ 656758 w 5141157"/>
              <a:gd name="connsiteY7" fmla="*/ 3194931 h 4619555"/>
              <a:gd name="connsiteX8" fmla="*/ 842879 w 5141157"/>
              <a:gd name="connsiteY8" fmla="*/ 2961975 h 4619555"/>
              <a:gd name="connsiteX9" fmla="*/ 520903 w 5141157"/>
              <a:gd name="connsiteY9" fmla="*/ 2745322 h 4619555"/>
              <a:gd name="connsiteX10" fmla="*/ 323234 w 5141157"/>
              <a:gd name="connsiteY10" fmla="*/ 2388078 h 4619555"/>
              <a:gd name="connsiteX11" fmla="*/ 105865 w 5141157"/>
              <a:gd name="connsiteY11" fmla="*/ 1787013 h 4619555"/>
              <a:gd name="connsiteX12" fmla="*/ 905372 w 5141157"/>
              <a:gd name="connsiteY12" fmla="*/ 74147 h 4619555"/>
              <a:gd name="connsiteX13" fmla="*/ 895568 w 5141157"/>
              <a:gd name="connsiteY13" fmla="*/ 30011 h 4619555"/>
              <a:gd name="connsiteX14" fmla="*/ 887798 w 5141157"/>
              <a:gd name="connsiteY14" fmla="*/ 0 h 461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41157" h="4619555">
                <a:moveTo>
                  <a:pt x="887798" y="0"/>
                </a:moveTo>
                <a:lnTo>
                  <a:pt x="5141157" y="362755"/>
                </a:lnTo>
                <a:lnTo>
                  <a:pt x="3172945" y="4554805"/>
                </a:lnTo>
                <a:lnTo>
                  <a:pt x="3068058" y="4503048"/>
                </a:lnTo>
                <a:cubicBezTo>
                  <a:pt x="2958258" y="4462303"/>
                  <a:pt x="2831881" y="4441546"/>
                  <a:pt x="2686431" y="4447319"/>
                </a:cubicBezTo>
                <a:cubicBezTo>
                  <a:pt x="1522833" y="4493503"/>
                  <a:pt x="1411432" y="4837164"/>
                  <a:pt x="1132250" y="4401137"/>
                </a:cubicBezTo>
                <a:cubicBezTo>
                  <a:pt x="853068" y="3964430"/>
                  <a:pt x="1136325" y="3719929"/>
                  <a:pt x="948166" y="3533836"/>
                </a:cubicBezTo>
                <a:cubicBezTo>
                  <a:pt x="948166" y="3533836"/>
                  <a:pt x="660833" y="3385098"/>
                  <a:pt x="656758" y="3194931"/>
                </a:cubicBezTo>
                <a:cubicBezTo>
                  <a:pt x="652682" y="3004764"/>
                  <a:pt x="842879" y="2961975"/>
                  <a:pt x="842879" y="2961975"/>
                </a:cubicBezTo>
                <a:cubicBezTo>
                  <a:pt x="842879" y="2961975"/>
                  <a:pt x="533130" y="2950430"/>
                  <a:pt x="520903" y="2745322"/>
                </a:cubicBezTo>
                <a:cubicBezTo>
                  <a:pt x="509355" y="2539532"/>
                  <a:pt x="648606" y="2523912"/>
                  <a:pt x="323234" y="2388078"/>
                </a:cubicBezTo>
                <a:cubicBezTo>
                  <a:pt x="-2819" y="2252922"/>
                  <a:pt x="-95200" y="2128635"/>
                  <a:pt x="105865" y="1787013"/>
                </a:cubicBezTo>
                <a:cubicBezTo>
                  <a:pt x="307610" y="1446069"/>
                  <a:pt x="982810" y="485045"/>
                  <a:pt x="905372" y="74147"/>
                </a:cubicBezTo>
                <a:cubicBezTo>
                  <a:pt x="902931" y="61307"/>
                  <a:pt x="899620" y="46565"/>
                  <a:pt x="895568" y="30011"/>
                </a:cubicBezTo>
                <a:lnTo>
                  <a:pt x="887798" y="0"/>
                </a:lnTo>
                <a:close/>
              </a:path>
            </a:pathLst>
          </a:custGeom>
          <a:solidFill>
            <a:schemeClr val="accent5"/>
          </a:solidFill>
          <a:ln>
            <a:noFill/>
          </a:ln>
          <a:effectLst/>
        </p:spPr>
        <p:txBody>
          <a:bodyPr wrap="square" anchor="ctr">
            <a:noAutofit/>
          </a:bodyPr>
          <a:lstStyle/>
          <a:p>
            <a:endParaRPr lang="en-US" sz="1600">
              <a:latin typeface="+mj-lt"/>
            </a:endParaRPr>
          </a:p>
        </p:txBody>
      </p:sp>
      <p:sp>
        <p:nvSpPr>
          <p:cNvPr id="21" name="Freeform 14">
            <a:extLst>
              <a:ext uri="{FF2B5EF4-FFF2-40B4-BE49-F238E27FC236}">
                <a16:creationId xmlns:a16="http://schemas.microsoft.com/office/drawing/2014/main" xmlns="" id="{B5439FA6-F0F9-476B-957F-C505EFAA038A}"/>
              </a:ext>
            </a:extLst>
          </p:cNvPr>
          <p:cNvSpPr>
            <a:spLocks noChangeArrowheads="1"/>
          </p:cNvSpPr>
          <p:nvPr/>
        </p:nvSpPr>
        <p:spPr bwMode="auto">
          <a:xfrm>
            <a:off x="6792592" y="4095031"/>
            <a:ext cx="1798593" cy="1835958"/>
          </a:xfrm>
          <a:custGeom>
            <a:avLst/>
            <a:gdLst>
              <a:gd name="connsiteX0" fmla="*/ 1980964 w 4794999"/>
              <a:gd name="connsiteY0" fmla="*/ 0 h 4894613"/>
              <a:gd name="connsiteX1" fmla="*/ 4794999 w 4794999"/>
              <a:gd name="connsiteY1" fmla="*/ 2448972 h 4894613"/>
              <a:gd name="connsiteX2" fmla="*/ 4777733 w 4794999"/>
              <a:gd name="connsiteY2" fmla="*/ 2467847 h 4894613"/>
              <a:gd name="connsiteX3" fmla="*/ 4565744 w 4794999"/>
              <a:gd name="connsiteY3" fmla="*/ 2680247 h 4894613"/>
              <a:gd name="connsiteX4" fmla="*/ 4207583 w 4794999"/>
              <a:gd name="connsiteY4" fmla="*/ 4891854 h 4894613"/>
              <a:gd name="connsiteX5" fmla="*/ 4208274 w 4794999"/>
              <a:gd name="connsiteY5" fmla="*/ 4894613 h 4894613"/>
              <a:gd name="connsiteX6" fmla="*/ 402242 w 4794999"/>
              <a:gd name="connsiteY6" fmla="*/ 4894613 h 4894613"/>
              <a:gd name="connsiteX7" fmla="*/ 379964 w 4794999"/>
              <a:gd name="connsiteY7" fmla="*/ 4815216 h 4894613"/>
              <a:gd name="connsiteX8" fmla="*/ 54134 w 4794999"/>
              <a:gd name="connsiteY8" fmla="*/ 4261141 h 4894613"/>
              <a:gd name="connsiteX9" fmla="*/ 0 w 4794999"/>
              <a:gd name="connsiteY9" fmla="*/ 4219213 h 4894613"/>
              <a:gd name="connsiteX10" fmla="*/ 1980964 w 4794999"/>
              <a:gd name="connsiteY10" fmla="*/ 0 h 489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94999" h="4894613">
                <a:moveTo>
                  <a:pt x="1980964" y="0"/>
                </a:moveTo>
                <a:lnTo>
                  <a:pt x="4794999" y="2448972"/>
                </a:lnTo>
                <a:lnTo>
                  <a:pt x="4777733" y="2467847"/>
                </a:lnTo>
                <a:cubicBezTo>
                  <a:pt x="4648371" y="2606634"/>
                  <a:pt x="4565744" y="2680247"/>
                  <a:pt x="4565744" y="2680247"/>
                </a:cubicBezTo>
                <a:cubicBezTo>
                  <a:pt x="4565744" y="2680247"/>
                  <a:pt x="3969138" y="3801970"/>
                  <a:pt x="4207583" y="4891854"/>
                </a:cubicBezTo>
                <a:lnTo>
                  <a:pt x="4208274" y="4894613"/>
                </a:lnTo>
                <a:lnTo>
                  <a:pt x="402242" y="4894613"/>
                </a:lnTo>
                <a:lnTo>
                  <a:pt x="379964" y="4815216"/>
                </a:lnTo>
                <a:cubicBezTo>
                  <a:pt x="314371" y="4611635"/>
                  <a:pt x="212416" y="4409497"/>
                  <a:pt x="54134" y="4261141"/>
                </a:cubicBezTo>
                <a:lnTo>
                  <a:pt x="0" y="4219213"/>
                </a:lnTo>
                <a:lnTo>
                  <a:pt x="1980964" y="0"/>
                </a:lnTo>
                <a:close/>
              </a:path>
            </a:pathLst>
          </a:custGeom>
          <a:solidFill>
            <a:schemeClr val="accent4"/>
          </a:solidFill>
          <a:ln>
            <a:noFill/>
          </a:ln>
          <a:effectLst/>
        </p:spPr>
        <p:txBody>
          <a:bodyPr wrap="square" anchor="ctr">
            <a:noAutofit/>
          </a:bodyPr>
          <a:lstStyle/>
          <a:p>
            <a:endParaRPr lang="en-US" sz="1600">
              <a:latin typeface="+mj-lt"/>
            </a:endParaRPr>
          </a:p>
        </p:txBody>
      </p:sp>
      <p:sp>
        <p:nvSpPr>
          <p:cNvPr id="22" name="TextBox 23">
            <a:extLst>
              <a:ext uri="{FF2B5EF4-FFF2-40B4-BE49-F238E27FC236}">
                <a16:creationId xmlns:a16="http://schemas.microsoft.com/office/drawing/2014/main" xmlns="" id="{889548DB-265B-483C-A114-B42DFE78C65F}"/>
              </a:ext>
            </a:extLst>
          </p:cNvPr>
          <p:cNvSpPr txBox="1"/>
          <p:nvPr/>
        </p:nvSpPr>
        <p:spPr>
          <a:xfrm>
            <a:off x="6987872" y="3587953"/>
            <a:ext cx="399469" cy="346249"/>
          </a:xfrm>
          <a:prstGeom prst="rect">
            <a:avLst/>
          </a:prstGeom>
          <a:noFill/>
          <a:ln>
            <a:noFill/>
          </a:ln>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01</a:t>
            </a:r>
          </a:p>
        </p:txBody>
      </p:sp>
      <p:sp>
        <p:nvSpPr>
          <p:cNvPr id="23" name="TextBox 24">
            <a:extLst>
              <a:ext uri="{FF2B5EF4-FFF2-40B4-BE49-F238E27FC236}">
                <a16:creationId xmlns:a16="http://schemas.microsoft.com/office/drawing/2014/main" xmlns="" id="{C4A19AAE-B89E-4367-8744-2DF032D60988}"/>
              </a:ext>
            </a:extLst>
          </p:cNvPr>
          <p:cNvSpPr txBox="1"/>
          <p:nvPr/>
        </p:nvSpPr>
        <p:spPr>
          <a:xfrm>
            <a:off x="7509631" y="3459432"/>
            <a:ext cx="399469" cy="346249"/>
          </a:xfrm>
          <a:prstGeom prst="rect">
            <a:avLst/>
          </a:prstGeom>
          <a:noFill/>
          <a:ln>
            <a:noFill/>
          </a:ln>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02</a:t>
            </a:r>
          </a:p>
        </p:txBody>
      </p:sp>
      <p:sp>
        <p:nvSpPr>
          <p:cNvPr id="24" name="TextBox 25">
            <a:extLst>
              <a:ext uri="{FF2B5EF4-FFF2-40B4-BE49-F238E27FC236}">
                <a16:creationId xmlns:a16="http://schemas.microsoft.com/office/drawing/2014/main" xmlns="" id="{18627B21-0EBA-4C4D-A7CE-7BD284856585}"/>
              </a:ext>
            </a:extLst>
          </p:cNvPr>
          <p:cNvSpPr txBox="1"/>
          <p:nvPr/>
        </p:nvSpPr>
        <p:spPr>
          <a:xfrm>
            <a:off x="7723119" y="3920484"/>
            <a:ext cx="399469" cy="346249"/>
          </a:xfrm>
          <a:prstGeom prst="rect">
            <a:avLst/>
          </a:prstGeom>
          <a:noFill/>
          <a:ln>
            <a:noFill/>
          </a:ln>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03</a:t>
            </a:r>
          </a:p>
        </p:txBody>
      </p:sp>
      <p:sp>
        <p:nvSpPr>
          <p:cNvPr id="25" name="TextBox 26">
            <a:extLst>
              <a:ext uri="{FF2B5EF4-FFF2-40B4-BE49-F238E27FC236}">
                <a16:creationId xmlns:a16="http://schemas.microsoft.com/office/drawing/2014/main" xmlns="" id="{44FF8A16-C22A-47E9-A0F8-CD2E5BD5E1E6}"/>
              </a:ext>
            </a:extLst>
          </p:cNvPr>
          <p:cNvSpPr txBox="1"/>
          <p:nvPr/>
        </p:nvSpPr>
        <p:spPr>
          <a:xfrm>
            <a:off x="7417810" y="4317819"/>
            <a:ext cx="399469" cy="346249"/>
          </a:xfrm>
          <a:prstGeom prst="rect">
            <a:avLst/>
          </a:prstGeom>
          <a:noFill/>
          <a:ln>
            <a:noFill/>
          </a:ln>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04</a:t>
            </a:r>
          </a:p>
        </p:txBody>
      </p:sp>
      <p:sp>
        <p:nvSpPr>
          <p:cNvPr id="32" name="TextBox 27">
            <a:extLst>
              <a:ext uri="{FF2B5EF4-FFF2-40B4-BE49-F238E27FC236}">
                <a16:creationId xmlns:a16="http://schemas.microsoft.com/office/drawing/2014/main" xmlns="" id="{FEFA83D2-9B78-4919-B708-F41111BF8360}"/>
              </a:ext>
            </a:extLst>
          </p:cNvPr>
          <p:cNvSpPr txBox="1"/>
          <p:nvPr/>
        </p:nvSpPr>
        <p:spPr>
          <a:xfrm>
            <a:off x="6924993" y="4083027"/>
            <a:ext cx="399469" cy="346249"/>
          </a:xfrm>
          <a:prstGeom prst="rect">
            <a:avLst/>
          </a:prstGeom>
          <a:noFill/>
          <a:ln>
            <a:noFill/>
          </a:ln>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05</a:t>
            </a:r>
          </a:p>
        </p:txBody>
      </p:sp>
      <p:sp>
        <p:nvSpPr>
          <p:cNvPr id="33" name="TextBox 28">
            <a:extLst>
              <a:ext uri="{FF2B5EF4-FFF2-40B4-BE49-F238E27FC236}">
                <a16:creationId xmlns:a16="http://schemas.microsoft.com/office/drawing/2014/main" xmlns="" id="{C7D293F0-3612-4272-B56D-BC4E4236AD8C}"/>
              </a:ext>
            </a:extLst>
          </p:cNvPr>
          <p:cNvSpPr txBox="1"/>
          <p:nvPr/>
        </p:nvSpPr>
        <p:spPr>
          <a:xfrm>
            <a:off x="5799450" y="2636516"/>
            <a:ext cx="1453026" cy="830997"/>
          </a:xfrm>
          <a:prstGeom prst="rect">
            <a:avLst/>
          </a:prstGeom>
          <a:noFill/>
        </p:spPr>
        <p:txBody>
          <a:bodyPr wrap="none" rtlCol="0" anchor="b" anchorCtr="0">
            <a:spAutoFit/>
          </a:bodyPr>
          <a:lstStyle/>
          <a:p>
            <a:pPr algn="r"/>
            <a:r>
              <a:rPr lang="en-US" sz="1600" b="1" dirty="0">
                <a:solidFill>
                  <a:schemeClr val="bg1"/>
                </a:solidFill>
                <a:latin typeface="+mj-lt"/>
                <a:ea typeface="League Spartan" charset="0"/>
                <a:cs typeface="Poppins" pitchFamily="2" charset="77"/>
              </a:rPr>
              <a:t>Experimentando</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vergüenza y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vergüenza</a:t>
            </a:r>
          </a:p>
        </p:txBody>
      </p:sp>
      <p:sp>
        <p:nvSpPr>
          <p:cNvPr id="39" name="TextBox 30">
            <a:extLst>
              <a:ext uri="{FF2B5EF4-FFF2-40B4-BE49-F238E27FC236}">
                <a16:creationId xmlns:a16="http://schemas.microsoft.com/office/drawing/2014/main" xmlns="" id="{8D3FB7E3-43AE-44E4-A5CF-A73CF31AABE4}"/>
              </a:ext>
            </a:extLst>
          </p:cNvPr>
          <p:cNvSpPr txBox="1"/>
          <p:nvPr/>
        </p:nvSpPr>
        <p:spPr>
          <a:xfrm>
            <a:off x="7509631" y="2405579"/>
            <a:ext cx="1167179" cy="830997"/>
          </a:xfrm>
          <a:prstGeom prst="rect">
            <a:avLst/>
          </a:prstGeom>
          <a:noFill/>
        </p:spPr>
        <p:txBody>
          <a:bodyPr wrap="none" rtlCol="0" anchor="b" anchorCtr="0">
            <a:spAutoFit/>
          </a:bodyPr>
          <a:lstStyle/>
          <a:p>
            <a:r>
              <a:rPr lang="en-US" sz="1600" b="1" dirty="0">
                <a:solidFill>
                  <a:schemeClr val="bg1"/>
                </a:solidFill>
                <a:latin typeface="+mj-lt"/>
                <a:ea typeface="League Spartan" charset="0"/>
                <a:cs typeface="Poppins" pitchFamily="2" charset="77"/>
              </a:rPr>
              <a:t>Reajuste de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cómo te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se ve a sí mismo</a:t>
            </a:r>
          </a:p>
        </p:txBody>
      </p:sp>
      <p:sp>
        <p:nvSpPr>
          <p:cNvPr id="41" name="TextBox 32">
            <a:extLst>
              <a:ext uri="{FF2B5EF4-FFF2-40B4-BE49-F238E27FC236}">
                <a16:creationId xmlns:a16="http://schemas.microsoft.com/office/drawing/2014/main" xmlns="" id="{43FD355D-7DE3-4451-84B2-6B03E3A5719D}"/>
              </a:ext>
            </a:extLst>
          </p:cNvPr>
          <p:cNvSpPr txBox="1"/>
          <p:nvPr/>
        </p:nvSpPr>
        <p:spPr>
          <a:xfrm>
            <a:off x="7157668" y="4659399"/>
            <a:ext cx="992388" cy="830997"/>
          </a:xfrm>
          <a:prstGeom prst="rect">
            <a:avLst/>
          </a:prstGeom>
          <a:noFill/>
        </p:spPr>
        <p:txBody>
          <a:bodyPr wrap="none" rtlCol="0" anchor="b" anchorCtr="0">
            <a:spAutoFit/>
          </a:bodyPr>
          <a:lstStyle/>
          <a:p>
            <a:pPr algn="ctr"/>
            <a:r>
              <a:rPr lang="en-US" sz="1600" b="1" dirty="0">
                <a:solidFill>
                  <a:schemeClr val="bg1"/>
                </a:solidFill>
                <a:latin typeface="+mj-lt"/>
                <a:ea typeface="League Spartan" charset="0"/>
                <a:cs typeface="Poppins" pitchFamily="2" charset="77"/>
              </a:rPr>
              <a:t>Desafiando a</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importante</a:t>
            </a:r>
          </a:p>
          <a:p>
            <a:r>
              <a:rPr lang="en-US" sz="1600" b="1" dirty="0">
                <a:solidFill>
                  <a:schemeClr val="bg1"/>
                </a:solidFill>
                <a:latin typeface="+mj-lt"/>
                <a:ea typeface="League Spartan" charset="0"/>
                <a:cs typeface="Poppins" pitchFamily="2" charset="77"/>
              </a:rPr>
              <a:t>otros</a:t>
            </a:r>
          </a:p>
        </p:txBody>
      </p:sp>
      <p:sp>
        <p:nvSpPr>
          <p:cNvPr id="43" name="TextBox 34">
            <a:extLst>
              <a:ext uri="{FF2B5EF4-FFF2-40B4-BE49-F238E27FC236}">
                <a16:creationId xmlns:a16="http://schemas.microsoft.com/office/drawing/2014/main" xmlns="" id="{70C8F454-8A21-45D8-8DBC-76CFA0D8807F}"/>
              </a:ext>
            </a:extLst>
          </p:cNvPr>
          <p:cNvSpPr txBox="1"/>
          <p:nvPr/>
        </p:nvSpPr>
        <p:spPr>
          <a:xfrm>
            <a:off x="5978443" y="4184026"/>
            <a:ext cx="1220975" cy="830997"/>
          </a:xfrm>
          <a:prstGeom prst="rect">
            <a:avLst/>
          </a:prstGeom>
          <a:noFill/>
        </p:spPr>
        <p:txBody>
          <a:bodyPr wrap="none" rtlCol="0" anchor="b" anchorCtr="0">
            <a:spAutoFit/>
          </a:bodyPr>
          <a:lstStyle/>
          <a:p>
            <a:r>
              <a:rPr lang="en-US" sz="1600" b="1" dirty="0">
                <a:solidFill>
                  <a:schemeClr val="bg1"/>
                </a:solidFill>
                <a:latin typeface="+mj-lt"/>
                <a:ea typeface="League Spartan" charset="0"/>
                <a:cs typeface="Poppins" pitchFamily="2" charset="77"/>
              </a:rPr>
              <a:t>Importante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otros pierden</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interés </a:t>
            </a:r>
          </a:p>
        </p:txBody>
      </p:sp>
      <p:sp>
        <p:nvSpPr>
          <p:cNvPr id="46" name="TextBox 36">
            <a:extLst>
              <a:ext uri="{FF2B5EF4-FFF2-40B4-BE49-F238E27FC236}">
                <a16:creationId xmlns:a16="http://schemas.microsoft.com/office/drawing/2014/main" xmlns="" id="{C54FDBD7-08AA-4824-BBFF-762B573B427A}"/>
              </a:ext>
            </a:extLst>
          </p:cNvPr>
          <p:cNvSpPr txBox="1"/>
          <p:nvPr/>
        </p:nvSpPr>
        <p:spPr>
          <a:xfrm>
            <a:off x="8183893" y="3603265"/>
            <a:ext cx="976229" cy="830997"/>
          </a:xfrm>
          <a:prstGeom prst="rect">
            <a:avLst/>
          </a:prstGeom>
          <a:noFill/>
        </p:spPr>
        <p:txBody>
          <a:bodyPr wrap="none" rtlCol="0" anchor="b" anchorCtr="0">
            <a:spAutoFit/>
          </a:bodyPr>
          <a:lstStyle/>
          <a:p>
            <a:r>
              <a:rPr lang="en-US" sz="1600" b="1" dirty="0">
                <a:solidFill>
                  <a:schemeClr val="bg1"/>
                </a:solidFill>
                <a:latin typeface="+mj-lt"/>
                <a:ea typeface="League Spartan" charset="0"/>
                <a:cs typeface="Poppins" pitchFamily="2" charset="77"/>
              </a:rPr>
              <a:t>Tener una</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incierto</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futuro</a:t>
            </a:r>
          </a:p>
        </p:txBody>
      </p:sp>
    </p:spTree>
    <p:extLst>
      <p:ext uri="{BB962C8B-B14F-4D97-AF65-F5344CB8AC3E}">
        <p14:creationId xmlns:p14="http://schemas.microsoft.com/office/powerpoint/2010/main" val="39531900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646903"/>
            <a:ext cx="8852375" cy="697353"/>
          </a:xfrm>
        </p:spPr>
        <p:txBody>
          <a:bodyPr>
            <a:normAutofit/>
          </a:bodyPr>
          <a:lstStyle/>
          <a:p>
            <a:r>
              <a:rPr lang="en-GB" dirty="0"/>
              <a:t>El miedo al fracaso</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799457" y="2184623"/>
            <a:ext cx="10576114" cy="356025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dirty="0">
                <a:solidFill>
                  <a:srgbClr val="245473"/>
                </a:solidFill>
                <a:latin typeface="+mj-lt"/>
              </a:rPr>
              <a:t>Las personas responden de forma diferente al estrés y no tiene nada que ver con la inteligencia o la habilidad. Las personas muy hábiles pueden seguir sin confiar en su capacidad para completar una tarea.</a:t>
            </a:r>
          </a:p>
          <a:p>
            <a:pPr algn="l">
              <a:lnSpc>
                <a:spcPct val="100000"/>
              </a:lnSpc>
              <a:spcBef>
                <a:spcPts val="600"/>
              </a:spcBef>
            </a:pPr>
            <a:r>
              <a:rPr lang="en-US" altLang="de-DE" dirty="0">
                <a:solidFill>
                  <a:srgbClr val="245473"/>
                </a:solidFill>
                <a:latin typeface="+mj-lt"/>
              </a:rPr>
              <a:t>En las situaciones en las que hay que entregar algo, las personas equilibran su deseo de hacer algo bien (orientación al éxito) con su preocupación por hacerlo mal (miedo al fracaso).</a:t>
            </a:r>
          </a:p>
          <a:p>
            <a:pPr algn="l">
              <a:lnSpc>
                <a:spcPct val="100000"/>
              </a:lnSpc>
              <a:spcBef>
                <a:spcPts val="600"/>
              </a:spcBef>
            </a:pPr>
            <a:r>
              <a:rPr lang="en-US" altLang="de-DE" dirty="0">
                <a:solidFill>
                  <a:srgbClr val="245473"/>
                </a:solidFill>
                <a:latin typeface="+mj-lt"/>
              </a:rPr>
              <a:t> Algunas personas piensan que el miedo al fracaso y la orientación al éxito son los extremos opuestos de un espectro, en el que un extremo indica una alta resiliencia y el otro una baja. Pero no es tan sencillo. Se puede tener tanto una alta orientación al éxito como un alto miedo al fracaso. No son mutuamente excluyentes.</a:t>
            </a:r>
            <a:endParaRPr lang="en-GB" altLang="de-DE" dirty="0">
              <a:solidFill>
                <a:srgbClr val="245473"/>
              </a:solidFill>
              <a:latin typeface="+mj-lt"/>
            </a:endParaRP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550278" y="6528494"/>
            <a:ext cx="554572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Fuente: </a:t>
            </a:r>
            <a:r>
              <a:rPr lang="pt-BR" sz="1000" dirty="0">
                <a:latin typeface="+mj-lt"/>
                <a:ea typeface="League Spartan" charset="0"/>
                <a:cs typeface="Poppins" pitchFamily="2" charset="77"/>
              </a:rPr>
              <a:t>Adaptado de De Castella, Byrne y Covington. 2013</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24681435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77065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646903"/>
            <a:ext cx="8852375" cy="697353"/>
          </a:xfrm>
        </p:spPr>
        <p:txBody>
          <a:bodyPr>
            <a:normAutofit/>
          </a:bodyPr>
          <a:lstStyle/>
          <a:p>
            <a:r>
              <a:rPr lang="en-GB" dirty="0"/>
              <a:t>El miedo al fracaso</a:t>
            </a: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550278" y="6528494"/>
            <a:ext cx="554572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Fuente: </a:t>
            </a:r>
            <a:r>
              <a:rPr lang="pt-BR" sz="1000" dirty="0">
                <a:latin typeface="+mj-lt"/>
                <a:ea typeface="League Spartan" charset="0"/>
                <a:cs typeface="Poppins" pitchFamily="2" charset="77"/>
              </a:rPr>
              <a:t>Adaptado de De Castella, Byrne y Covington. 2013</a:t>
            </a:r>
            <a:endParaRPr lang="en-GB" sz="1000" dirty="0">
              <a:latin typeface="+mj-lt"/>
              <a:ea typeface="League Spartan" charset="0"/>
              <a:cs typeface="Poppins" pitchFamily="2" charset="77"/>
            </a:endParaRPr>
          </a:p>
        </p:txBody>
      </p:sp>
      <p:sp>
        <p:nvSpPr>
          <p:cNvPr id="31" name="Rechteck 48">
            <a:extLst>
              <a:ext uri="{FF2B5EF4-FFF2-40B4-BE49-F238E27FC236}">
                <a16:creationId xmlns:a16="http://schemas.microsoft.com/office/drawing/2014/main" xmlns="" id="{CFA40BAB-10FF-4E45-B47E-504D44522710}"/>
              </a:ext>
            </a:extLst>
          </p:cNvPr>
          <p:cNvSpPr/>
          <p:nvPr/>
        </p:nvSpPr>
        <p:spPr>
          <a:xfrm>
            <a:off x="8451977" y="4143073"/>
            <a:ext cx="2979378" cy="1710127"/>
          </a:xfrm>
          <a:prstGeom prst="rect">
            <a:avLst/>
          </a:prstGeom>
          <a:solidFill>
            <a:schemeClr val="accent3"/>
          </a:solidFill>
          <a:ln>
            <a:noFill/>
          </a:ln>
          <a:effectLst/>
        </p:spPr>
        <p:txBody>
          <a:bodyPr wrap="square" anchor="ctr">
            <a:noAutofit/>
          </a:bodyPr>
          <a:lstStyle/>
          <a:p>
            <a:endParaRPr lang="de-DE" sz="2450">
              <a:latin typeface="Lato Light" panose="020F0502020204030203" pitchFamily="34" charset="0"/>
            </a:endParaRPr>
          </a:p>
        </p:txBody>
      </p:sp>
      <p:sp>
        <p:nvSpPr>
          <p:cNvPr id="32" name="Rechteck 49">
            <a:extLst>
              <a:ext uri="{FF2B5EF4-FFF2-40B4-BE49-F238E27FC236}">
                <a16:creationId xmlns:a16="http://schemas.microsoft.com/office/drawing/2014/main" xmlns="" id="{D80726F5-B902-724A-A64E-107B74CBAD60}"/>
              </a:ext>
            </a:extLst>
          </p:cNvPr>
          <p:cNvSpPr/>
          <p:nvPr/>
        </p:nvSpPr>
        <p:spPr>
          <a:xfrm>
            <a:off x="550278" y="4154608"/>
            <a:ext cx="4084603" cy="17049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7">
              <a:solidFill>
                <a:schemeClr val="lt1"/>
              </a:solidFill>
              <a:latin typeface="Lato Light" panose="020F0502020204030203" pitchFamily="34" charset="0"/>
            </a:endParaRPr>
          </a:p>
        </p:txBody>
      </p:sp>
      <p:sp>
        <p:nvSpPr>
          <p:cNvPr id="33" name="Rechteck 50">
            <a:extLst>
              <a:ext uri="{FF2B5EF4-FFF2-40B4-BE49-F238E27FC236}">
                <a16:creationId xmlns:a16="http://schemas.microsoft.com/office/drawing/2014/main" xmlns="" id="{E803A5FB-3840-6146-A51D-CE8AE5186109}"/>
              </a:ext>
            </a:extLst>
          </p:cNvPr>
          <p:cNvSpPr/>
          <p:nvPr/>
        </p:nvSpPr>
        <p:spPr>
          <a:xfrm>
            <a:off x="550271" y="2157404"/>
            <a:ext cx="3643806" cy="1704975"/>
          </a:xfrm>
          <a:prstGeom prst="rect">
            <a:avLst/>
          </a:prstGeom>
          <a:solidFill>
            <a:schemeClr val="accent1"/>
          </a:solidFill>
          <a:ln>
            <a:noFill/>
          </a:ln>
          <a:effectLst/>
        </p:spPr>
        <p:txBody>
          <a:bodyPr wrap="square" anchor="ctr">
            <a:noAutofit/>
          </a:bodyPr>
          <a:lstStyle/>
          <a:p>
            <a:endParaRPr lang="de-DE" sz="2450">
              <a:latin typeface="Lato Light" panose="020F0502020204030203" pitchFamily="34" charset="0"/>
            </a:endParaRPr>
          </a:p>
        </p:txBody>
      </p:sp>
      <p:sp>
        <p:nvSpPr>
          <p:cNvPr id="35" name="Rechteck 5">
            <a:extLst>
              <a:ext uri="{FF2B5EF4-FFF2-40B4-BE49-F238E27FC236}">
                <a16:creationId xmlns:a16="http://schemas.microsoft.com/office/drawing/2014/main" xmlns="" id="{39EF5DC0-4902-DA4E-8897-A2DBEE336487}"/>
              </a:ext>
            </a:extLst>
          </p:cNvPr>
          <p:cNvSpPr/>
          <p:nvPr/>
        </p:nvSpPr>
        <p:spPr>
          <a:xfrm>
            <a:off x="7107013" y="2214329"/>
            <a:ext cx="4324342" cy="1993716"/>
          </a:xfrm>
          <a:prstGeom prst="rect">
            <a:avLst/>
          </a:prstGeom>
          <a:solidFill>
            <a:schemeClr val="accent2"/>
          </a:solidFill>
          <a:ln>
            <a:noFill/>
          </a:ln>
          <a:effectLst/>
        </p:spPr>
        <p:txBody>
          <a:bodyPr wrap="square" anchor="ctr">
            <a:noAutofit/>
          </a:bodyPr>
          <a:lstStyle/>
          <a:p>
            <a:endParaRPr lang="de-DE" sz="2450">
              <a:solidFill>
                <a:schemeClr val="tx1"/>
              </a:solidFill>
              <a:latin typeface="Lato Light" panose="020F0502020204030203" pitchFamily="34" charset="0"/>
            </a:endParaRPr>
          </a:p>
        </p:txBody>
      </p:sp>
      <p:sp>
        <p:nvSpPr>
          <p:cNvPr id="37" name="Freeform 44">
            <a:extLst>
              <a:ext uri="{FF2B5EF4-FFF2-40B4-BE49-F238E27FC236}">
                <a16:creationId xmlns:a16="http://schemas.microsoft.com/office/drawing/2014/main" xmlns="" id="{0F3BCB02-8DC3-6643-A815-8597294F04DE}"/>
              </a:ext>
            </a:extLst>
          </p:cNvPr>
          <p:cNvSpPr/>
          <p:nvPr/>
        </p:nvSpPr>
        <p:spPr>
          <a:xfrm>
            <a:off x="1481078" y="4160939"/>
            <a:ext cx="4190555" cy="2012117"/>
          </a:xfrm>
          <a:custGeom>
            <a:avLst/>
            <a:gdLst>
              <a:gd name="connsiteX0" fmla="*/ 0 w 9732811"/>
              <a:gd name="connsiteY0" fmla="*/ 0 h 4886534"/>
              <a:gd name="connsiteX1" fmla="*/ 2512787 w 9732811"/>
              <a:gd name="connsiteY1" fmla="*/ 0 h 4886534"/>
              <a:gd name="connsiteX2" fmla="*/ 2512787 w 9732811"/>
              <a:gd name="connsiteY2" fmla="*/ 1 h 4886534"/>
              <a:gd name="connsiteX3" fmla="*/ 7620648 w 9732811"/>
              <a:gd name="connsiteY3" fmla="*/ 1 h 4886534"/>
              <a:gd name="connsiteX4" fmla="*/ 9732811 w 9732811"/>
              <a:gd name="connsiteY4" fmla="*/ 2111888 h 4886534"/>
              <a:gd name="connsiteX5" fmla="*/ 9732811 w 9732811"/>
              <a:gd name="connsiteY5" fmla="*/ 4886534 h 4886534"/>
              <a:gd name="connsiteX6" fmla="*/ 5607670 w 9732811"/>
              <a:gd name="connsiteY6" fmla="*/ 2616073 h 4886534"/>
              <a:gd name="connsiteX7" fmla="*/ 2501212 w 9732811"/>
              <a:gd name="connsiteY7" fmla="*/ 2616073 h 4886534"/>
              <a:gd name="connsiteX8" fmla="*/ 2501212 w 9732811"/>
              <a:gd name="connsiteY8" fmla="*/ 2615397 h 4886534"/>
              <a:gd name="connsiteX9" fmla="*/ 0 w 9732811"/>
              <a:gd name="connsiteY9" fmla="*/ 2615397 h 48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2811" h="4886534">
                <a:moveTo>
                  <a:pt x="0" y="0"/>
                </a:moveTo>
                <a:lnTo>
                  <a:pt x="2512787" y="0"/>
                </a:lnTo>
                <a:lnTo>
                  <a:pt x="2512787" y="1"/>
                </a:lnTo>
                <a:lnTo>
                  <a:pt x="7620648" y="1"/>
                </a:lnTo>
                <a:cubicBezTo>
                  <a:pt x="7620648" y="1165320"/>
                  <a:pt x="8566162" y="2111888"/>
                  <a:pt x="9732811" y="2111888"/>
                </a:cubicBezTo>
                <a:lnTo>
                  <a:pt x="9732811" y="4886534"/>
                </a:lnTo>
                <a:cubicBezTo>
                  <a:pt x="7997064" y="4886534"/>
                  <a:pt x="6474323" y="3980626"/>
                  <a:pt x="5607670" y="2616073"/>
                </a:cubicBezTo>
                <a:lnTo>
                  <a:pt x="2501212" y="2616073"/>
                </a:lnTo>
                <a:lnTo>
                  <a:pt x="2501212" y="2615397"/>
                </a:lnTo>
                <a:lnTo>
                  <a:pt x="0" y="2615397"/>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39" name="Freeform 43">
            <a:extLst>
              <a:ext uri="{FF2B5EF4-FFF2-40B4-BE49-F238E27FC236}">
                <a16:creationId xmlns:a16="http://schemas.microsoft.com/office/drawing/2014/main" xmlns="" id="{364164D4-6DC7-604A-AC23-C743CEA747C0}"/>
              </a:ext>
            </a:extLst>
          </p:cNvPr>
          <p:cNvSpPr>
            <a:spLocks noChangeArrowheads="1"/>
          </p:cNvSpPr>
          <p:nvPr/>
        </p:nvSpPr>
        <p:spPr bwMode="auto">
          <a:xfrm>
            <a:off x="5671965" y="4143073"/>
            <a:ext cx="4007991" cy="2012117"/>
          </a:xfrm>
          <a:custGeom>
            <a:avLst/>
            <a:gdLst>
              <a:gd name="connsiteX0" fmla="*/ 7220841 w 9733627"/>
              <a:gd name="connsiteY0" fmla="*/ 0 h 4886534"/>
              <a:gd name="connsiteX1" fmla="*/ 9733627 w 9733627"/>
              <a:gd name="connsiteY1" fmla="*/ 0 h 4886534"/>
              <a:gd name="connsiteX2" fmla="*/ 9733627 w 9733627"/>
              <a:gd name="connsiteY2" fmla="*/ 2615397 h 4886534"/>
              <a:gd name="connsiteX3" fmla="*/ 7231601 w 9733627"/>
              <a:gd name="connsiteY3" fmla="*/ 2615397 h 4886534"/>
              <a:gd name="connsiteX4" fmla="*/ 7231601 w 9733627"/>
              <a:gd name="connsiteY4" fmla="*/ 2616073 h 4886534"/>
              <a:gd name="connsiteX5" fmla="*/ 4125257 w 9733627"/>
              <a:gd name="connsiteY5" fmla="*/ 2616073 h 4886534"/>
              <a:gd name="connsiteX6" fmla="*/ 0 w 9733627"/>
              <a:gd name="connsiteY6" fmla="*/ 4886534 h 4886534"/>
              <a:gd name="connsiteX7" fmla="*/ 0 w 9733627"/>
              <a:gd name="connsiteY7" fmla="*/ 2111888 h 4886534"/>
              <a:gd name="connsiteX8" fmla="*/ 2111826 w 9733627"/>
              <a:gd name="connsiteY8" fmla="*/ 1 h 4886534"/>
              <a:gd name="connsiteX9" fmla="*/ 7220841 w 9733627"/>
              <a:gd name="connsiteY9" fmla="*/ 1 h 48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3627" h="4886534">
                <a:moveTo>
                  <a:pt x="7220841" y="0"/>
                </a:moveTo>
                <a:lnTo>
                  <a:pt x="9733627" y="0"/>
                </a:lnTo>
                <a:lnTo>
                  <a:pt x="9733627" y="2615397"/>
                </a:lnTo>
                <a:lnTo>
                  <a:pt x="7231601" y="2615397"/>
                </a:lnTo>
                <a:lnTo>
                  <a:pt x="7231601" y="2616073"/>
                </a:lnTo>
                <a:lnTo>
                  <a:pt x="4125257" y="2616073"/>
                </a:lnTo>
                <a:cubicBezTo>
                  <a:pt x="3258409" y="3980626"/>
                  <a:pt x="1735324" y="4886534"/>
                  <a:pt x="0" y="4886534"/>
                </a:cubicBezTo>
                <a:lnTo>
                  <a:pt x="0" y="2111888"/>
                </a:lnTo>
                <a:cubicBezTo>
                  <a:pt x="1166099" y="2111888"/>
                  <a:pt x="2111826" y="1165320"/>
                  <a:pt x="2111826" y="1"/>
                </a:cubicBezTo>
                <a:lnTo>
                  <a:pt x="7220841" y="1"/>
                </a:lnTo>
                <a:close/>
              </a:path>
            </a:pathLst>
          </a:custGeom>
          <a:solidFill>
            <a:schemeClr val="accent3"/>
          </a:solidFill>
          <a:ln>
            <a:noFill/>
          </a:ln>
          <a:effectLst/>
        </p:spPr>
        <p:txBody>
          <a:bodyPr wrap="square" anchor="ctr">
            <a:noAutofit/>
          </a:bodyPr>
          <a:lstStyle/>
          <a:p>
            <a:endParaRPr lang="en-US" sz="2450" dirty="0">
              <a:latin typeface="Lato Light" panose="020F0502020204030203" pitchFamily="34" charset="0"/>
            </a:endParaRPr>
          </a:p>
        </p:txBody>
      </p:sp>
      <p:sp>
        <p:nvSpPr>
          <p:cNvPr id="40" name="Freeform 42">
            <a:extLst>
              <a:ext uri="{FF2B5EF4-FFF2-40B4-BE49-F238E27FC236}">
                <a16:creationId xmlns:a16="http://schemas.microsoft.com/office/drawing/2014/main" xmlns="" id="{F7265EBB-C22A-9044-BD85-F4D5E18EEBEA}"/>
              </a:ext>
            </a:extLst>
          </p:cNvPr>
          <p:cNvSpPr>
            <a:spLocks noChangeArrowheads="1"/>
          </p:cNvSpPr>
          <p:nvPr/>
        </p:nvSpPr>
        <p:spPr bwMode="auto">
          <a:xfrm>
            <a:off x="5664155" y="2099383"/>
            <a:ext cx="4007991" cy="2071971"/>
          </a:xfrm>
          <a:custGeom>
            <a:avLst/>
            <a:gdLst>
              <a:gd name="connsiteX0" fmla="*/ 0 w 9733627"/>
              <a:gd name="connsiteY0" fmla="*/ 0 h 4887347"/>
              <a:gd name="connsiteX1" fmla="*/ 4125257 w 9733627"/>
              <a:gd name="connsiteY1" fmla="*/ 2269272 h 4887347"/>
              <a:gd name="connsiteX2" fmla="*/ 7231601 w 9733627"/>
              <a:gd name="connsiteY2" fmla="*/ 2269272 h 4887347"/>
              <a:gd name="connsiteX3" fmla="*/ 7231601 w 9733627"/>
              <a:gd name="connsiteY3" fmla="*/ 2271950 h 4887347"/>
              <a:gd name="connsiteX4" fmla="*/ 9733627 w 9733627"/>
              <a:gd name="connsiteY4" fmla="*/ 2271950 h 4887347"/>
              <a:gd name="connsiteX5" fmla="*/ 9733627 w 9733627"/>
              <a:gd name="connsiteY5" fmla="*/ 4887347 h 4887347"/>
              <a:gd name="connsiteX6" fmla="*/ 7220841 w 9733627"/>
              <a:gd name="connsiteY6" fmla="*/ 4887347 h 4887347"/>
              <a:gd name="connsiteX7" fmla="*/ 7220841 w 9733627"/>
              <a:gd name="connsiteY7" fmla="*/ 4886536 h 4887347"/>
              <a:gd name="connsiteX8" fmla="*/ 2111826 w 9733627"/>
              <a:gd name="connsiteY8" fmla="*/ 4886536 h 4887347"/>
              <a:gd name="connsiteX9" fmla="*/ 0 w 9733627"/>
              <a:gd name="connsiteY9" fmla="*/ 2774187 h 488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3627" h="4887347">
                <a:moveTo>
                  <a:pt x="0" y="0"/>
                </a:moveTo>
                <a:cubicBezTo>
                  <a:pt x="1735324" y="0"/>
                  <a:pt x="3258409" y="905757"/>
                  <a:pt x="4125257" y="2269272"/>
                </a:cubicBezTo>
                <a:lnTo>
                  <a:pt x="7231601" y="2269272"/>
                </a:lnTo>
                <a:lnTo>
                  <a:pt x="7231601" y="2271950"/>
                </a:lnTo>
                <a:lnTo>
                  <a:pt x="9733627" y="2271950"/>
                </a:lnTo>
                <a:lnTo>
                  <a:pt x="9733627" y="4887347"/>
                </a:lnTo>
                <a:lnTo>
                  <a:pt x="7220841" y="4887347"/>
                </a:lnTo>
                <a:lnTo>
                  <a:pt x="7220841" y="4886536"/>
                </a:lnTo>
                <a:lnTo>
                  <a:pt x="2111826" y="4886536"/>
                </a:lnTo>
                <a:cubicBezTo>
                  <a:pt x="2111826" y="3719784"/>
                  <a:pt x="1166099" y="2774187"/>
                  <a:pt x="0" y="2774187"/>
                </a:cubicBezTo>
                <a:close/>
              </a:path>
            </a:pathLst>
          </a:custGeom>
          <a:solidFill>
            <a:schemeClr val="accent2"/>
          </a:solidFill>
          <a:ln>
            <a:noFill/>
          </a:ln>
          <a:effectLst/>
        </p:spPr>
        <p:txBody>
          <a:bodyPr wrap="square" anchor="ctr">
            <a:noAutofit/>
          </a:bodyPr>
          <a:lstStyle/>
          <a:p>
            <a:endParaRPr lang="en-US" sz="2450" dirty="0">
              <a:latin typeface="Lato Light" panose="020F0502020204030203" pitchFamily="34" charset="0"/>
            </a:endParaRPr>
          </a:p>
        </p:txBody>
      </p:sp>
      <p:sp>
        <p:nvSpPr>
          <p:cNvPr id="41" name="Freeform 45">
            <a:extLst>
              <a:ext uri="{FF2B5EF4-FFF2-40B4-BE49-F238E27FC236}">
                <a16:creationId xmlns:a16="http://schemas.microsoft.com/office/drawing/2014/main" xmlns="" id="{A945340D-F9B1-F54F-B8A4-9A7643D0FE87}"/>
              </a:ext>
            </a:extLst>
          </p:cNvPr>
          <p:cNvSpPr>
            <a:spLocks noChangeArrowheads="1"/>
          </p:cNvSpPr>
          <p:nvPr/>
        </p:nvSpPr>
        <p:spPr bwMode="auto">
          <a:xfrm>
            <a:off x="550278" y="2084011"/>
            <a:ext cx="5135311" cy="2070932"/>
          </a:xfrm>
          <a:custGeom>
            <a:avLst/>
            <a:gdLst>
              <a:gd name="connsiteX0" fmla="*/ 9732811 w 9732811"/>
              <a:gd name="connsiteY0" fmla="*/ 0 h 4887347"/>
              <a:gd name="connsiteX1" fmla="*/ 9732811 w 9732811"/>
              <a:gd name="connsiteY1" fmla="*/ 2774187 h 4887347"/>
              <a:gd name="connsiteX2" fmla="*/ 7620648 w 9732811"/>
              <a:gd name="connsiteY2" fmla="*/ 4886536 h 4887347"/>
              <a:gd name="connsiteX3" fmla="*/ 2512787 w 9732811"/>
              <a:gd name="connsiteY3" fmla="*/ 4886536 h 4887347"/>
              <a:gd name="connsiteX4" fmla="*/ 2512787 w 9732811"/>
              <a:gd name="connsiteY4" fmla="*/ 4887347 h 4887347"/>
              <a:gd name="connsiteX5" fmla="*/ 0 w 9732811"/>
              <a:gd name="connsiteY5" fmla="*/ 4887347 h 4887347"/>
              <a:gd name="connsiteX6" fmla="*/ 0 w 9732811"/>
              <a:gd name="connsiteY6" fmla="*/ 2271950 h 4887347"/>
              <a:gd name="connsiteX7" fmla="*/ 2501212 w 9732811"/>
              <a:gd name="connsiteY7" fmla="*/ 2271950 h 4887347"/>
              <a:gd name="connsiteX8" fmla="*/ 2501212 w 9732811"/>
              <a:gd name="connsiteY8" fmla="*/ 2269272 h 4887347"/>
              <a:gd name="connsiteX9" fmla="*/ 5607670 w 9732811"/>
              <a:gd name="connsiteY9" fmla="*/ 2269272 h 4887347"/>
              <a:gd name="connsiteX10" fmla="*/ 9732811 w 9732811"/>
              <a:gd name="connsiteY10" fmla="*/ 0 h 488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32811" h="4887347">
                <a:moveTo>
                  <a:pt x="9732811" y="0"/>
                </a:moveTo>
                <a:lnTo>
                  <a:pt x="9732811" y="2774187"/>
                </a:lnTo>
                <a:cubicBezTo>
                  <a:pt x="8566162" y="2774187"/>
                  <a:pt x="7620648" y="3719784"/>
                  <a:pt x="7620648" y="4886536"/>
                </a:cubicBezTo>
                <a:lnTo>
                  <a:pt x="2512787" y="4886536"/>
                </a:lnTo>
                <a:lnTo>
                  <a:pt x="2512787" y="4887347"/>
                </a:lnTo>
                <a:lnTo>
                  <a:pt x="0" y="4887347"/>
                </a:lnTo>
                <a:lnTo>
                  <a:pt x="0" y="2271950"/>
                </a:lnTo>
                <a:lnTo>
                  <a:pt x="2501212" y="2271950"/>
                </a:lnTo>
                <a:lnTo>
                  <a:pt x="2501212" y="2269272"/>
                </a:lnTo>
                <a:lnTo>
                  <a:pt x="5607670" y="2269272"/>
                </a:lnTo>
                <a:cubicBezTo>
                  <a:pt x="6474323" y="905757"/>
                  <a:pt x="7997064" y="0"/>
                  <a:pt x="9732811" y="0"/>
                </a:cubicBezTo>
                <a:close/>
              </a:path>
            </a:pathLst>
          </a:custGeom>
          <a:solidFill>
            <a:schemeClr val="accent1"/>
          </a:solidFill>
          <a:ln>
            <a:noFill/>
          </a:ln>
          <a:effectLst/>
        </p:spPr>
        <p:txBody>
          <a:bodyPr wrap="square" anchor="ctr">
            <a:noAutofit/>
          </a:bodyPr>
          <a:lstStyle/>
          <a:p>
            <a:endParaRPr lang="en-US" sz="2450" dirty="0">
              <a:latin typeface="Lato Light" panose="020F0502020204030203" pitchFamily="34" charset="0"/>
            </a:endParaRPr>
          </a:p>
        </p:txBody>
      </p:sp>
      <p:sp>
        <p:nvSpPr>
          <p:cNvPr id="43" name="TextBox 21">
            <a:extLst>
              <a:ext uri="{FF2B5EF4-FFF2-40B4-BE49-F238E27FC236}">
                <a16:creationId xmlns:a16="http://schemas.microsoft.com/office/drawing/2014/main" xmlns="" id="{BAC0C5D7-9521-5641-A71F-934493494934}"/>
              </a:ext>
            </a:extLst>
          </p:cNvPr>
          <p:cNvSpPr txBox="1"/>
          <p:nvPr/>
        </p:nvSpPr>
        <p:spPr>
          <a:xfrm>
            <a:off x="4271645" y="2775051"/>
            <a:ext cx="1345408" cy="307777"/>
          </a:xfrm>
          <a:prstGeom prst="rect">
            <a:avLst/>
          </a:prstGeom>
          <a:noFill/>
        </p:spPr>
        <p:txBody>
          <a:bodyPr wrap="square" rtlCol="0" anchor="t" anchorCtr="0">
            <a:spAutoFit/>
          </a:bodyPr>
          <a:lstStyle/>
          <a:p>
            <a:pPr algn="ctr"/>
            <a:r>
              <a:rPr lang="en-US" sz="1400" b="1" dirty="0">
                <a:solidFill>
                  <a:schemeClr val="bg1"/>
                </a:solidFill>
                <a:latin typeface="+mj-lt"/>
                <a:ea typeface="League Spartan" charset="0"/>
                <a:cs typeface="Poppins" pitchFamily="2" charset="77"/>
              </a:rPr>
              <a:t>Autoprotectores</a:t>
            </a:r>
          </a:p>
        </p:txBody>
      </p:sp>
      <p:sp>
        <p:nvSpPr>
          <p:cNvPr id="46" name="TextBox 24">
            <a:extLst>
              <a:ext uri="{FF2B5EF4-FFF2-40B4-BE49-F238E27FC236}">
                <a16:creationId xmlns:a16="http://schemas.microsoft.com/office/drawing/2014/main" xmlns="" id="{589AC5FC-BC5B-8842-AE71-3C944D2250A7}"/>
              </a:ext>
            </a:extLst>
          </p:cNvPr>
          <p:cNvSpPr txBox="1"/>
          <p:nvPr/>
        </p:nvSpPr>
        <p:spPr>
          <a:xfrm>
            <a:off x="5847511" y="5031148"/>
            <a:ext cx="1305177" cy="369332"/>
          </a:xfrm>
          <a:prstGeom prst="rect">
            <a:avLst/>
          </a:prstGeom>
          <a:noFill/>
        </p:spPr>
        <p:txBody>
          <a:bodyPr wrap="square" rtlCol="0" anchor="t" anchorCtr="0">
            <a:spAutoFit/>
          </a:bodyPr>
          <a:lstStyle/>
          <a:p>
            <a:pPr algn="ctr"/>
            <a:r>
              <a:rPr lang="en-US" b="1" dirty="0">
                <a:solidFill>
                  <a:schemeClr val="bg1"/>
                </a:solidFill>
                <a:latin typeface="+mj-lt"/>
                <a:ea typeface="League Spartan" charset="0"/>
                <a:cs typeface="Poppins" pitchFamily="2" charset="77"/>
              </a:rPr>
              <a:t>Optimistas</a:t>
            </a:r>
          </a:p>
        </p:txBody>
      </p:sp>
      <p:sp>
        <p:nvSpPr>
          <p:cNvPr id="57" name="TextBox 27">
            <a:extLst>
              <a:ext uri="{FF2B5EF4-FFF2-40B4-BE49-F238E27FC236}">
                <a16:creationId xmlns:a16="http://schemas.microsoft.com/office/drawing/2014/main" xmlns="" id="{7F71345A-8C57-EB4A-84DC-0C50607F9EBC}"/>
              </a:ext>
            </a:extLst>
          </p:cNvPr>
          <p:cNvSpPr txBox="1"/>
          <p:nvPr/>
        </p:nvSpPr>
        <p:spPr>
          <a:xfrm>
            <a:off x="6286499" y="2871807"/>
            <a:ext cx="779413" cy="523220"/>
          </a:xfrm>
          <a:prstGeom prst="rect">
            <a:avLst/>
          </a:prstGeom>
          <a:noFill/>
        </p:spPr>
        <p:txBody>
          <a:bodyPr wrap="square" rtlCol="0" anchor="t" anchorCtr="0">
            <a:spAutoFit/>
          </a:bodyPr>
          <a:lstStyle/>
          <a:p>
            <a:pPr algn="ctr"/>
            <a:r>
              <a:rPr lang="en-US" sz="1400" b="1" dirty="0">
                <a:solidFill>
                  <a:schemeClr val="bg1"/>
                </a:solidFill>
                <a:latin typeface="+mj-lt"/>
                <a:ea typeface="League Spartan" charset="0"/>
                <a:cs typeface="Poppins" pitchFamily="2" charset="77"/>
              </a:rPr>
              <a:t>En</a:t>
            </a:r>
            <a:br>
              <a:rPr lang="en-US" sz="1400" b="1" dirty="0">
                <a:solidFill>
                  <a:schemeClr val="bg1"/>
                </a:solidFill>
                <a:latin typeface="+mj-lt"/>
                <a:ea typeface="League Spartan" charset="0"/>
                <a:cs typeface="Poppins" pitchFamily="2" charset="77"/>
              </a:rPr>
            </a:br>
            <a:r>
              <a:rPr lang="en-US" sz="1400" b="1" dirty="0">
                <a:solidFill>
                  <a:schemeClr val="bg1"/>
                </a:solidFill>
                <a:latin typeface="+mj-lt"/>
                <a:ea typeface="League Spartan" charset="0"/>
                <a:cs typeface="Poppins" pitchFamily="2" charset="77"/>
              </a:rPr>
              <a:t>Esforzadores</a:t>
            </a:r>
          </a:p>
        </p:txBody>
      </p:sp>
      <p:sp>
        <p:nvSpPr>
          <p:cNvPr id="58" name="TextBox 30">
            <a:extLst>
              <a:ext uri="{FF2B5EF4-FFF2-40B4-BE49-F238E27FC236}">
                <a16:creationId xmlns:a16="http://schemas.microsoft.com/office/drawing/2014/main" xmlns="" id="{702DD42E-7EF3-1E46-8EA3-0A9B5C830F64}"/>
              </a:ext>
            </a:extLst>
          </p:cNvPr>
          <p:cNvSpPr txBox="1"/>
          <p:nvPr/>
        </p:nvSpPr>
        <p:spPr>
          <a:xfrm>
            <a:off x="4570669" y="5198449"/>
            <a:ext cx="1114919" cy="646331"/>
          </a:xfrm>
          <a:prstGeom prst="rect">
            <a:avLst/>
          </a:prstGeom>
          <a:noFill/>
        </p:spPr>
        <p:txBody>
          <a:bodyPr wrap="square" rtlCol="0" anchor="t" anchorCtr="0">
            <a:spAutoFit/>
          </a:bodyPr>
          <a:lstStyle/>
          <a:p>
            <a:pPr algn="ctr"/>
            <a:r>
              <a:rPr lang="en-US" b="1" dirty="0">
                <a:solidFill>
                  <a:schemeClr val="bg1"/>
                </a:solidFill>
                <a:latin typeface="+mj-lt"/>
                <a:ea typeface="League Spartan" charset="0"/>
                <a:cs typeface="Poppins" pitchFamily="2" charset="77"/>
              </a:rPr>
              <a:t>Falla</a:t>
            </a:r>
            <a:br>
              <a:rPr lang="en-US" b="1" dirty="0">
                <a:solidFill>
                  <a:schemeClr val="bg1"/>
                </a:solidFill>
                <a:latin typeface="+mj-lt"/>
                <a:ea typeface="League Spartan" charset="0"/>
                <a:cs typeface="Poppins" pitchFamily="2" charset="77"/>
              </a:rPr>
            </a:br>
            <a:r>
              <a:rPr lang="en-US" b="1" dirty="0">
                <a:solidFill>
                  <a:schemeClr val="bg1"/>
                </a:solidFill>
                <a:latin typeface="+mj-lt"/>
                <a:ea typeface="League Spartan" charset="0"/>
                <a:cs typeface="Poppins" pitchFamily="2" charset="77"/>
              </a:rPr>
              <a:t>Aceptadores</a:t>
            </a:r>
          </a:p>
        </p:txBody>
      </p:sp>
      <p:sp>
        <p:nvSpPr>
          <p:cNvPr id="59" name="Subtitle 2">
            <a:extLst>
              <a:ext uri="{FF2B5EF4-FFF2-40B4-BE49-F238E27FC236}">
                <a16:creationId xmlns:a16="http://schemas.microsoft.com/office/drawing/2014/main" xmlns="" id="{7F440F4B-F893-754A-AB86-EEAB9DF473BA}"/>
              </a:ext>
            </a:extLst>
          </p:cNvPr>
          <p:cNvSpPr txBox="1">
            <a:spLocks/>
          </p:cNvSpPr>
          <p:nvPr/>
        </p:nvSpPr>
        <p:spPr>
          <a:xfrm>
            <a:off x="710442" y="2324438"/>
            <a:ext cx="3398595" cy="1650460"/>
          </a:xfrm>
          <a:prstGeom prst="rect">
            <a:avLst/>
          </a:prstGeom>
        </p:spPr>
        <p:txBody>
          <a:bodyPr vert="horz" wrap="square" lIns="34299" tIns="17149" rIns="34299" bIns="17149"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500" dirty="0">
                <a:solidFill>
                  <a:schemeClr val="bg1"/>
                </a:solidFill>
                <a:latin typeface="+mj-lt"/>
                <a:ea typeface="Lato Light" panose="020F0502020204030203" pitchFamily="34" charset="0"/>
                <a:cs typeface="Mukta ExtraLight" panose="020B0000000000000000" pitchFamily="34" charset="77"/>
              </a:rPr>
              <a:t>Los autoprotectores tienen un elevado miedo al fracaso y una baja orientación al éxito. En lugar de intentar evitar el fracaso, encuentran razones externas para justificar la falta de rendimiento. Por ejemplo, que otras personas no hayan hecho algo, que el tiempo sea insuficiente o que un sistema que necesitan no esté disponible</a:t>
            </a:r>
            <a:r>
              <a:rPr lang="en-US" sz="14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a:t>
            </a:r>
          </a:p>
        </p:txBody>
      </p:sp>
      <p:sp>
        <p:nvSpPr>
          <p:cNvPr id="60" name="Subtitle 2">
            <a:extLst>
              <a:ext uri="{FF2B5EF4-FFF2-40B4-BE49-F238E27FC236}">
                <a16:creationId xmlns:a16="http://schemas.microsoft.com/office/drawing/2014/main" xmlns="" id="{0C526B4B-F44C-1C41-9A02-3FE97F65D5BC}"/>
              </a:ext>
            </a:extLst>
          </p:cNvPr>
          <p:cNvSpPr txBox="1">
            <a:spLocks/>
          </p:cNvSpPr>
          <p:nvPr/>
        </p:nvSpPr>
        <p:spPr>
          <a:xfrm>
            <a:off x="7375907" y="2575795"/>
            <a:ext cx="3977893" cy="111185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4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Un </a:t>
            </a:r>
            <a:r>
              <a:rPr lang="en-US" sz="1400" dirty="0" err="1">
                <a:solidFill>
                  <a:schemeClr val="bg1"/>
                </a:solidFill>
                <a:latin typeface="Lato Light" panose="020F0502020204030203" pitchFamily="34" charset="0"/>
                <a:ea typeface="Lato Light" panose="020F0502020204030203" pitchFamily="34" charset="0"/>
                <a:cs typeface="Mukta ExtraLight" panose="020B0000000000000000" pitchFamily="34" charset="77"/>
              </a:rPr>
              <a:t>Overstriver está </a:t>
            </a:r>
            <a:r>
              <a:rPr lang="en-US" sz="14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muy orientado al éxito y tiene mucho miedo al fracaso. Carecen de confianza, por lo que siguen trabajando mucho después de haber alcanzado el valor. Como resultado, es probable que se agoten y carezcan de resiliencia cuando tengan problemas.</a:t>
            </a:r>
          </a:p>
        </p:txBody>
      </p:sp>
      <p:sp>
        <p:nvSpPr>
          <p:cNvPr id="61" name="Subtitle 2">
            <a:extLst>
              <a:ext uri="{FF2B5EF4-FFF2-40B4-BE49-F238E27FC236}">
                <a16:creationId xmlns:a16="http://schemas.microsoft.com/office/drawing/2014/main" xmlns="" id="{C2B2FDF3-7D58-8742-A1B7-35A216068BFE}"/>
              </a:ext>
            </a:extLst>
          </p:cNvPr>
          <p:cNvSpPr txBox="1">
            <a:spLocks/>
          </p:cNvSpPr>
          <p:nvPr/>
        </p:nvSpPr>
        <p:spPr>
          <a:xfrm>
            <a:off x="872365" y="4267127"/>
            <a:ext cx="3048201" cy="1511960"/>
          </a:xfrm>
          <a:prstGeom prst="rect">
            <a:avLst/>
          </a:prstGeom>
          <a:solidFill>
            <a:schemeClr val="accent4"/>
          </a:solid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600" dirty="0">
                <a:solidFill>
                  <a:schemeClr val="bg1"/>
                </a:solidFill>
                <a:latin typeface="+mj-lt"/>
                <a:ea typeface="Lato Light" panose="020F0502020204030203" pitchFamily="34" charset="0"/>
                <a:cs typeface="Mukta ExtraLight" panose="020B0000000000000000" pitchFamily="34" charset="77"/>
              </a:rPr>
              <a:t>Los que tienen poco miedo al fracaso y poca orientación al éxito son aceptadores del fracaso. Esperan muy poco de sí mismos y son aparentemente indiferentes tanto a sus éxitos como a sus fracasos</a:t>
            </a:r>
            <a:r>
              <a:rPr lang="en-US" sz="1200" dirty="0">
                <a:solidFill>
                  <a:schemeClr val="bg1"/>
                </a:solidFill>
                <a:latin typeface="+mj-lt"/>
                <a:ea typeface="Lato Light" panose="020F0502020204030203" pitchFamily="34" charset="0"/>
                <a:cs typeface="Mukta ExtraLight" panose="020B0000000000000000" pitchFamily="34" charset="77"/>
              </a:rPr>
              <a:t>.</a:t>
            </a:r>
          </a:p>
        </p:txBody>
      </p:sp>
      <p:sp>
        <p:nvSpPr>
          <p:cNvPr id="62" name="Subtitle 2">
            <a:extLst>
              <a:ext uri="{FF2B5EF4-FFF2-40B4-BE49-F238E27FC236}">
                <a16:creationId xmlns:a16="http://schemas.microsoft.com/office/drawing/2014/main" xmlns="" id="{6817CB34-7DCD-5C49-95C1-A54564E808D4}"/>
              </a:ext>
            </a:extLst>
          </p:cNvPr>
          <p:cNvSpPr txBox="1">
            <a:spLocks/>
          </p:cNvSpPr>
          <p:nvPr/>
        </p:nvSpPr>
        <p:spPr>
          <a:xfrm>
            <a:off x="7218607" y="4224456"/>
            <a:ext cx="4212747" cy="1814094"/>
          </a:xfrm>
          <a:prstGeom prst="rect">
            <a:avLst/>
          </a:prstGeom>
          <a:solidFill>
            <a:schemeClr val="bg1">
              <a:lumMod val="65000"/>
            </a:schemeClr>
          </a:solid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700" dirty="0">
                <a:solidFill>
                  <a:schemeClr val="bg1"/>
                </a:solidFill>
                <a:latin typeface="+mj-lt"/>
                <a:ea typeface="Lato Light" panose="020F0502020204030203" pitchFamily="34" charset="0"/>
                <a:cs typeface="Mukta ExtraLight" panose="020B0000000000000000" pitchFamily="34" charset="77"/>
              </a:rPr>
              <a:t>Alguien con una alta orientación al éxito y un bajo miedo al fracaso es un Optimista. Se encuentran en el lugar ideal de este modelo, ya que confían en que su esfuerzo producirá el resultado que desean. Muestran resiliencia y es poco probable que muestren </a:t>
            </a:r>
            <a:r>
              <a:rPr lang="en-US" sz="1700" dirty="0" err="1">
                <a:solidFill>
                  <a:schemeClr val="bg1"/>
                </a:solidFill>
                <a:latin typeface="+mj-lt"/>
                <a:ea typeface="Lato Light" panose="020F0502020204030203" pitchFamily="34" charset="0"/>
                <a:cs typeface="Mukta ExtraLight" panose="020B0000000000000000" pitchFamily="34" charset="77"/>
              </a:rPr>
              <a:t>comportamientos </a:t>
            </a:r>
            <a:r>
              <a:rPr lang="en-US" sz="1700" dirty="0">
                <a:solidFill>
                  <a:schemeClr val="bg1"/>
                </a:solidFill>
                <a:latin typeface="+mj-lt"/>
                <a:ea typeface="Lato Light" panose="020F0502020204030203" pitchFamily="34" charset="0"/>
                <a:cs typeface="Mukta ExtraLight" panose="020B0000000000000000" pitchFamily="34" charset="77"/>
              </a:rPr>
              <a:t>defensivos.</a:t>
            </a:r>
          </a:p>
          <a:p>
            <a:pPr algn="l">
              <a:lnSpc>
                <a:spcPts val="1313"/>
              </a:lnSpc>
            </a:pPr>
            <a:endParaRPr lang="en-US" sz="14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endParaRPr>
          </a:p>
        </p:txBody>
      </p:sp>
      <p:cxnSp>
        <p:nvCxnSpPr>
          <p:cNvPr id="63" name="Gerade Verbindung mit Pfeil 7">
            <a:extLst>
              <a:ext uri="{FF2B5EF4-FFF2-40B4-BE49-F238E27FC236}">
                <a16:creationId xmlns:a16="http://schemas.microsoft.com/office/drawing/2014/main" xmlns="" id="{30372649-0A35-2F40-9527-7A7066A08C76}"/>
              </a:ext>
            </a:extLst>
          </p:cNvPr>
          <p:cNvCxnSpPr>
            <a:cxnSpLocks/>
          </p:cNvCxnSpPr>
          <p:nvPr/>
        </p:nvCxnSpPr>
        <p:spPr>
          <a:xfrm>
            <a:off x="5663822" y="1921547"/>
            <a:ext cx="0" cy="446612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51">
            <a:extLst>
              <a:ext uri="{FF2B5EF4-FFF2-40B4-BE49-F238E27FC236}">
                <a16:creationId xmlns:a16="http://schemas.microsoft.com/office/drawing/2014/main" xmlns="" id="{55672140-A655-DE48-A9D6-C4C848FA6242}"/>
              </a:ext>
            </a:extLst>
          </p:cNvPr>
          <p:cNvCxnSpPr>
            <a:cxnSpLocks/>
          </p:cNvCxnSpPr>
          <p:nvPr/>
        </p:nvCxnSpPr>
        <p:spPr>
          <a:xfrm flipH="1">
            <a:off x="3625707" y="4154609"/>
            <a:ext cx="8328868"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TextBox 21">
            <a:extLst>
              <a:ext uri="{FF2B5EF4-FFF2-40B4-BE49-F238E27FC236}">
                <a16:creationId xmlns:a16="http://schemas.microsoft.com/office/drawing/2014/main" xmlns="" id="{549FF067-0706-3C4A-901E-D4EB4B5248C7}"/>
              </a:ext>
            </a:extLst>
          </p:cNvPr>
          <p:cNvSpPr txBox="1"/>
          <p:nvPr/>
        </p:nvSpPr>
        <p:spPr>
          <a:xfrm>
            <a:off x="4949297" y="1712317"/>
            <a:ext cx="1554785" cy="523220"/>
          </a:xfrm>
          <a:prstGeom prst="rect">
            <a:avLst/>
          </a:prstGeom>
          <a:noFill/>
        </p:spPr>
        <p:txBody>
          <a:bodyPr wrap="square" rtlCol="0" anchor="t" anchorCtr="0">
            <a:spAutoFit/>
          </a:bodyPr>
          <a:lstStyle/>
          <a:p>
            <a:r>
              <a:rPr lang="en-US" sz="1400" b="1" dirty="0">
                <a:solidFill>
                  <a:schemeClr val="tx2"/>
                </a:solidFill>
                <a:latin typeface="+mj-lt"/>
                <a:ea typeface="League Spartan" charset="0"/>
                <a:cs typeface="Poppins" pitchFamily="2" charset="77"/>
              </a:rPr>
              <a:t>Elevado miedo al fracaso</a:t>
            </a:r>
          </a:p>
        </p:txBody>
      </p:sp>
      <p:sp>
        <p:nvSpPr>
          <p:cNvPr id="66" name="TextBox 21">
            <a:extLst>
              <a:ext uri="{FF2B5EF4-FFF2-40B4-BE49-F238E27FC236}">
                <a16:creationId xmlns:a16="http://schemas.microsoft.com/office/drawing/2014/main" xmlns="" id="{815AE77E-CC47-D64A-8FDB-15F8E0DA1804}"/>
              </a:ext>
            </a:extLst>
          </p:cNvPr>
          <p:cNvSpPr txBox="1"/>
          <p:nvPr/>
        </p:nvSpPr>
        <p:spPr>
          <a:xfrm>
            <a:off x="5105635" y="6384294"/>
            <a:ext cx="1520224" cy="523220"/>
          </a:xfrm>
          <a:prstGeom prst="rect">
            <a:avLst/>
          </a:prstGeom>
          <a:noFill/>
        </p:spPr>
        <p:txBody>
          <a:bodyPr wrap="square" rtlCol="0" anchor="t" anchorCtr="0">
            <a:spAutoFit/>
          </a:bodyPr>
          <a:lstStyle/>
          <a:p>
            <a:r>
              <a:rPr lang="en-US" sz="1400" b="1" dirty="0">
                <a:solidFill>
                  <a:schemeClr val="tx2"/>
                </a:solidFill>
                <a:latin typeface="+mj-lt"/>
                <a:ea typeface="League Spartan" charset="0"/>
                <a:cs typeface="Poppins" pitchFamily="2" charset="77"/>
              </a:rPr>
              <a:t>Poco miedo al fracaso</a:t>
            </a:r>
          </a:p>
        </p:txBody>
      </p:sp>
      <p:sp>
        <p:nvSpPr>
          <p:cNvPr id="67" name="TextBox 21">
            <a:extLst>
              <a:ext uri="{FF2B5EF4-FFF2-40B4-BE49-F238E27FC236}">
                <a16:creationId xmlns:a16="http://schemas.microsoft.com/office/drawing/2014/main" xmlns="" id="{1A516AC2-F010-2F4C-98D3-7BF9CA4AF734}"/>
              </a:ext>
            </a:extLst>
          </p:cNvPr>
          <p:cNvSpPr txBox="1"/>
          <p:nvPr/>
        </p:nvSpPr>
        <p:spPr>
          <a:xfrm rot="5400000">
            <a:off x="10991721" y="3899466"/>
            <a:ext cx="1940276" cy="523220"/>
          </a:xfrm>
          <a:prstGeom prst="rect">
            <a:avLst/>
          </a:prstGeom>
          <a:noFill/>
        </p:spPr>
        <p:txBody>
          <a:bodyPr wrap="square" rtlCol="0" anchor="t" anchorCtr="0">
            <a:spAutoFit/>
          </a:bodyPr>
          <a:lstStyle/>
          <a:p>
            <a:pPr algn="ctr"/>
            <a:r>
              <a:rPr lang="en-US" sz="1400" b="1" dirty="0">
                <a:solidFill>
                  <a:schemeClr val="tx2"/>
                </a:solidFill>
                <a:latin typeface="+mj-lt"/>
                <a:ea typeface="League Spartan" charset="0"/>
                <a:cs typeface="Poppins" pitchFamily="2" charset="77"/>
              </a:rPr>
              <a:t>Orientación al éxito</a:t>
            </a:r>
          </a:p>
        </p:txBody>
      </p:sp>
      <p:sp>
        <p:nvSpPr>
          <p:cNvPr id="68" name="TextBox 21">
            <a:extLst>
              <a:ext uri="{FF2B5EF4-FFF2-40B4-BE49-F238E27FC236}">
                <a16:creationId xmlns:a16="http://schemas.microsoft.com/office/drawing/2014/main" xmlns="" id="{2D50FEFC-0E0F-0E42-8B5B-6212BCFE71A1}"/>
              </a:ext>
            </a:extLst>
          </p:cNvPr>
          <p:cNvSpPr txBox="1"/>
          <p:nvPr/>
        </p:nvSpPr>
        <p:spPr>
          <a:xfrm rot="16200000">
            <a:off x="-504026" y="3946530"/>
            <a:ext cx="1905715" cy="523220"/>
          </a:xfrm>
          <a:prstGeom prst="rect">
            <a:avLst/>
          </a:prstGeom>
          <a:noFill/>
        </p:spPr>
        <p:txBody>
          <a:bodyPr wrap="square" rtlCol="0" anchor="t" anchorCtr="0">
            <a:spAutoFit/>
          </a:bodyPr>
          <a:lstStyle/>
          <a:p>
            <a:pPr algn="ctr"/>
            <a:r>
              <a:rPr lang="en-US" sz="1400" b="1" dirty="0">
                <a:solidFill>
                  <a:schemeClr val="tx2"/>
                </a:solidFill>
                <a:latin typeface="+mj-lt"/>
                <a:ea typeface="League Spartan" charset="0"/>
                <a:cs typeface="Poppins" pitchFamily="2" charset="77"/>
              </a:rPr>
              <a:t>Baja orientación al éxito</a:t>
            </a:r>
          </a:p>
        </p:txBody>
      </p:sp>
    </p:spTree>
    <p:extLst>
      <p:ext uri="{BB962C8B-B14F-4D97-AF65-F5344CB8AC3E}">
        <p14:creationId xmlns:p14="http://schemas.microsoft.com/office/powerpoint/2010/main" val="42227095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95317" y="494478"/>
            <a:ext cx="8852375" cy="697353"/>
          </a:xfrm>
        </p:spPr>
        <p:txBody>
          <a:bodyPr>
            <a:normAutofit fontScale="92500"/>
          </a:bodyPr>
          <a:lstStyle/>
          <a:p>
            <a:r>
              <a:rPr lang="en-GB" dirty="0"/>
              <a:t>Lo primero: revisar cómo se ha gestionado la crisis </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01759" y="1930289"/>
            <a:ext cx="3675376" cy="492985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Una afirmación clave de la teoría del aprendizaje organizativo es que el aprendizaje organizativo es más que la suma del aprendizaje individual dentro de las organizaciones, y que requiere la extracción de lecciones y la difusión de conocimientos para arraigar en toda la organización.</a:t>
            </a:r>
            <a:endParaRPr lang="en-US" sz="20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sym typeface="Wingdings" panose="05000000000000000000" pitchFamily="2" charset="2"/>
              </a:rPr>
              <a:t>El proceso de aprendizaje organizativo comienza con una revisión</a:t>
            </a:r>
            <a:endParaRPr lang="en-GB" sz="20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sym typeface="Wingdings" panose="05000000000000000000" pitchFamily="2" charset="2"/>
              </a:rPr>
              <a:t>Contéstese a sí mismo las siguientes preguntas</a:t>
            </a:r>
            <a:endParaRPr lang="en-GB" sz="20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sym typeface="Wingdings" panose="05000000000000000000" pitchFamily="2" charset="2"/>
              </a:rPr>
              <a:t>Ser honesto y abierto desde el principio</a:t>
            </a:r>
            <a:endParaRPr lang="en-GB" sz="2000" dirty="0">
              <a:solidFill>
                <a:srgbClr val="245473"/>
              </a:solidFill>
              <a:latin typeface="+mj-lt"/>
            </a:endParaRPr>
          </a:p>
        </p:txBody>
      </p:sp>
      <p:sp>
        <p:nvSpPr>
          <p:cNvPr id="39" name="Subtitle 2">
            <a:extLst>
              <a:ext uri="{FF2B5EF4-FFF2-40B4-BE49-F238E27FC236}">
                <a16:creationId xmlns:a16="http://schemas.microsoft.com/office/drawing/2014/main" xmlns="" id="{287F9887-A65E-48BD-ADD4-5093959DEDBA}"/>
              </a:ext>
            </a:extLst>
          </p:cNvPr>
          <p:cNvSpPr txBox="1">
            <a:spLocks/>
          </p:cNvSpPr>
          <p:nvPr/>
        </p:nvSpPr>
        <p:spPr>
          <a:xfrm>
            <a:off x="6685286" y="1863887"/>
            <a:ext cx="4634543" cy="34241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latin typeface="+mj-lt"/>
                <a:ea typeface="Lato Light" panose="020F0502020204030203" pitchFamily="34" charset="0"/>
                <a:cs typeface="Mukta ExtraLight" panose="020B0000000000000000" pitchFamily="34" charset="77"/>
              </a:rPr>
              <a:t>Hágase las siguientes preguntas:</a:t>
            </a:r>
          </a:p>
        </p:txBody>
      </p:sp>
      <p:grpSp>
        <p:nvGrpSpPr>
          <p:cNvPr id="23" name="Group 138">
            <a:extLst>
              <a:ext uri="{FF2B5EF4-FFF2-40B4-BE49-F238E27FC236}">
                <a16:creationId xmlns:a16="http://schemas.microsoft.com/office/drawing/2014/main" xmlns="" id="{AF70D6A9-47DB-4AD9-A036-D544833CD79E}"/>
              </a:ext>
            </a:extLst>
          </p:cNvPr>
          <p:cNvGrpSpPr/>
          <p:nvPr/>
        </p:nvGrpSpPr>
        <p:grpSpPr>
          <a:xfrm>
            <a:off x="4142367" y="2614506"/>
            <a:ext cx="2164398" cy="3370191"/>
            <a:chOff x="8704441" y="2571694"/>
            <a:chExt cx="7028256" cy="10385705"/>
          </a:xfrm>
        </p:grpSpPr>
        <p:sp>
          <p:nvSpPr>
            <p:cNvPr id="24" name="Shape 34173">
              <a:extLst>
                <a:ext uri="{FF2B5EF4-FFF2-40B4-BE49-F238E27FC236}">
                  <a16:creationId xmlns:a16="http://schemas.microsoft.com/office/drawing/2014/main" xmlns="" id="{1EB70763-DE3F-46A2-9450-F0F21F249C8B}"/>
                </a:ext>
              </a:extLst>
            </p:cNvPr>
            <p:cNvSpPr/>
            <p:nvPr/>
          </p:nvSpPr>
          <p:spPr>
            <a:xfrm>
              <a:off x="8704441" y="4977041"/>
              <a:ext cx="795138" cy="696056"/>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5" name="Shape 34174">
              <a:extLst>
                <a:ext uri="{FF2B5EF4-FFF2-40B4-BE49-F238E27FC236}">
                  <a16:creationId xmlns:a16="http://schemas.microsoft.com/office/drawing/2014/main" xmlns="" id="{D43AE1C4-18B5-42FA-BB8D-12D4A9FA078B}"/>
                </a:ext>
              </a:extLst>
            </p:cNvPr>
            <p:cNvSpPr/>
            <p:nvPr/>
          </p:nvSpPr>
          <p:spPr>
            <a:xfrm>
              <a:off x="13207711" y="5129396"/>
              <a:ext cx="316260" cy="632520"/>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6" name="Shape 34175">
              <a:extLst>
                <a:ext uri="{FF2B5EF4-FFF2-40B4-BE49-F238E27FC236}">
                  <a16:creationId xmlns:a16="http://schemas.microsoft.com/office/drawing/2014/main" xmlns="" id="{C82E9DCD-C0A8-4316-9CAE-A96D7E37A480}"/>
                </a:ext>
              </a:extLst>
            </p:cNvPr>
            <p:cNvSpPr/>
            <p:nvPr/>
          </p:nvSpPr>
          <p:spPr>
            <a:xfrm>
              <a:off x="13346915" y="6245061"/>
              <a:ext cx="528722" cy="46619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7" name="Shape 34176">
              <a:extLst>
                <a:ext uri="{FF2B5EF4-FFF2-40B4-BE49-F238E27FC236}">
                  <a16:creationId xmlns:a16="http://schemas.microsoft.com/office/drawing/2014/main" xmlns="" id="{A2F9C0D4-6685-40C7-8FA6-5EACDD177576}"/>
                </a:ext>
              </a:extLst>
            </p:cNvPr>
            <p:cNvSpPr/>
            <p:nvPr/>
          </p:nvSpPr>
          <p:spPr>
            <a:xfrm>
              <a:off x="10903238" y="7779831"/>
              <a:ext cx="984814" cy="88519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8" name="Shape 34177">
              <a:extLst>
                <a:ext uri="{FF2B5EF4-FFF2-40B4-BE49-F238E27FC236}">
                  <a16:creationId xmlns:a16="http://schemas.microsoft.com/office/drawing/2014/main" xmlns="" id="{8F34022E-106D-4E3C-83CD-27F7EB06BABF}"/>
                </a:ext>
              </a:extLst>
            </p:cNvPr>
            <p:cNvSpPr/>
            <p:nvPr/>
          </p:nvSpPr>
          <p:spPr>
            <a:xfrm>
              <a:off x="11708307" y="11472461"/>
              <a:ext cx="584792" cy="503796"/>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9" name="Shape 34178">
              <a:extLst>
                <a:ext uri="{FF2B5EF4-FFF2-40B4-BE49-F238E27FC236}">
                  <a16:creationId xmlns:a16="http://schemas.microsoft.com/office/drawing/2014/main" xmlns="" id="{2871BCDB-8A07-49C3-A3EE-6FDD37C33EB7}"/>
                </a:ext>
              </a:extLst>
            </p:cNvPr>
            <p:cNvSpPr/>
            <p:nvPr/>
          </p:nvSpPr>
          <p:spPr>
            <a:xfrm>
              <a:off x="14474664" y="3452446"/>
              <a:ext cx="701272" cy="992744"/>
            </a:xfrm>
            <a:custGeom>
              <a:avLst/>
              <a:gdLst/>
              <a:ahLst/>
              <a:cxnLst>
                <a:cxn ang="0">
                  <a:pos x="wd2" y="hd2"/>
                </a:cxn>
                <a:cxn ang="5400000">
                  <a:pos x="wd2" y="hd2"/>
                </a:cxn>
                <a:cxn ang="10800000">
                  <a:pos x="wd2" y="hd2"/>
                </a:cxn>
                <a:cxn ang="16200000">
                  <a:pos x="wd2" y="hd2"/>
                </a:cxn>
              </a:cxnLst>
              <a:rect l="0" t="0" r="r" b="b"/>
              <a:pathLst>
                <a:path w="21183" h="21600" extrusionOk="0">
                  <a:moveTo>
                    <a:pt x="6837" y="0"/>
                  </a:moveTo>
                  <a:lnTo>
                    <a:pt x="6304" y="11896"/>
                  </a:lnTo>
                  <a:lnTo>
                    <a:pt x="10115" y="11984"/>
                  </a:lnTo>
                  <a:lnTo>
                    <a:pt x="10387" y="5819"/>
                  </a:lnTo>
                  <a:cubicBezTo>
                    <a:pt x="10807" y="5990"/>
                    <a:pt x="11286" y="6091"/>
                    <a:pt x="11799" y="6080"/>
                  </a:cubicBezTo>
                  <a:cubicBezTo>
                    <a:pt x="12816" y="6059"/>
                    <a:pt x="13721" y="5638"/>
                    <a:pt x="14293" y="5029"/>
                  </a:cubicBezTo>
                  <a:cubicBezTo>
                    <a:pt x="14344" y="4975"/>
                    <a:pt x="14392" y="4920"/>
                    <a:pt x="14437" y="4864"/>
                  </a:cubicBezTo>
                  <a:cubicBezTo>
                    <a:pt x="15870" y="5413"/>
                    <a:pt x="17048" y="6141"/>
                    <a:pt x="17879" y="7040"/>
                  </a:cubicBezTo>
                  <a:cubicBezTo>
                    <a:pt x="19250" y="8523"/>
                    <a:pt x="19623" y="10355"/>
                    <a:pt x="18956" y="12341"/>
                  </a:cubicBezTo>
                  <a:cubicBezTo>
                    <a:pt x="17917" y="15436"/>
                    <a:pt x="14349" y="17736"/>
                    <a:pt x="10109" y="18168"/>
                  </a:cubicBezTo>
                  <a:lnTo>
                    <a:pt x="10109" y="16337"/>
                  </a:lnTo>
                  <a:lnTo>
                    <a:pt x="12811" y="16337"/>
                  </a:lnTo>
                  <a:lnTo>
                    <a:pt x="12811" y="15424"/>
                  </a:lnTo>
                  <a:lnTo>
                    <a:pt x="2958" y="15424"/>
                  </a:lnTo>
                  <a:lnTo>
                    <a:pt x="2958" y="16337"/>
                  </a:lnTo>
                  <a:lnTo>
                    <a:pt x="5665" y="16337"/>
                  </a:lnTo>
                  <a:lnTo>
                    <a:pt x="5665" y="19312"/>
                  </a:lnTo>
                  <a:lnTo>
                    <a:pt x="0" y="19312"/>
                  </a:lnTo>
                  <a:lnTo>
                    <a:pt x="0" y="21600"/>
                  </a:lnTo>
                  <a:lnTo>
                    <a:pt x="15769" y="21600"/>
                  </a:lnTo>
                  <a:lnTo>
                    <a:pt x="15769" y="19312"/>
                  </a:lnTo>
                  <a:lnTo>
                    <a:pt x="11820" y="19312"/>
                  </a:lnTo>
                  <a:cubicBezTo>
                    <a:pt x="16159" y="18468"/>
                    <a:pt x="19703" y="15947"/>
                    <a:pt x="20805" y="12664"/>
                  </a:cubicBezTo>
                  <a:cubicBezTo>
                    <a:pt x="21600" y="10296"/>
                    <a:pt x="21135" y="8089"/>
                    <a:pt x="19462" y="6280"/>
                  </a:cubicBezTo>
                  <a:cubicBezTo>
                    <a:pt x="18352" y="5079"/>
                    <a:pt x="16769" y="4131"/>
                    <a:pt x="14820" y="3462"/>
                  </a:cubicBezTo>
                  <a:cubicBezTo>
                    <a:pt x="14558" y="2431"/>
                    <a:pt x="13305" y="1647"/>
                    <a:pt x="11799" y="1647"/>
                  </a:cubicBezTo>
                  <a:cubicBezTo>
                    <a:pt x="11359" y="1647"/>
                    <a:pt x="10947" y="1715"/>
                    <a:pt x="10568" y="1835"/>
                  </a:cubicBezTo>
                  <a:lnTo>
                    <a:pt x="10642" y="88"/>
                  </a:lnTo>
                  <a:lnTo>
                    <a:pt x="6837" y="0"/>
                  </a:lnTo>
                  <a:close/>
                  <a:moveTo>
                    <a:pt x="11799" y="3017"/>
                  </a:moveTo>
                  <a:cubicBezTo>
                    <a:pt x="12376" y="3012"/>
                    <a:pt x="12879" y="3300"/>
                    <a:pt x="12982" y="3708"/>
                  </a:cubicBezTo>
                  <a:cubicBezTo>
                    <a:pt x="13088" y="4130"/>
                    <a:pt x="12736" y="4539"/>
                    <a:pt x="12167" y="4660"/>
                  </a:cubicBezTo>
                  <a:cubicBezTo>
                    <a:pt x="12051" y="4688"/>
                    <a:pt x="11928" y="4706"/>
                    <a:pt x="11799" y="4706"/>
                  </a:cubicBezTo>
                  <a:cubicBezTo>
                    <a:pt x="11152" y="4706"/>
                    <a:pt x="10625" y="4326"/>
                    <a:pt x="10626" y="3862"/>
                  </a:cubicBezTo>
                  <a:cubicBezTo>
                    <a:pt x="10628" y="3397"/>
                    <a:pt x="11153" y="3023"/>
                    <a:pt x="11799" y="3017"/>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0" name="Shape 34179">
              <a:extLst>
                <a:ext uri="{FF2B5EF4-FFF2-40B4-BE49-F238E27FC236}">
                  <a16:creationId xmlns:a16="http://schemas.microsoft.com/office/drawing/2014/main" xmlns="" id="{0965BB60-0ACC-4747-A711-A835DA23913B}"/>
                </a:ext>
              </a:extLst>
            </p:cNvPr>
            <p:cNvSpPr/>
            <p:nvPr/>
          </p:nvSpPr>
          <p:spPr>
            <a:xfrm>
              <a:off x="13573878" y="4409128"/>
              <a:ext cx="1096094" cy="1213368"/>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1" name="Shape 34180">
              <a:extLst>
                <a:ext uri="{FF2B5EF4-FFF2-40B4-BE49-F238E27FC236}">
                  <a16:creationId xmlns:a16="http://schemas.microsoft.com/office/drawing/2014/main" xmlns="" id="{ACDE0505-2692-4BDB-A403-32FB30BC7A9D}"/>
                </a:ext>
              </a:extLst>
            </p:cNvPr>
            <p:cNvSpPr/>
            <p:nvPr/>
          </p:nvSpPr>
          <p:spPr>
            <a:xfrm>
              <a:off x="12366664" y="11330119"/>
              <a:ext cx="843804" cy="99274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2" name="Shape 34181">
              <a:extLst>
                <a:ext uri="{FF2B5EF4-FFF2-40B4-BE49-F238E27FC236}">
                  <a16:creationId xmlns:a16="http://schemas.microsoft.com/office/drawing/2014/main" xmlns="" id="{7CC907EC-8F58-47EF-86EF-86D5AE269968}"/>
                </a:ext>
              </a:extLst>
            </p:cNvPr>
            <p:cNvSpPr/>
            <p:nvPr/>
          </p:nvSpPr>
          <p:spPr>
            <a:xfrm>
              <a:off x="14244181" y="7303221"/>
              <a:ext cx="622050" cy="54107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097" y="15438"/>
                  </a:lnTo>
                  <a:lnTo>
                    <a:pt x="5592" y="20234"/>
                  </a:lnTo>
                  <a:cubicBezTo>
                    <a:pt x="5592" y="20234"/>
                    <a:pt x="0" y="21600"/>
                    <a:pt x="0" y="21600"/>
                  </a:cubicBezTo>
                  <a:close/>
                  <a:moveTo>
                    <a:pt x="6275" y="19576"/>
                  </a:moveTo>
                  <a:lnTo>
                    <a:pt x="2779" y="14780"/>
                  </a:lnTo>
                  <a:lnTo>
                    <a:pt x="14944" y="3046"/>
                  </a:lnTo>
                  <a:lnTo>
                    <a:pt x="18443" y="7840"/>
                  </a:lnTo>
                  <a:cubicBezTo>
                    <a:pt x="18443" y="7840"/>
                    <a:pt x="6275" y="19576"/>
                    <a:pt x="6275" y="19576"/>
                  </a:cubicBezTo>
                  <a:close/>
                  <a:moveTo>
                    <a:pt x="19138" y="7167"/>
                  </a:moveTo>
                  <a:lnTo>
                    <a:pt x="15640" y="2373"/>
                  </a:lnTo>
                  <a:lnTo>
                    <a:pt x="18101" y="0"/>
                  </a:lnTo>
                  <a:lnTo>
                    <a:pt x="21600" y="4794"/>
                  </a:lnTo>
                  <a:cubicBezTo>
                    <a:pt x="21600" y="4794"/>
                    <a:pt x="19138" y="7167"/>
                    <a:pt x="19138" y="716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3" name="Shape 34182">
              <a:extLst>
                <a:ext uri="{FF2B5EF4-FFF2-40B4-BE49-F238E27FC236}">
                  <a16:creationId xmlns:a16="http://schemas.microsoft.com/office/drawing/2014/main" xmlns="" id="{EE3A7423-4B6C-42D9-8CBC-052CBCB524CD}"/>
                </a:ext>
              </a:extLst>
            </p:cNvPr>
            <p:cNvSpPr/>
            <p:nvPr/>
          </p:nvSpPr>
          <p:spPr>
            <a:xfrm>
              <a:off x="13576635" y="6759701"/>
              <a:ext cx="580114" cy="809692"/>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4" name="Shape 34183">
              <a:extLst>
                <a:ext uri="{FF2B5EF4-FFF2-40B4-BE49-F238E27FC236}">
                  <a16:creationId xmlns:a16="http://schemas.microsoft.com/office/drawing/2014/main" xmlns="" id="{27FB99FA-8662-4C6D-8F0D-9CDD0D0A7FCD}"/>
                </a:ext>
              </a:extLst>
            </p:cNvPr>
            <p:cNvSpPr/>
            <p:nvPr/>
          </p:nvSpPr>
          <p:spPr>
            <a:xfrm>
              <a:off x="11615391" y="7089790"/>
              <a:ext cx="617918" cy="68403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5" name="Shape 34184">
              <a:extLst>
                <a:ext uri="{FF2B5EF4-FFF2-40B4-BE49-F238E27FC236}">
                  <a16:creationId xmlns:a16="http://schemas.microsoft.com/office/drawing/2014/main" xmlns="" id="{11EF8E25-11AD-46E1-9D27-0B82AAE9C86A}"/>
                </a:ext>
              </a:extLst>
            </p:cNvPr>
            <p:cNvSpPr/>
            <p:nvPr/>
          </p:nvSpPr>
          <p:spPr>
            <a:xfrm>
              <a:off x="13088735" y="3291417"/>
              <a:ext cx="651942" cy="595766"/>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6" name="Shape 34185">
              <a:extLst>
                <a:ext uri="{FF2B5EF4-FFF2-40B4-BE49-F238E27FC236}">
                  <a16:creationId xmlns:a16="http://schemas.microsoft.com/office/drawing/2014/main" xmlns="" id="{96BDA93E-F936-48A1-B58F-E292D4601EE3}"/>
                </a:ext>
              </a:extLst>
            </p:cNvPr>
            <p:cNvSpPr/>
            <p:nvPr/>
          </p:nvSpPr>
          <p:spPr>
            <a:xfrm>
              <a:off x="12303465" y="7118398"/>
              <a:ext cx="457434" cy="615446"/>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7" name="Shape 34186">
              <a:extLst>
                <a:ext uri="{FF2B5EF4-FFF2-40B4-BE49-F238E27FC236}">
                  <a16:creationId xmlns:a16="http://schemas.microsoft.com/office/drawing/2014/main" xmlns="" id="{5D7D0900-C9DA-45A9-B016-896ACA0B62B2}"/>
                </a:ext>
              </a:extLst>
            </p:cNvPr>
            <p:cNvSpPr/>
            <p:nvPr/>
          </p:nvSpPr>
          <p:spPr>
            <a:xfrm>
              <a:off x="10902474" y="3745209"/>
              <a:ext cx="602468" cy="782846"/>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8" name="Shape 34187">
              <a:extLst>
                <a:ext uri="{FF2B5EF4-FFF2-40B4-BE49-F238E27FC236}">
                  <a16:creationId xmlns:a16="http://schemas.microsoft.com/office/drawing/2014/main" xmlns="" id="{9F50EBB2-7B87-41C6-8F48-4F89B1320740}"/>
                </a:ext>
              </a:extLst>
            </p:cNvPr>
            <p:cNvSpPr/>
            <p:nvPr/>
          </p:nvSpPr>
          <p:spPr>
            <a:xfrm>
              <a:off x="9646332" y="5299667"/>
              <a:ext cx="648460" cy="459644"/>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3" name="Shape 34188">
              <a:extLst>
                <a:ext uri="{FF2B5EF4-FFF2-40B4-BE49-F238E27FC236}">
                  <a16:creationId xmlns:a16="http://schemas.microsoft.com/office/drawing/2014/main" xmlns="" id="{3223FDF7-461F-43BD-B7C0-8F7AAF4F9888}"/>
                </a:ext>
              </a:extLst>
            </p:cNvPr>
            <p:cNvSpPr/>
            <p:nvPr/>
          </p:nvSpPr>
          <p:spPr>
            <a:xfrm>
              <a:off x="14782759" y="5213711"/>
              <a:ext cx="949938" cy="458576"/>
            </a:xfrm>
            <a:custGeom>
              <a:avLst/>
              <a:gdLst/>
              <a:ahLst/>
              <a:cxnLst>
                <a:cxn ang="0">
                  <a:pos x="wd2" y="hd2"/>
                </a:cxn>
                <a:cxn ang="5400000">
                  <a:pos x="wd2" y="hd2"/>
                </a:cxn>
                <a:cxn ang="10800000">
                  <a:pos x="wd2" y="hd2"/>
                </a:cxn>
                <a:cxn ang="16200000">
                  <a:pos x="wd2" y="hd2"/>
                </a:cxn>
              </a:cxnLst>
              <a:rect l="0" t="0" r="r" b="b"/>
              <a:pathLst>
                <a:path w="21600" h="21600" extrusionOk="0">
                  <a:moveTo>
                    <a:pt x="470" y="21600"/>
                  </a:moveTo>
                  <a:cubicBezTo>
                    <a:pt x="3196" y="21301"/>
                    <a:pt x="4520" y="17446"/>
                    <a:pt x="5606" y="13579"/>
                  </a:cubicBezTo>
                  <a:cubicBezTo>
                    <a:pt x="6868" y="17109"/>
                    <a:pt x="8385" y="20522"/>
                    <a:pt x="11056" y="20229"/>
                  </a:cubicBezTo>
                  <a:cubicBezTo>
                    <a:pt x="13700" y="19938"/>
                    <a:pt x="15043" y="16273"/>
                    <a:pt x="16113" y="12527"/>
                  </a:cubicBezTo>
                  <a:cubicBezTo>
                    <a:pt x="17383" y="16099"/>
                    <a:pt x="18898" y="19587"/>
                    <a:pt x="21600" y="19290"/>
                  </a:cubicBezTo>
                  <a:lnTo>
                    <a:pt x="21545" y="16807"/>
                  </a:lnTo>
                  <a:cubicBezTo>
                    <a:pt x="19258" y="17058"/>
                    <a:pt x="18061" y="13947"/>
                    <a:pt x="16772" y="10222"/>
                  </a:cubicBezTo>
                  <a:cubicBezTo>
                    <a:pt x="17878" y="6171"/>
                    <a:pt x="18899" y="2735"/>
                    <a:pt x="21214" y="2481"/>
                  </a:cubicBezTo>
                  <a:lnTo>
                    <a:pt x="21142" y="0"/>
                  </a:lnTo>
                  <a:cubicBezTo>
                    <a:pt x="18416" y="300"/>
                    <a:pt x="17080" y="4165"/>
                    <a:pt x="15994" y="8031"/>
                  </a:cubicBezTo>
                  <a:cubicBezTo>
                    <a:pt x="14732" y="4504"/>
                    <a:pt x="13210" y="1123"/>
                    <a:pt x="10541" y="1416"/>
                  </a:cubicBezTo>
                  <a:cubicBezTo>
                    <a:pt x="7892" y="1708"/>
                    <a:pt x="6571" y="5362"/>
                    <a:pt x="5501" y="9116"/>
                  </a:cubicBezTo>
                  <a:cubicBezTo>
                    <a:pt x="4229" y="5537"/>
                    <a:pt x="2706" y="2023"/>
                    <a:pt x="0" y="2320"/>
                  </a:cubicBezTo>
                  <a:cubicBezTo>
                    <a:pt x="0" y="2320"/>
                    <a:pt x="67" y="4802"/>
                    <a:pt x="67" y="4802"/>
                  </a:cubicBezTo>
                  <a:cubicBezTo>
                    <a:pt x="2361" y="4550"/>
                    <a:pt x="3548" y="7681"/>
                    <a:pt x="4841" y="11421"/>
                  </a:cubicBezTo>
                  <a:cubicBezTo>
                    <a:pt x="3737" y="15462"/>
                    <a:pt x="2709" y="18874"/>
                    <a:pt x="399" y="19128"/>
                  </a:cubicBezTo>
                  <a:lnTo>
                    <a:pt x="470" y="21600"/>
                  </a:lnTo>
                  <a:close/>
                  <a:moveTo>
                    <a:pt x="571" y="17516"/>
                  </a:moveTo>
                  <a:cubicBezTo>
                    <a:pt x="973" y="17463"/>
                    <a:pt x="1323" y="17289"/>
                    <a:pt x="1641" y="17020"/>
                  </a:cubicBezTo>
                  <a:cubicBezTo>
                    <a:pt x="1641" y="17020"/>
                    <a:pt x="1387" y="6572"/>
                    <a:pt x="1387" y="6572"/>
                  </a:cubicBezTo>
                  <a:cubicBezTo>
                    <a:pt x="1058" y="6378"/>
                    <a:pt x="699" y="6290"/>
                    <a:pt x="296" y="6330"/>
                  </a:cubicBezTo>
                  <a:lnTo>
                    <a:pt x="571" y="17516"/>
                  </a:lnTo>
                  <a:close/>
                  <a:moveTo>
                    <a:pt x="2649" y="15637"/>
                  </a:moveTo>
                  <a:cubicBezTo>
                    <a:pt x="3008" y="15009"/>
                    <a:pt x="3317" y="14212"/>
                    <a:pt x="3611" y="13297"/>
                  </a:cubicBezTo>
                  <a:lnTo>
                    <a:pt x="3530" y="9777"/>
                  </a:lnTo>
                  <a:cubicBezTo>
                    <a:pt x="3194" y="8935"/>
                    <a:pt x="2849" y="8211"/>
                    <a:pt x="2462" y="7671"/>
                  </a:cubicBezTo>
                  <a:lnTo>
                    <a:pt x="2649" y="15637"/>
                  </a:lnTo>
                  <a:close/>
                  <a:moveTo>
                    <a:pt x="6265" y="11274"/>
                  </a:moveTo>
                  <a:cubicBezTo>
                    <a:pt x="7335" y="7383"/>
                    <a:pt x="8366" y="4144"/>
                    <a:pt x="10612" y="3897"/>
                  </a:cubicBezTo>
                  <a:cubicBezTo>
                    <a:pt x="12876" y="3648"/>
                    <a:pt x="14062" y="6687"/>
                    <a:pt x="15336" y="10361"/>
                  </a:cubicBezTo>
                  <a:cubicBezTo>
                    <a:pt x="14269" y="14240"/>
                    <a:pt x="13242" y="17500"/>
                    <a:pt x="11001" y="17746"/>
                  </a:cubicBezTo>
                  <a:cubicBezTo>
                    <a:pt x="8738" y="17995"/>
                    <a:pt x="7539" y="14948"/>
                    <a:pt x="6265" y="11274"/>
                  </a:cubicBezTo>
                  <a:close/>
                  <a:moveTo>
                    <a:pt x="8019" y="13315"/>
                  </a:moveTo>
                  <a:cubicBezTo>
                    <a:pt x="8416" y="14295"/>
                    <a:pt x="8827" y="15128"/>
                    <a:pt x="9287" y="15750"/>
                  </a:cubicBezTo>
                  <a:lnTo>
                    <a:pt x="9038" y="6172"/>
                  </a:lnTo>
                  <a:cubicBezTo>
                    <a:pt x="8613" y="6892"/>
                    <a:pt x="8251" y="7817"/>
                    <a:pt x="7906" y="8878"/>
                  </a:cubicBezTo>
                  <a:lnTo>
                    <a:pt x="8019" y="13315"/>
                  </a:lnTo>
                  <a:close/>
                  <a:moveTo>
                    <a:pt x="10389" y="16077"/>
                  </a:moveTo>
                  <a:cubicBezTo>
                    <a:pt x="10611" y="16140"/>
                    <a:pt x="10842" y="16161"/>
                    <a:pt x="11095" y="16128"/>
                  </a:cubicBezTo>
                  <a:cubicBezTo>
                    <a:pt x="11223" y="16112"/>
                    <a:pt x="11344" y="16080"/>
                    <a:pt x="11463" y="16041"/>
                  </a:cubicBezTo>
                  <a:lnTo>
                    <a:pt x="11227" y="5045"/>
                  </a:lnTo>
                  <a:cubicBezTo>
                    <a:pt x="11108" y="5036"/>
                    <a:pt x="10985" y="5039"/>
                    <a:pt x="10857" y="5056"/>
                  </a:cubicBezTo>
                  <a:cubicBezTo>
                    <a:pt x="10605" y="5088"/>
                    <a:pt x="10374" y="5166"/>
                    <a:pt x="10157" y="5285"/>
                  </a:cubicBezTo>
                  <a:lnTo>
                    <a:pt x="10389" y="16077"/>
                  </a:lnTo>
                  <a:close/>
                  <a:moveTo>
                    <a:pt x="12594" y="15655"/>
                  </a:moveTo>
                  <a:cubicBezTo>
                    <a:pt x="12999" y="15123"/>
                    <a:pt x="13343" y="14414"/>
                    <a:pt x="13661" y="13573"/>
                  </a:cubicBezTo>
                  <a:lnTo>
                    <a:pt x="13528" y="7680"/>
                  </a:lnTo>
                  <a:cubicBezTo>
                    <a:pt x="13173" y="6920"/>
                    <a:pt x="12798" y="6300"/>
                    <a:pt x="12371" y="5869"/>
                  </a:cubicBezTo>
                  <a:lnTo>
                    <a:pt x="12594" y="15655"/>
                  </a:lnTo>
                  <a:close/>
                  <a:moveTo>
                    <a:pt x="18081" y="11798"/>
                  </a:moveTo>
                  <a:cubicBezTo>
                    <a:pt x="18416" y="12578"/>
                    <a:pt x="18758" y="13235"/>
                    <a:pt x="19139" y="13718"/>
                  </a:cubicBezTo>
                  <a:lnTo>
                    <a:pt x="18884" y="6051"/>
                  </a:lnTo>
                  <a:cubicBezTo>
                    <a:pt x="18541" y="6694"/>
                    <a:pt x="18245" y="7495"/>
                    <a:pt x="17967" y="8411"/>
                  </a:cubicBezTo>
                  <a:lnTo>
                    <a:pt x="18081" y="11798"/>
                  </a:lnTo>
                  <a:close/>
                  <a:moveTo>
                    <a:pt x="20486" y="14708"/>
                  </a:moveTo>
                  <a:cubicBezTo>
                    <a:pt x="20804" y="14878"/>
                    <a:pt x="21150" y="14947"/>
                    <a:pt x="21538" y="14889"/>
                  </a:cubicBezTo>
                  <a:lnTo>
                    <a:pt x="21229" y="4150"/>
                  </a:lnTo>
                  <a:cubicBezTo>
                    <a:pt x="20842" y="4223"/>
                    <a:pt x="20502" y="4409"/>
                    <a:pt x="20197" y="4684"/>
                  </a:cubicBezTo>
                  <a:cubicBezTo>
                    <a:pt x="20197" y="4684"/>
                    <a:pt x="20486" y="14708"/>
                    <a:pt x="20486" y="147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4" name="Shape 34189">
              <a:extLst>
                <a:ext uri="{FF2B5EF4-FFF2-40B4-BE49-F238E27FC236}">
                  <a16:creationId xmlns:a16="http://schemas.microsoft.com/office/drawing/2014/main" xmlns="" id="{D32CAEFD-6D2E-4C8C-B948-A3010075AC8C}"/>
                </a:ext>
              </a:extLst>
            </p:cNvPr>
            <p:cNvSpPr/>
            <p:nvPr/>
          </p:nvSpPr>
          <p:spPr>
            <a:xfrm>
              <a:off x="12966315" y="3935732"/>
              <a:ext cx="606684"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5" name="Shape 34190">
              <a:extLst>
                <a:ext uri="{FF2B5EF4-FFF2-40B4-BE49-F238E27FC236}">
                  <a16:creationId xmlns:a16="http://schemas.microsoft.com/office/drawing/2014/main" xmlns="" id="{76B2797C-D73B-4FE3-9845-266549A5AB8E}"/>
                </a:ext>
              </a:extLst>
            </p:cNvPr>
            <p:cNvSpPr/>
            <p:nvPr/>
          </p:nvSpPr>
          <p:spPr>
            <a:xfrm>
              <a:off x="8736613" y="4207504"/>
              <a:ext cx="967678" cy="820704"/>
            </a:xfrm>
            <a:custGeom>
              <a:avLst/>
              <a:gdLst/>
              <a:ahLst/>
              <a:cxnLst>
                <a:cxn ang="0">
                  <a:pos x="wd2" y="hd2"/>
                </a:cxn>
                <a:cxn ang="5400000">
                  <a:pos x="wd2" y="hd2"/>
                </a:cxn>
                <a:cxn ang="10800000">
                  <a:pos x="wd2" y="hd2"/>
                </a:cxn>
                <a:cxn ang="16200000">
                  <a:pos x="wd2" y="hd2"/>
                </a:cxn>
              </a:cxnLst>
              <a:rect l="0" t="0" r="r" b="b"/>
              <a:pathLst>
                <a:path w="21275" h="21218" extrusionOk="0">
                  <a:moveTo>
                    <a:pt x="17160" y="16531"/>
                  </a:moveTo>
                  <a:lnTo>
                    <a:pt x="3281" y="10266"/>
                  </a:lnTo>
                  <a:lnTo>
                    <a:pt x="6158" y="1453"/>
                  </a:lnTo>
                  <a:lnTo>
                    <a:pt x="20037" y="7718"/>
                  </a:lnTo>
                  <a:cubicBezTo>
                    <a:pt x="20037" y="7718"/>
                    <a:pt x="17160" y="16531"/>
                    <a:pt x="17160" y="16531"/>
                  </a:cubicBezTo>
                  <a:close/>
                  <a:moveTo>
                    <a:pt x="20480" y="6363"/>
                  </a:moveTo>
                  <a:lnTo>
                    <a:pt x="6600" y="98"/>
                  </a:lnTo>
                  <a:cubicBezTo>
                    <a:pt x="5961" y="-191"/>
                    <a:pt x="5246" y="183"/>
                    <a:pt x="5001" y="931"/>
                  </a:cubicBezTo>
                  <a:cubicBezTo>
                    <a:pt x="5001" y="931"/>
                    <a:pt x="1682" y="11100"/>
                    <a:pt x="1694" y="11105"/>
                  </a:cubicBezTo>
                  <a:lnTo>
                    <a:pt x="17862" y="18403"/>
                  </a:lnTo>
                  <a:cubicBezTo>
                    <a:pt x="17874" y="18409"/>
                    <a:pt x="21194" y="8240"/>
                    <a:pt x="21194" y="8240"/>
                  </a:cubicBezTo>
                  <a:cubicBezTo>
                    <a:pt x="21438" y="7492"/>
                    <a:pt x="21118" y="6651"/>
                    <a:pt x="20480" y="6363"/>
                  </a:cubicBezTo>
                  <a:close/>
                  <a:moveTo>
                    <a:pt x="16989" y="21121"/>
                  </a:moveTo>
                  <a:lnTo>
                    <a:pt x="797" y="13812"/>
                  </a:lnTo>
                  <a:cubicBezTo>
                    <a:pt x="157" y="13523"/>
                    <a:pt x="-162" y="12683"/>
                    <a:pt x="83" y="11934"/>
                  </a:cubicBezTo>
                  <a:lnTo>
                    <a:pt x="304" y="11256"/>
                  </a:lnTo>
                  <a:lnTo>
                    <a:pt x="7822" y="14649"/>
                  </a:lnTo>
                  <a:lnTo>
                    <a:pt x="7600" y="15327"/>
                  </a:lnTo>
                  <a:lnTo>
                    <a:pt x="11070" y="16893"/>
                  </a:lnTo>
                  <a:lnTo>
                    <a:pt x="11291" y="16216"/>
                  </a:lnTo>
                  <a:lnTo>
                    <a:pt x="18810" y="19609"/>
                  </a:lnTo>
                  <a:lnTo>
                    <a:pt x="18588" y="20287"/>
                  </a:lnTo>
                  <a:cubicBezTo>
                    <a:pt x="18344" y="21036"/>
                    <a:pt x="17627" y="21409"/>
                    <a:pt x="16989" y="21121"/>
                  </a:cubicBezTo>
                  <a:cubicBezTo>
                    <a:pt x="16989" y="21121"/>
                    <a:pt x="16989" y="21121"/>
                    <a:pt x="16989" y="2112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9" name="Shape 34191">
              <a:extLst>
                <a:ext uri="{FF2B5EF4-FFF2-40B4-BE49-F238E27FC236}">
                  <a16:creationId xmlns:a16="http://schemas.microsoft.com/office/drawing/2014/main" xmlns="" id="{746785E1-34D2-4276-B4F9-33E8E87B6EF7}"/>
                </a:ext>
              </a:extLst>
            </p:cNvPr>
            <p:cNvSpPr/>
            <p:nvPr/>
          </p:nvSpPr>
          <p:spPr>
            <a:xfrm>
              <a:off x="12884222" y="7775447"/>
              <a:ext cx="606686"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0" name="Shape 34192">
              <a:extLst>
                <a:ext uri="{FF2B5EF4-FFF2-40B4-BE49-F238E27FC236}">
                  <a16:creationId xmlns:a16="http://schemas.microsoft.com/office/drawing/2014/main" xmlns="" id="{0B18A93C-F4F9-42B9-9E5C-EBAD66002472}"/>
                </a:ext>
              </a:extLst>
            </p:cNvPr>
            <p:cNvSpPr/>
            <p:nvPr/>
          </p:nvSpPr>
          <p:spPr>
            <a:xfrm>
              <a:off x="9950402" y="3061775"/>
              <a:ext cx="885232" cy="104148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1" name="Shape 34193">
              <a:extLst>
                <a:ext uri="{FF2B5EF4-FFF2-40B4-BE49-F238E27FC236}">
                  <a16:creationId xmlns:a16="http://schemas.microsoft.com/office/drawing/2014/main" xmlns="" id="{CD2B9E52-4119-4918-9A7D-B97EE9DB5AC2}"/>
                </a:ext>
              </a:extLst>
            </p:cNvPr>
            <p:cNvSpPr/>
            <p:nvPr/>
          </p:nvSpPr>
          <p:spPr>
            <a:xfrm>
              <a:off x="11615551" y="3334957"/>
              <a:ext cx="818520" cy="818520"/>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2" name="Shape 34194">
              <a:extLst>
                <a:ext uri="{FF2B5EF4-FFF2-40B4-BE49-F238E27FC236}">
                  <a16:creationId xmlns:a16="http://schemas.microsoft.com/office/drawing/2014/main" xmlns="" id="{F042AC09-BE7A-4616-82EE-181ABD8467FF}"/>
                </a:ext>
              </a:extLst>
            </p:cNvPr>
            <p:cNvSpPr/>
            <p:nvPr/>
          </p:nvSpPr>
          <p:spPr>
            <a:xfrm>
              <a:off x="14592598" y="6234099"/>
              <a:ext cx="850388" cy="976334"/>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3" name="Shape 34195">
              <a:extLst>
                <a:ext uri="{FF2B5EF4-FFF2-40B4-BE49-F238E27FC236}">
                  <a16:creationId xmlns:a16="http://schemas.microsoft.com/office/drawing/2014/main" xmlns="" id="{085978EC-8D4C-4795-8641-C2B7E78B1253}"/>
                </a:ext>
              </a:extLst>
            </p:cNvPr>
            <p:cNvSpPr/>
            <p:nvPr/>
          </p:nvSpPr>
          <p:spPr>
            <a:xfrm>
              <a:off x="13429434" y="7344882"/>
              <a:ext cx="433382" cy="47975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4" name="Shape 34196">
              <a:extLst>
                <a:ext uri="{FF2B5EF4-FFF2-40B4-BE49-F238E27FC236}">
                  <a16:creationId xmlns:a16="http://schemas.microsoft.com/office/drawing/2014/main" xmlns="" id="{5330A20B-491F-434D-B3EE-27C36E6E19F2}"/>
                </a:ext>
              </a:extLst>
            </p:cNvPr>
            <p:cNvSpPr/>
            <p:nvPr/>
          </p:nvSpPr>
          <p:spPr>
            <a:xfrm>
              <a:off x="12395982" y="2571694"/>
              <a:ext cx="1203272" cy="672004"/>
            </a:xfrm>
            <a:custGeom>
              <a:avLst/>
              <a:gdLst/>
              <a:ahLst/>
              <a:cxnLst>
                <a:cxn ang="0">
                  <a:pos x="wd2" y="hd2"/>
                </a:cxn>
                <a:cxn ang="5400000">
                  <a:pos x="wd2" y="hd2"/>
                </a:cxn>
                <a:cxn ang="10800000">
                  <a:pos x="wd2" y="hd2"/>
                </a:cxn>
                <a:cxn ang="16200000">
                  <a:pos x="wd2" y="hd2"/>
                </a:cxn>
              </a:cxnLst>
              <a:rect l="0" t="0" r="r" b="b"/>
              <a:pathLst>
                <a:path w="21600" h="21600" extrusionOk="0">
                  <a:moveTo>
                    <a:pt x="0" y="15895"/>
                  </a:moveTo>
                  <a:cubicBezTo>
                    <a:pt x="2602" y="16630"/>
                    <a:pt x="4225" y="13961"/>
                    <a:pt x="5624" y="11197"/>
                  </a:cubicBezTo>
                  <a:cubicBezTo>
                    <a:pt x="6473" y="14530"/>
                    <a:pt x="7574" y="17859"/>
                    <a:pt x="10123" y="18579"/>
                  </a:cubicBezTo>
                  <a:cubicBezTo>
                    <a:pt x="12646" y="19291"/>
                    <a:pt x="14269" y="16784"/>
                    <a:pt x="15641" y="14112"/>
                  </a:cubicBezTo>
                  <a:cubicBezTo>
                    <a:pt x="16494" y="17483"/>
                    <a:pt x="17585" y="20872"/>
                    <a:pt x="20164" y="21600"/>
                  </a:cubicBezTo>
                  <a:lnTo>
                    <a:pt x="20353" y="19555"/>
                  </a:lnTo>
                  <a:cubicBezTo>
                    <a:pt x="18170" y="18939"/>
                    <a:pt x="17341" y="15971"/>
                    <a:pt x="16486" y="12469"/>
                  </a:cubicBezTo>
                  <a:cubicBezTo>
                    <a:pt x="17922" y="9562"/>
                    <a:pt x="19218" y="7126"/>
                    <a:pt x="21427" y="7750"/>
                  </a:cubicBezTo>
                  <a:lnTo>
                    <a:pt x="21600" y="5701"/>
                  </a:lnTo>
                  <a:cubicBezTo>
                    <a:pt x="18998" y="4966"/>
                    <a:pt x="17363" y="7639"/>
                    <a:pt x="15964" y="10403"/>
                  </a:cubicBezTo>
                  <a:cubicBezTo>
                    <a:pt x="15115" y="7072"/>
                    <a:pt x="14006" y="3768"/>
                    <a:pt x="11458" y="3048"/>
                  </a:cubicBezTo>
                  <a:cubicBezTo>
                    <a:pt x="8930" y="2335"/>
                    <a:pt x="7330" y="4841"/>
                    <a:pt x="5956" y="7519"/>
                  </a:cubicBezTo>
                  <a:cubicBezTo>
                    <a:pt x="5103" y="4143"/>
                    <a:pt x="4006" y="730"/>
                    <a:pt x="1424" y="0"/>
                  </a:cubicBezTo>
                  <a:cubicBezTo>
                    <a:pt x="1424" y="0"/>
                    <a:pt x="1247" y="2048"/>
                    <a:pt x="1247" y="2048"/>
                  </a:cubicBezTo>
                  <a:cubicBezTo>
                    <a:pt x="3436" y="2666"/>
                    <a:pt x="4253" y="5647"/>
                    <a:pt x="5111" y="9162"/>
                  </a:cubicBezTo>
                  <a:cubicBezTo>
                    <a:pt x="3678" y="12062"/>
                    <a:pt x="2378" y="14476"/>
                    <a:pt x="172" y="13853"/>
                  </a:cubicBezTo>
                  <a:lnTo>
                    <a:pt x="0" y="15895"/>
                  </a:lnTo>
                  <a:close/>
                  <a:moveTo>
                    <a:pt x="491" y="12600"/>
                  </a:moveTo>
                  <a:cubicBezTo>
                    <a:pt x="875" y="12701"/>
                    <a:pt x="1223" y="12685"/>
                    <a:pt x="1549" y="12580"/>
                  </a:cubicBezTo>
                  <a:cubicBezTo>
                    <a:pt x="1549" y="12580"/>
                    <a:pt x="2321" y="3967"/>
                    <a:pt x="2321" y="3967"/>
                  </a:cubicBezTo>
                  <a:cubicBezTo>
                    <a:pt x="2030" y="3690"/>
                    <a:pt x="1699" y="3489"/>
                    <a:pt x="1315" y="3377"/>
                  </a:cubicBezTo>
                  <a:lnTo>
                    <a:pt x="491" y="12600"/>
                  </a:lnTo>
                  <a:close/>
                  <a:moveTo>
                    <a:pt x="2634" y="11814"/>
                  </a:moveTo>
                  <a:cubicBezTo>
                    <a:pt x="3034" y="11431"/>
                    <a:pt x="3403" y="10892"/>
                    <a:pt x="3769" y="10250"/>
                  </a:cubicBezTo>
                  <a:lnTo>
                    <a:pt x="4033" y="7350"/>
                  </a:lnTo>
                  <a:cubicBezTo>
                    <a:pt x="3797" y="6543"/>
                    <a:pt x="3542" y="5828"/>
                    <a:pt x="3229" y="5249"/>
                  </a:cubicBezTo>
                  <a:lnTo>
                    <a:pt x="2634" y="11814"/>
                  </a:lnTo>
                  <a:close/>
                  <a:moveTo>
                    <a:pt x="6469" y="9554"/>
                  </a:moveTo>
                  <a:cubicBezTo>
                    <a:pt x="7855" y="6764"/>
                    <a:pt x="9142" y="4492"/>
                    <a:pt x="11285" y="5097"/>
                  </a:cubicBezTo>
                  <a:cubicBezTo>
                    <a:pt x="13446" y="5708"/>
                    <a:pt x="14271" y="8612"/>
                    <a:pt x="15117" y="12067"/>
                  </a:cubicBezTo>
                  <a:cubicBezTo>
                    <a:pt x="13735" y="14848"/>
                    <a:pt x="12450" y="17138"/>
                    <a:pt x="10312" y="16534"/>
                  </a:cubicBezTo>
                  <a:cubicBezTo>
                    <a:pt x="8151" y="15924"/>
                    <a:pt x="7315" y="13008"/>
                    <a:pt x="6469" y="9554"/>
                  </a:cubicBezTo>
                  <a:close/>
                  <a:moveTo>
                    <a:pt x="7926" y="11848"/>
                  </a:moveTo>
                  <a:cubicBezTo>
                    <a:pt x="8206" y="12791"/>
                    <a:pt x="8514" y="13618"/>
                    <a:pt x="8887" y="14290"/>
                  </a:cubicBezTo>
                  <a:lnTo>
                    <a:pt x="9579" y="6388"/>
                  </a:lnTo>
                  <a:cubicBezTo>
                    <a:pt x="9109" y="6822"/>
                    <a:pt x="8677" y="7447"/>
                    <a:pt x="8249" y="8189"/>
                  </a:cubicBezTo>
                  <a:lnTo>
                    <a:pt x="7926" y="11848"/>
                  </a:lnTo>
                  <a:close/>
                  <a:moveTo>
                    <a:pt x="9896" y="14953"/>
                  </a:moveTo>
                  <a:cubicBezTo>
                    <a:pt x="10099" y="15084"/>
                    <a:pt x="10315" y="15184"/>
                    <a:pt x="10557" y="15248"/>
                  </a:cubicBezTo>
                  <a:cubicBezTo>
                    <a:pt x="10679" y="15281"/>
                    <a:pt x="10797" y="15298"/>
                    <a:pt x="10912" y="15309"/>
                  </a:cubicBezTo>
                  <a:lnTo>
                    <a:pt x="11755" y="6255"/>
                  </a:lnTo>
                  <a:cubicBezTo>
                    <a:pt x="11643" y="6205"/>
                    <a:pt x="11527" y="6163"/>
                    <a:pt x="11404" y="6131"/>
                  </a:cubicBezTo>
                  <a:cubicBezTo>
                    <a:pt x="11163" y="6066"/>
                    <a:pt x="10938" y="6048"/>
                    <a:pt x="10721" y="6066"/>
                  </a:cubicBezTo>
                  <a:lnTo>
                    <a:pt x="9896" y="14953"/>
                  </a:lnTo>
                  <a:close/>
                  <a:moveTo>
                    <a:pt x="12018" y="15401"/>
                  </a:moveTo>
                  <a:cubicBezTo>
                    <a:pt x="12451" y="15112"/>
                    <a:pt x="12844" y="14657"/>
                    <a:pt x="13226" y="14085"/>
                  </a:cubicBezTo>
                  <a:lnTo>
                    <a:pt x="13671" y="9231"/>
                  </a:lnTo>
                  <a:cubicBezTo>
                    <a:pt x="13409" y="8483"/>
                    <a:pt x="13115" y="7842"/>
                    <a:pt x="12755" y="7338"/>
                  </a:cubicBezTo>
                  <a:lnTo>
                    <a:pt x="12018" y="15401"/>
                  </a:lnTo>
                  <a:close/>
                  <a:moveTo>
                    <a:pt x="17569" y="14225"/>
                  </a:moveTo>
                  <a:cubicBezTo>
                    <a:pt x="17809" y="14981"/>
                    <a:pt x="18068" y="15640"/>
                    <a:pt x="18381" y="16171"/>
                  </a:cubicBezTo>
                  <a:lnTo>
                    <a:pt x="18883" y="9826"/>
                  </a:lnTo>
                  <a:cubicBezTo>
                    <a:pt x="18496" y="10227"/>
                    <a:pt x="18140" y="10774"/>
                    <a:pt x="17789" y="11421"/>
                  </a:cubicBezTo>
                  <a:lnTo>
                    <a:pt x="17569" y="14225"/>
                  </a:lnTo>
                  <a:close/>
                  <a:moveTo>
                    <a:pt x="19556" y="17463"/>
                  </a:moveTo>
                  <a:cubicBezTo>
                    <a:pt x="19840" y="17716"/>
                    <a:pt x="20160" y="17896"/>
                    <a:pt x="20532" y="17987"/>
                  </a:cubicBezTo>
                  <a:lnTo>
                    <a:pt x="21280" y="9117"/>
                  </a:lnTo>
                  <a:cubicBezTo>
                    <a:pt x="20907" y="9037"/>
                    <a:pt x="20569" y="9067"/>
                    <a:pt x="20254" y="9182"/>
                  </a:cubicBezTo>
                  <a:cubicBezTo>
                    <a:pt x="20254" y="9182"/>
                    <a:pt x="19556" y="17463"/>
                    <a:pt x="19556" y="1746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5" name="Shape 34197">
              <a:extLst>
                <a:ext uri="{FF2B5EF4-FFF2-40B4-BE49-F238E27FC236}">
                  <a16:creationId xmlns:a16="http://schemas.microsoft.com/office/drawing/2014/main" xmlns="" id="{C5BDF029-BA65-4516-8DA4-80D732C9CDCE}"/>
                </a:ext>
              </a:extLst>
            </p:cNvPr>
            <p:cNvSpPr/>
            <p:nvPr/>
          </p:nvSpPr>
          <p:spPr>
            <a:xfrm>
              <a:off x="13886540" y="2993820"/>
              <a:ext cx="578410" cy="610580"/>
            </a:xfrm>
            <a:custGeom>
              <a:avLst/>
              <a:gdLst/>
              <a:ahLst/>
              <a:cxnLst>
                <a:cxn ang="0">
                  <a:pos x="wd2" y="hd2"/>
                </a:cxn>
                <a:cxn ang="5400000">
                  <a:pos x="wd2" y="hd2"/>
                </a:cxn>
                <a:cxn ang="10800000">
                  <a:pos x="wd2" y="hd2"/>
                </a:cxn>
                <a:cxn ang="16200000">
                  <a:pos x="wd2" y="hd2"/>
                </a:cxn>
              </a:cxnLst>
              <a:rect l="0" t="0" r="r" b="b"/>
              <a:pathLst>
                <a:path w="21272" h="21285" extrusionOk="0">
                  <a:moveTo>
                    <a:pt x="7646" y="529"/>
                  </a:moveTo>
                  <a:cubicBezTo>
                    <a:pt x="7990" y="7"/>
                    <a:pt x="8716" y="-158"/>
                    <a:pt x="9266" y="168"/>
                  </a:cubicBezTo>
                  <a:lnTo>
                    <a:pt x="20724" y="6954"/>
                  </a:lnTo>
                  <a:cubicBezTo>
                    <a:pt x="21274" y="7280"/>
                    <a:pt x="21435" y="7971"/>
                    <a:pt x="21091" y="8493"/>
                  </a:cubicBezTo>
                  <a:lnTo>
                    <a:pt x="13003" y="20763"/>
                  </a:lnTo>
                  <a:cubicBezTo>
                    <a:pt x="12659" y="21284"/>
                    <a:pt x="11938" y="21442"/>
                    <a:pt x="11388" y="21116"/>
                  </a:cubicBezTo>
                  <a:lnTo>
                    <a:pt x="8398" y="19345"/>
                  </a:lnTo>
                  <a:lnTo>
                    <a:pt x="10574" y="16044"/>
                  </a:lnTo>
                  <a:cubicBezTo>
                    <a:pt x="10918" y="15523"/>
                    <a:pt x="10752" y="14839"/>
                    <a:pt x="10202" y="14513"/>
                  </a:cubicBezTo>
                  <a:lnTo>
                    <a:pt x="8206" y="13331"/>
                  </a:lnTo>
                  <a:cubicBezTo>
                    <a:pt x="7656" y="13006"/>
                    <a:pt x="6935" y="13163"/>
                    <a:pt x="6591" y="13685"/>
                  </a:cubicBezTo>
                  <a:lnTo>
                    <a:pt x="4415" y="16986"/>
                  </a:lnTo>
                  <a:lnTo>
                    <a:pt x="1926" y="15512"/>
                  </a:lnTo>
                  <a:cubicBezTo>
                    <a:pt x="1376" y="15186"/>
                    <a:pt x="1202" y="14498"/>
                    <a:pt x="1545" y="13976"/>
                  </a:cubicBezTo>
                  <a:lnTo>
                    <a:pt x="552" y="13387"/>
                  </a:lnTo>
                  <a:cubicBezTo>
                    <a:pt x="2" y="13062"/>
                    <a:pt x="-165" y="12378"/>
                    <a:pt x="179" y="11857"/>
                  </a:cubicBezTo>
                  <a:lnTo>
                    <a:pt x="7646" y="529"/>
                  </a:lnTo>
                  <a:close/>
                  <a:moveTo>
                    <a:pt x="8332" y="1585"/>
                  </a:moveTo>
                  <a:lnTo>
                    <a:pt x="1799" y="11496"/>
                  </a:lnTo>
                  <a:cubicBezTo>
                    <a:pt x="1799" y="11496"/>
                    <a:pt x="1170" y="12444"/>
                    <a:pt x="2166" y="13034"/>
                  </a:cubicBezTo>
                  <a:lnTo>
                    <a:pt x="9326" y="2173"/>
                  </a:lnTo>
                  <a:cubicBezTo>
                    <a:pt x="9498" y="1913"/>
                    <a:pt x="9416" y="1577"/>
                    <a:pt x="9141" y="1414"/>
                  </a:cubicBezTo>
                  <a:cubicBezTo>
                    <a:pt x="8866" y="1251"/>
                    <a:pt x="8504" y="1324"/>
                    <a:pt x="8332" y="1585"/>
                  </a:cubicBezTo>
                  <a:close/>
                  <a:moveTo>
                    <a:pt x="6784" y="14449"/>
                  </a:moveTo>
                  <a:cubicBezTo>
                    <a:pt x="7128" y="13927"/>
                    <a:pt x="7849" y="13769"/>
                    <a:pt x="8399" y="14095"/>
                  </a:cubicBezTo>
                  <a:lnTo>
                    <a:pt x="9393" y="14684"/>
                  </a:lnTo>
                  <a:cubicBezTo>
                    <a:pt x="9943" y="15010"/>
                    <a:pt x="10109" y="15693"/>
                    <a:pt x="9766" y="16215"/>
                  </a:cubicBezTo>
                  <a:lnTo>
                    <a:pt x="7897" y="19049"/>
                  </a:lnTo>
                  <a:cubicBezTo>
                    <a:pt x="7554" y="19570"/>
                    <a:pt x="6827" y="19735"/>
                    <a:pt x="6277" y="19410"/>
                  </a:cubicBezTo>
                  <a:lnTo>
                    <a:pt x="5284" y="18821"/>
                  </a:lnTo>
                  <a:cubicBezTo>
                    <a:pt x="4733" y="18495"/>
                    <a:pt x="4572" y="17804"/>
                    <a:pt x="4916" y="17283"/>
                  </a:cubicBezTo>
                  <a:lnTo>
                    <a:pt x="6784" y="14449"/>
                  </a:lnTo>
                  <a:close/>
                  <a:moveTo>
                    <a:pt x="7465" y="15512"/>
                  </a:moveTo>
                  <a:cubicBezTo>
                    <a:pt x="7293" y="15773"/>
                    <a:pt x="7369" y="16116"/>
                    <a:pt x="7645" y="16279"/>
                  </a:cubicBezTo>
                  <a:cubicBezTo>
                    <a:pt x="7920" y="16442"/>
                    <a:pt x="8287" y="16362"/>
                    <a:pt x="8459" y="16101"/>
                  </a:cubicBezTo>
                  <a:cubicBezTo>
                    <a:pt x="8630" y="15840"/>
                    <a:pt x="8546" y="15492"/>
                    <a:pt x="8271" y="15329"/>
                  </a:cubicBezTo>
                  <a:cubicBezTo>
                    <a:pt x="7995" y="15166"/>
                    <a:pt x="7637" y="15251"/>
                    <a:pt x="7465" y="1551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6" name="Shape 34198">
              <a:extLst>
                <a:ext uri="{FF2B5EF4-FFF2-40B4-BE49-F238E27FC236}">
                  <a16:creationId xmlns:a16="http://schemas.microsoft.com/office/drawing/2014/main" xmlns="" id="{F4723D52-4FE5-4F78-B9C5-2DEDE11EF476}"/>
                </a:ext>
              </a:extLst>
            </p:cNvPr>
            <p:cNvSpPr/>
            <p:nvPr/>
          </p:nvSpPr>
          <p:spPr>
            <a:xfrm>
              <a:off x="10894630" y="2650276"/>
              <a:ext cx="621486" cy="960340"/>
            </a:xfrm>
            <a:custGeom>
              <a:avLst/>
              <a:gdLst/>
              <a:ahLst/>
              <a:cxnLst>
                <a:cxn ang="0">
                  <a:pos x="wd2" y="hd2"/>
                </a:cxn>
                <a:cxn ang="5400000">
                  <a:pos x="wd2" y="hd2"/>
                </a:cxn>
                <a:cxn ang="10800000">
                  <a:pos x="wd2" y="hd2"/>
                </a:cxn>
                <a:cxn ang="16200000">
                  <a:pos x="wd2" y="hd2"/>
                </a:cxn>
              </a:cxnLst>
              <a:rect l="0" t="0" r="r" b="b"/>
              <a:pathLst>
                <a:path w="21220" h="21353" extrusionOk="0">
                  <a:moveTo>
                    <a:pt x="15021" y="3564"/>
                  </a:moveTo>
                  <a:lnTo>
                    <a:pt x="1858" y="5543"/>
                  </a:lnTo>
                  <a:lnTo>
                    <a:pt x="6199" y="17788"/>
                  </a:lnTo>
                  <a:lnTo>
                    <a:pt x="19362" y="15809"/>
                  </a:lnTo>
                  <a:cubicBezTo>
                    <a:pt x="19362" y="15809"/>
                    <a:pt x="15021" y="3564"/>
                    <a:pt x="15021" y="3564"/>
                  </a:cubicBezTo>
                  <a:close/>
                  <a:moveTo>
                    <a:pt x="10139" y="2364"/>
                  </a:moveTo>
                  <a:lnTo>
                    <a:pt x="5438" y="3070"/>
                  </a:lnTo>
                  <a:cubicBezTo>
                    <a:pt x="5178" y="3109"/>
                    <a:pt x="5016" y="3278"/>
                    <a:pt x="5076" y="3447"/>
                  </a:cubicBezTo>
                  <a:cubicBezTo>
                    <a:pt x="5136" y="3616"/>
                    <a:pt x="5395" y="3722"/>
                    <a:pt x="5655" y="3683"/>
                  </a:cubicBezTo>
                  <a:lnTo>
                    <a:pt x="10356" y="2976"/>
                  </a:lnTo>
                  <a:cubicBezTo>
                    <a:pt x="10615" y="2937"/>
                    <a:pt x="10777" y="2768"/>
                    <a:pt x="10717" y="2599"/>
                  </a:cubicBezTo>
                  <a:cubicBezTo>
                    <a:pt x="10657" y="2430"/>
                    <a:pt x="10398" y="2325"/>
                    <a:pt x="10139" y="2364"/>
                  </a:cubicBezTo>
                  <a:close/>
                  <a:moveTo>
                    <a:pt x="14119" y="19177"/>
                  </a:moveTo>
                  <a:cubicBezTo>
                    <a:pt x="14897" y="19060"/>
                    <a:pt x="15383" y="18554"/>
                    <a:pt x="15204" y="18046"/>
                  </a:cubicBezTo>
                  <a:cubicBezTo>
                    <a:pt x="15024" y="17539"/>
                    <a:pt x="14246" y="17223"/>
                    <a:pt x="13468" y="17340"/>
                  </a:cubicBezTo>
                  <a:cubicBezTo>
                    <a:pt x="12689" y="17457"/>
                    <a:pt x="12203" y="17963"/>
                    <a:pt x="12383" y="18470"/>
                  </a:cubicBezTo>
                  <a:cubicBezTo>
                    <a:pt x="12563" y="18978"/>
                    <a:pt x="13340" y="19294"/>
                    <a:pt x="14119" y="19177"/>
                  </a:cubicBezTo>
                  <a:close/>
                  <a:moveTo>
                    <a:pt x="19724" y="19624"/>
                  </a:moveTo>
                  <a:lnTo>
                    <a:pt x="8442" y="21320"/>
                  </a:lnTo>
                  <a:cubicBezTo>
                    <a:pt x="7403" y="21476"/>
                    <a:pt x="6367" y="21054"/>
                    <a:pt x="6127" y="20378"/>
                  </a:cubicBezTo>
                  <a:lnTo>
                    <a:pt x="50" y="3235"/>
                  </a:lnTo>
                  <a:cubicBezTo>
                    <a:pt x="-190" y="2559"/>
                    <a:pt x="458" y="1884"/>
                    <a:pt x="1496" y="1728"/>
                  </a:cubicBezTo>
                  <a:lnTo>
                    <a:pt x="12778" y="32"/>
                  </a:lnTo>
                  <a:cubicBezTo>
                    <a:pt x="13817" y="-124"/>
                    <a:pt x="14853" y="298"/>
                    <a:pt x="15093" y="974"/>
                  </a:cubicBezTo>
                  <a:lnTo>
                    <a:pt x="21170" y="18117"/>
                  </a:lnTo>
                  <a:cubicBezTo>
                    <a:pt x="21410" y="18793"/>
                    <a:pt x="20762" y="19468"/>
                    <a:pt x="19724" y="1962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7" name="Shape 34199">
              <a:extLst>
                <a:ext uri="{FF2B5EF4-FFF2-40B4-BE49-F238E27FC236}">
                  <a16:creationId xmlns:a16="http://schemas.microsoft.com/office/drawing/2014/main" xmlns="" id="{7C771643-E070-4FE3-B9CE-491F68FD9580}"/>
                </a:ext>
              </a:extLst>
            </p:cNvPr>
            <p:cNvSpPr/>
            <p:nvPr/>
          </p:nvSpPr>
          <p:spPr>
            <a:xfrm>
              <a:off x="11662409" y="2578131"/>
              <a:ext cx="539930" cy="685716"/>
            </a:xfrm>
            <a:custGeom>
              <a:avLst/>
              <a:gdLst/>
              <a:ahLst/>
              <a:cxnLst>
                <a:cxn ang="0">
                  <a:pos x="wd2" y="hd2"/>
                </a:cxn>
                <a:cxn ang="5400000">
                  <a:pos x="wd2" y="hd2"/>
                </a:cxn>
                <a:cxn ang="10800000">
                  <a:pos x="wd2" y="hd2"/>
                </a:cxn>
                <a:cxn ang="16200000">
                  <a:pos x="wd2" y="hd2"/>
                </a:cxn>
              </a:cxnLst>
              <a:rect l="0" t="0" r="r" b="b"/>
              <a:pathLst>
                <a:path w="21600" h="21600" extrusionOk="0">
                  <a:moveTo>
                    <a:pt x="0" y="837"/>
                  </a:moveTo>
                  <a:lnTo>
                    <a:pt x="1844" y="21600"/>
                  </a:lnTo>
                  <a:lnTo>
                    <a:pt x="21600" y="20512"/>
                  </a:lnTo>
                  <a:lnTo>
                    <a:pt x="20076" y="3352"/>
                  </a:lnTo>
                  <a:lnTo>
                    <a:pt x="15202" y="0"/>
                  </a:lnTo>
                  <a:lnTo>
                    <a:pt x="0" y="837"/>
                  </a:lnTo>
                  <a:close/>
                  <a:moveTo>
                    <a:pt x="6705" y="5273"/>
                  </a:moveTo>
                  <a:lnTo>
                    <a:pt x="13900" y="4876"/>
                  </a:lnTo>
                  <a:lnTo>
                    <a:pt x="13951" y="5450"/>
                  </a:lnTo>
                  <a:lnTo>
                    <a:pt x="6756" y="5846"/>
                  </a:lnTo>
                  <a:lnTo>
                    <a:pt x="6705" y="5273"/>
                  </a:lnTo>
                  <a:close/>
                  <a:moveTo>
                    <a:pt x="3609" y="11120"/>
                  </a:moveTo>
                  <a:lnTo>
                    <a:pt x="18000" y="10328"/>
                  </a:lnTo>
                  <a:lnTo>
                    <a:pt x="18049" y="10884"/>
                  </a:lnTo>
                  <a:lnTo>
                    <a:pt x="3658" y="11677"/>
                  </a:lnTo>
                  <a:lnTo>
                    <a:pt x="3609" y="11120"/>
                  </a:lnTo>
                  <a:close/>
                  <a:moveTo>
                    <a:pt x="3859" y="13936"/>
                  </a:moveTo>
                  <a:lnTo>
                    <a:pt x="18250" y="13144"/>
                  </a:lnTo>
                  <a:lnTo>
                    <a:pt x="18301" y="13717"/>
                  </a:lnTo>
                  <a:lnTo>
                    <a:pt x="3910" y="14509"/>
                  </a:lnTo>
                  <a:lnTo>
                    <a:pt x="3859" y="13936"/>
                  </a:lnTo>
                  <a:close/>
                  <a:moveTo>
                    <a:pt x="4109" y="16753"/>
                  </a:moveTo>
                  <a:lnTo>
                    <a:pt x="11305" y="16357"/>
                  </a:lnTo>
                  <a:lnTo>
                    <a:pt x="11356" y="16930"/>
                  </a:lnTo>
                  <a:lnTo>
                    <a:pt x="4160" y="17326"/>
                  </a:lnTo>
                  <a:lnTo>
                    <a:pt x="4109" y="16753"/>
                  </a:ln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8" name="Shape 34200">
              <a:extLst>
                <a:ext uri="{FF2B5EF4-FFF2-40B4-BE49-F238E27FC236}">
                  <a16:creationId xmlns:a16="http://schemas.microsoft.com/office/drawing/2014/main" xmlns="" id="{0F098E4B-4D08-4D2C-99A0-BAF61DE51F3E}"/>
                </a:ext>
              </a:extLst>
            </p:cNvPr>
            <p:cNvSpPr/>
            <p:nvPr/>
          </p:nvSpPr>
          <p:spPr>
            <a:xfrm>
              <a:off x="12531620" y="6289836"/>
              <a:ext cx="641868" cy="650244"/>
            </a:xfrm>
            <a:custGeom>
              <a:avLst/>
              <a:gdLst/>
              <a:ahLst/>
              <a:cxnLst>
                <a:cxn ang="0">
                  <a:pos x="wd2" y="hd2"/>
                </a:cxn>
                <a:cxn ang="5400000">
                  <a:pos x="wd2" y="hd2"/>
                </a:cxn>
                <a:cxn ang="10800000">
                  <a:pos x="wd2" y="hd2"/>
                </a:cxn>
                <a:cxn ang="16200000">
                  <a:pos x="wd2" y="hd2"/>
                </a:cxn>
              </a:cxnLst>
              <a:rect l="0" t="0" r="r" b="b"/>
              <a:pathLst>
                <a:path w="21273" h="21600" extrusionOk="0">
                  <a:moveTo>
                    <a:pt x="0" y="8656"/>
                  </a:moveTo>
                  <a:lnTo>
                    <a:pt x="3891" y="13472"/>
                  </a:lnTo>
                  <a:cubicBezTo>
                    <a:pt x="3891" y="13472"/>
                    <a:pt x="5113" y="13644"/>
                    <a:pt x="5432" y="12623"/>
                  </a:cubicBezTo>
                  <a:cubicBezTo>
                    <a:pt x="5784" y="11492"/>
                    <a:pt x="7687" y="9934"/>
                    <a:pt x="9148" y="11824"/>
                  </a:cubicBezTo>
                  <a:cubicBezTo>
                    <a:pt x="10609" y="13713"/>
                    <a:pt x="9118" y="15051"/>
                    <a:pt x="7911" y="15308"/>
                  </a:cubicBezTo>
                  <a:cubicBezTo>
                    <a:pt x="6818" y="15541"/>
                    <a:pt x="6446" y="16635"/>
                    <a:pt x="6446" y="16635"/>
                  </a:cubicBezTo>
                  <a:lnTo>
                    <a:pt x="10458" y="21600"/>
                  </a:lnTo>
                  <a:lnTo>
                    <a:pt x="14739" y="18125"/>
                  </a:lnTo>
                  <a:cubicBezTo>
                    <a:pt x="14739" y="18125"/>
                    <a:pt x="14656" y="17235"/>
                    <a:pt x="13766" y="16921"/>
                  </a:cubicBezTo>
                  <a:cubicBezTo>
                    <a:pt x="12685" y="16541"/>
                    <a:pt x="11239" y="14858"/>
                    <a:pt x="13261" y="13217"/>
                  </a:cubicBezTo>
                  <a:cubicBezTo>
                    <a:pt x="15282" y="11577"/>
                    <a:pt x="16620" y="13268"/>
                    <a:pt x="16756" y="14619"/>
                  </a:cubicBezTo>
                  <a:cubicBezTo>
                    <a:pt x="16858" y="15631"/>
                    <a:pt x="17668" y="15748"/>
                    <a:pt x="17668" y="15748"/>
                  </a:cubicBezTo>
                  <a:lnTo>
                    <a:pt x="21273" y="12822"/>
                  </a:lnTo>
                  <a:cubicBezTo>
                    <a:pt x="21273" y="12822"/>
                    <a:pt x="18291" y="9357"/>
                    <a:pt x="17693" y="8295"/>
                  </a:cubicBezTo>
                  <a:cubicBezTo>
                    <a:pt x="17052" y="7158"/>
                    <a:pt x="18759" y="6911"/>
                    <a:pt x="19060" y="6845"/>
                  </a:cubicBezTo>
                  <a:cubicBezTo>
                    <a:pt x="20796" y="6467"/>
                    <a:pt x="21600" y="4760"/>
                    <a:pt x="20175" y="2996"/>
                  </a:cubicBezTo>
                  <a:cubicBezTo>
                    <a:pt x="18749" y="1232"/>
                    <a:pt x="16519" y="2306"/>
                    <a:pt x="16165" y="3733"/>
                  </a:cubicBezTo>
                  <a:cubicBezTo>
                    <a:pt x="15902" y="4793"/>
                    <a:pt x="15415" y="5326"/>
                    <a:pt x="14915" y="4919"/>
                  </a:cubicBezTo>
                  <a:cubicBezTo>
                    <a:pt x="13746" y="3966"/>
                    <a:pt x="10665" y="0"/>
                    <a:pt x="10665" y="0"/>
                  </a:cubicBezTo>
                  <a:lnTo>
                    <a:pt x="7285" y="2743"/>
                  </a:lnTo>
                  <a:cubicBezTo>
                    <a:pt x="7285" y="2743"/>
                    <a:pt x="7256" y="4048"/>
                    <a:pt x="8291" y="4295"/>
                  </a:cubicBezTo>
                  <a:cubicBezTo>
                    <a:pt x="9849" y="4668"/>
                    <a:pt x="10626" y="6514"/>
                    <a:pt x="9021" y="7816"/>
                  </a:cubicBezTo>
                  <a:cubicBezTo>
                    <a:pt x="7417" y="9118"/>
                    <a:pt x="5847" y="8156"/>
                    <a:pt x="5733" y="6515"/>
                  </a:cubicBezTo>
                  <a:cubicBezTo>
                    <a:pt x="5669" y="5595"/>
                    <a:pt x="4421" y="5079"/>
                    <a:pt x="4421" y="5079"/>
                  </a:cubicBezTo>
                  <a:cubicBezTo>
                    <a:pt x="4421" y="5079"/>
                    <a:pt x="0" y="8656"/>
                    <a:pt x="0" y="865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9" name="Shape 34201">
              <a:extLst>
                <a:ext uri="{FF2B5EF4-FFF2-40B4-BE49-F238E27FC236}">
                  <a16:creationId xmlns:a16="http://schemas.microsoft.com/office/drawing/2014/main" xmlns="" id="{B253AE02-6ED9-463F-99AE-D93E94A6D315}"/>
                </a:ext>
              </a:extLst>
            </p:cNvPr>
            <p:cNvSpPr/>
            <p:nvPr/>
          </p:nvSpPr>
          <p:spPr>
            <a:xfrm>
              <a:off x="11981887" y="4201963"/>
              <a:ext cx="441404" cy="383974"/>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0" name="Shape 34202">
              <a:extLst>
                <a:ext uri="{FF2B5EF4-FFF2-40B4-BE49-F238E27FC236}">
                  <a16:creationId xmlns:a16="http://schemas.microsoft.com/office/drawing/2014/main" xmlns="" id="{EC13280B-90A5-4C8B-AD58-CBC589FD7854}"/>
                </a:ext>
              </a:extLst>
            </p:cNvPr>
            <p:cNvSpPr/>
            <p:nvPr/>
          </p:nvSpPr>
          <p:spPr>
            <a:xfrm>
              <a:off x="11678186" y="10413681"/>
              <a:ext cx="681752" cy="44600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1" name="Shape 34203">
              <a:extLst>
                <a:ext uri="{FF2B5EF4-FFF2-40B4-BE49-F238E27FC236}">
                  <a16:creationId xmlns:a16="http://schemas.microsoft.com/office/drawing/2014/main" xmlns="" id="{E25A0770-257E-4B7C-A9E3-39C57AA9629A}"/>
                </a:ext>
              </a:extLst>
            </p:cNvPr>
            <p:cNvSpPr/>
            <p:nvPr/>
          </p:nvSpPr>
          <p:spPr>
            <a:xfrm>
              <a:off x="13517964" y="3878275"/>
              <a:ext cx="745620" cy="528512"/>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2" name="Shape 34204">
              <a:extLst>
                <a:ext uri="{FF2B5EF4-FFF2-40B4-BE49-F238E27FC236}">
                  <a16:creationId xmlns:a16="http://schemas.microsoft.com/office/drawing/2014/main" xmlns="" id="{576D4B15-28D3-4E8B-AC82-F624448A7459}"/>
                </a:ext>
              </a:extLst>
            </p:cNvPr>
            <p:cNvSpPr/>
            <p:nvPr/>
          </p:nvSpPr>
          <p:spPr>
            <a:xfrm>
              <a:off x="10622816" y="11265327"/>
              <a:ext cx="446006" cy="446008"/>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3" name="Shape 34205">
              <a:extLst>
                <a:ext uri="{FF2B5EF4-FFF2-40B4-BE49-F238E27FC236}">
                  <a16:creationId xmlns:a16="http://schemas.microsoft.com/office/drawing/2014/main" xmlns="" id="{32CDE0C5-BE13-4170-9473-6F9AA9813FE6}"/>
                </a:ext>
              </a:extLst>
            </p:cNvPr>
            <p:cNvSpPr/>
            <p:nvPr/>
          </p:nvSpPr>
          <p:spPr>
            <a:xfrm>
              <a:off x="11074336" y="12293991"/>
              <a:ext cx="529370" cy="550146"/>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4" name="Shape 34206">
              <a:extLst>
                <a:ext uri="{FF2B5EF4-FFF2-40B4-BE49-F238E27FC236}">
                  <a16:creationId xmlns:a16="http://schemas.microsoft.com/office/drawing/2014/main" xmlns="" id="{EDBA0528-13C3-4350-99B5-1E35F26E5451}"/>
                </a:ext>
              </a:extLst>
            </p:cNvPr>
            <p:cNvSpPr/>
            <p:nvPr/>
          </p:nvSpPr>
          <p:spPr>
            <a:xfrm>
              <a:off x="10836598" y="8678073"/>
              <a:ext cx="776072" cy="459642"/>
            </a:xfrm>
            <a:custGeom>
              <a:avLst/>
              <a:gdLst/>
              <a:ahLst/>
              <a:cxnLst>
                <a:cxn ang="0">
                  <a:pos x="wd2" y="hd2"/>
                </a:cxn>
                <a:cxn ang="5400000">
                  <a:pos x="wd2" y="hd2"/>
                </a:cxn>
                <a:cxn ang="10800000">
                  <a:pos x="wd2" y="hd2"/>
                </a:cxn>
                <a:cxn ang="16200000">
                  <a:pos x="wd2" y="hd2"/>
                </a:cxn>
              </a:cxnLst>
              <a:rect l="0" t="0" r="r" b="b"/>
              <a:pathLst>
                <a:path w="21428" h="21311" extrusionOk="0">
                  <a:moveTo>
                    <a:pt x="3736" y="4687"/>
                  </a:moveTo>
                  <a:lnTo>
                    <a:pt x="4986" y="19624"/>
                  </a:lnTo>
                  <a:lnTo>
                    <a:pt x="17693" y="16625"/>
                  </a:lnTo>
                  <a:lnTo>
                    <a:pt x="16443" y="1688"/>
                  </a:lnTo>
                  <a:cubicBezTo>
                    <a:pt x="16443" y="1688"/>
                    <a:pt x="3736" y="4687"/>
                    <a:pt x="3736" y="4687"/>
                  </a:cubicBezTo>
                  <a:close/>
                  <a:moveTo>
                    <a:pt x="2231" y="9938"/>
                  </a:moveTo>
                  <a:lnTo>
                    <a:pt x="2678" y="15273"/>
                  </a:lnTo>
                  <a:cubicBezTo>
                    <a:pt x="2702" y="15567"/>
                    <a:pt x="2864" y="15772"/>
                    <a:pt x="3040" y="15731"/>
                  </a:cubicBezTo>
                  <a:cubicBezTo>
                    <a:pt x="3215" y="15690"/>
                    <a:pt x="3338" y="15417"/>
                    <a:pt x="3313" y="15123"/>
                  </a:cubicBezTo>
                  <a:lnTo>
                    <a:pt x="2867" y="9788"/>
                  </a:lnTo>
                  <a:cubicBezTo>
                    <a:pt x="2842" y="9494"/>
                    <a:pt x="2680" y="9288"/>
                    <a:pt x="2504" y="9330"/>
                  </a:cubicBezTo>
                  <a:cubicBezTo>
                    <a:pt x="2329" y="9371"/>
                    <a:pt x="2207" y="9644"/>
                    <a:pt x="2231" y="9938"/>
                  </a:cubicBezTo>
                  <a:close/>
                  <a:moveTo>
                    <a:pt x="19564" y="8023"/>
                  </a:moveTo>
                  <a:cubicBezTo>
                    <a:pt x="19490" y="7140"/>
                    <a:pt x="19004" y="6524"/>
                    <a:pt x="18477" y="6648"/>
                  </a:cubicBezTo>
                  <a:cubicBezTo>
                    <a:pt x="17951" y="6772"/>
                    <a:pt x="17584" y="7590"/>
                    <a:pt x="17658" y="8473"/>
                  </a:cubicBezTo>
                  <a:cubicBezTo>
                    <a:pt x="17732" y="9357"/>
                    <a:pt x="18219" y="9973"/>
                    <a:pt x="18745" y="9849"/>
                  </a:cubicBezTo>
                  <a:cubicBezTo>
                    <a:pt x="19272" y="9724"/>
                    <a:pt x="19638" y="8907"/>
                    <a:pt x="19564" y="8023"/>
                  </a:cubicBezTo>
                  <a:close/>
                  <a:moveTo>
                    <a:pt x="20344" y="1856"/>
                  </a:moveTo>
                  <a:lnTo>
                    <a:pt x="21415" y="14658"/>
                  </a:lnTo>
                  <a:cubicBezTo>
                    <a:pt x="21514" y="15837"/>
                    <a:pt x="21025" y="16926"/>
                    <a:pt x="20323" y="17092"/>
                  </a:cubicBezTo>
                  <a:lnTo>
                    <a:pt x="2533" y="21290"/>
                  </a:lnTo>
                  <a:cubicBezTo>
                    <a:pt x="1832" y="21456"/>
                    <a:pt x="1183" y="20635"/>
                    <a:pt x="1084" y="19456"/>
                  </a:cubicBezTo>
                  <a:lnTo>
                    <a:pt x="13" y="6654"/>
                  </a:lnTo>
                  <a:cubicBezTo>
                    <a:pt x="-86" y="5475"/>
                    <a:pt x="403" y="4386"/>
                    <a:pt x="1105" y="4220"/>
                  </a:cubicBezTo>
                  <a:lnTo>
                    <a:pt x="18895" y="22"/>
                  </a:lnTo>
                  <a:cubicBezTo>
                    <a:pt x="19596" y="-144"/>
                    <a:pt x="20245" y="677"/>
                    <a:pt x="20344" y="1856"/>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5" name="Shape 34207">
              <a:extLst>
                <a:ext uri="{FF2B5EF4-FFF2-40B4-BE49-F238E27FC236}">
                  <a16:creationId xmlns:a16="http://schemas.microsoft.com/office/drawing/2014/main" xmlns="" id="{BD60FA13-9D45-4FC8-A990-5BE94B18FCDC}"/>
                </a:ext>
              </a:extLst>
            </p:cNvPr>
            <p:cNvSpPr/>
            <p:nvPr/>
          </p:nvSpPr>
          <p:spPr>
            <a:xfrm>
              <a:off x="12300451" y="8958670"/>
              <a:ext cx="694132" cy="637746"/>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6" name="Shape 34208">
              <a:extLst>
                <a:ext uri="{FF2B5EF4-FFF2-40B4-BE49-F238E27FC236}">
                  <a16:creationId xmlns:a16="http://schemas.microsoft.com/office/drawing/2014/main" xmlns="" id="{15C9B5C4-35A4-4DBC-BD61-09498275ABA1}"/>
                </a:ext>
              </a:extLst>
            </p:cNvPr>
            <p:cNvSpPr/>
            <p:nvPr/>
          </p:nvSpPr>
          <p:spPr>
            <a:xfrm>
              <a:off x="11569660" y="9038623"/>
              <a:ext cx="297614" cy="32945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7" name="Shape 34209">
              <a:extLst>
                <a:ext uri="{FF2B5EF4-FFF2-40B4-BE49-F238E27FC236}">
                  <a16:creationId xmlns:a16="http://schemas.microsoft.com/office/drawing/2014/main" xmlns="" id="{A680788E-ED47-4FBB-8F44-DEFDEFF39679}"/>
                </a:ext>
              </a:extLst>
            </p:cNvPr>
            <p:cNvSpPr/>
            <p:nvPr/>
          </p:nvSpPr>
          <p:spPr>
            <a:xfrm>
              <a:off x="13028438" y="8411802"/>
              <a:ext cx="415194" cy="47975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8" name="Shape 34210">
              <a:extLst>
                <a:ext uri="{FF2B5EF4-FFF2-40B4-BE49-F238E27FC236}">
                  <a16:creationId xmlns:a16="http://schemas.microsoft.com/office/drawing/2014/main" xmlns="" id="{C902731C-18D4-4FE0-8091-61720FD418F9}"/>
                </a:ext>
              </a:extLst>
            </p:cNvPr>
            <p:cNvSpPr/>
            <p:nvPr/>
          </p:nvSpPr>
          <p:spPr>
            <a:xfrm>
              <a:off x="9694005" y="5957329"/>
              <a:ext cx="377264" cy="351174"/>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9" name="Shape 34211">
              <a:extLst>
                <a:ext uri="{FF2B5EF4-FFF2-40B4-BE49-F238E27FC236}">
                  <a16:creationId xmlns:a16="http://schemas.microsoft.com/office/drawing/2014/main" xmlns="" id="{51970722-AADC-4E30-BC53-FE7856D06466}"/>
                </a:ext>
              </a:extLst>
            </p:cNvPr>
            <p:cNvSpPr/>
            <p:nvPr/>
          </p:nvSpPr>
          <p:spPr>
            <a:xfrm>
              <a:off x="10312910" y="3971892"/>
              <a:ext cx="478390" cy="68402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0" name="Shape 34212">
              <a:extLst>
                <a:ext uri="{FF2B5EF4-FFF2-40B4-BE49-F238E27FC236}">
                  <a16:creationId xmlns:a16="http://schemas.microsoft.com/office/drawing/2014/main" xmlns="" id="{A488FCFE-59AA-4725-97C6-8B40F667A65B}"/>
                </a:ext>
              </a:extLst>
            </p:cNvPr>
            <p:cNvSpPr/>
            <p:nvPr/>
          </p:nvSpPr>
          <p:spPr>
            <a:xfrm>
              <a:off x="9175496" y="3615262"/>
              <a:ext cx="674788" cy="478306"/>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1" name="Shape 34213">
              <a:extLst>
                <a:ext uri="{FF2B5EF4-FFF2-40B4-BE49-F238E27FC236}">
                  <a16:creationId xmlns:a16="http://schemas.microsoft.com/office/drawing/2014/main" xmlns="" id="{E8A0B292-AAA5-42D5-8CD9-F4EA653B4C56}"/>
                </a:ext>
              </a:extLst>
            </p:cNvPr>
            <p:cNvSpPr/>
            <p:nvPr/>
          </p:nvSpPr>
          <p:spPr>
            <a:xfrm>
              <a:off x="14822081" y="4439957"/>
              <a:ext cx="756136" cy="659706"/>
            </a:xfrm>
            <a:custGeom>
              <a:avLst/>
              <a:gdLst/>
              <a:ahLst/>
              <a:cxnLst>
                <a:cxn ang="0">
                  <a:pos x="wd2" y="hd2"/>
                </a:cxn>
                <a:cxn ang="5400000">
                  <a:pos x="wd2" y="hd2"/>
                </a:cxn>
                <a:cxn ang="10800000">
                  <a:pos x="wd2" y="hd2"/>
                </a:cxn>
                <a:cxn ang="16200000">
                  <a:pos x="wd2" y="hd2"/>
                </a:cxn>
              </a:cxnLst>
              <a:rect l="0" t="0" r="r" b="b"/>
              <a:pathLst>
                <a:path w="21600" h="21600" extrusionOk="0">
                  <a:moveTo>
                    <a:pt x="6294" y="3457"/>
                  </a:moveTo>
                  <a:lnTo>
                    <a:pt x="148" y="16086"/>
                  </a:lnTo>
                  <a:lnTo>
                    <a:pt x="0" y="16165"/>
                  </a:lnTo>
                  <a:lnTo>
                    <a:pt x="1008" y="21600"/>
                  </a:lnTo>
                  <a:lnTo>
                    <a:pt x="10415" y="19280"/>
                  </a:lnTo>
                  <a:lnTo>
                    <a:pt x="10816" y="21443"/>
                  </a:lnTo>
                  <a:lnTo>
                    <a:pt x="12402" y="20369"/>
                  </a:lnTo>
                  <a:lnTo>
                    <a:pt x="14220" y="20613"/>
                  </a:lnTo>
                  <a:lnTo>
                    <a:pt x="13819" y="18450"/>
                  </a:lnTo>
                  <a:lnTo>
                    <a:pt x="17113" y="17634"/>
                  </a:lnTo>
                  <a:lnTo>
                    <a:pt x="17471" y="17546"/>
                  </a:lnTo>
                  <a:lnTo>
                    <a:pt x="21600" y="5952"/>
                  </a:lnTo>
                  <a:lnTo>
                    <a:pt x="20486" y="14"/>
                  </a:lnTo>
                  <a:cubicBezTo>
                    <a:pt x="20486" y="14"/>
                    <a:pt x="20484" y="0"/>
                    <a:pt x="20484" y="0"/>
                  </a:cubicBezTo>
                  <a:lnTo>
                    <a:pt x="6294" y="3457"/>
                  </a:lnTo>
                  <a:close/>
                  <a:moveTo>
                    <a:pt x="19860" y="1754"/>
                  </a:moveTo>
                  <a:cubicBezTo>
                    <a:pt x="19941" y="2188"/>
                    <a:pt x="20020" y="2621"/>
                    <a:pt x="20101" y="3055"/>
                  </a:cubicBezTo>
                  <a:cubicBezTo>
                    <a:pt x="20278" y="3996"/>
                    <a:pt x="20448" y="4934"/>
                    <a:pt x="20624" y="5875"/>
                  </a:cubicBezTo>
                  <a:lnTo>
                    <a:pt x="16762" y="16617"/>
                  </a:lnTo>
                  <a:lnTo>
                    <a:pt x="13623" y="17396"/>
                  </a:lnTo>
                  <a:lnTo>
                    <a:pt x="13219" y="15220"/>
                  </a:lnTo>
                  <a:cubicBezTo>
                    <a:pt x="13219" y="15220"/>
                    <a:pt x="9815" y="16049"/>
                    <a:pt x="9815" y="16049"/>
                  </a:cubicBezTo>
                  <a:lnTo>
                    <a:pt x="10222" y="18239"/>
                  </a:lnTo>
                  <a:lnTo>
                    <a:pt x="1723" y="20338"/>
                  </a:lnTo>
                  <a:lnTo>
                    <a:pt x="908" y="15944"/>
                  </a:lnTo>
                  <a:lnTo>
                    <a:pt x="16076" y="12248"/>
                  </a:lnTo>
                  <a:cubicBezTo>
                    <a:pt x="16076" y="12249"/>
                    <a:pt x="18931" y="4332"/>
                    <a:pt x="19860" y="1754"/>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2" name="Shape 34214">
              <a:extLst>
                <a:ext uri="{FF2B5EF4-FFF2-40B4-BE49-F238E27FC236}">
                  <a16:creationId xmlns:a16="http://schemas.microsoft.com/office/drawing/2014/main" xmlns="" id="{4A4372C6-C4FE-4AFA-B3D1-32564B0FD1A6}"/>
                </a:ext>
              </a:extLst>
            </p:cNvPr>
            <p:cNvSpPr/>
            <p:nvPr/>
          </p:nvSpPr>
          <p:spPr>
            <a:xfrm>
              <a:off x="12406836" y="10620127"/>
              <a:ext cx="516758" cy="57204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3" name="Shape 34215">
              <a:extLst>
                <a:ext uri="{FF2B5EF4-FFF2-40B4-BE49-F238E27FC236}">
                  <a16:creationId xmlns:a16="http://schemas.microsoft.com/office/drawing/2014/main" xmlns="" id="{DAE39B9D-2F7C-47E9-9F8B-5362E469F2AE}"/>
                </a:ext>
              </a:extLst>
            </p:cNvPr>
            <p:cNvSpPr/>
            <p:nvPr/>
          </p:nvSpPr>
          <p:spPr>
            <a:xfrm>
              <a:off x="15192453" y="5780593"/>
              <a:ext cx="475406" cy="475406"/>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84" name="Shape 34216">
              <a:extLst>
                <a:ext uri="{FF2B5EF4-FFF2-40B4-BE49-F238E27FC236}">
                  <a16:creationId xmlns:a16="http://schemas.microsoft.com/office/drawing/2014/main" xmlns="" id="{66C8D13A-91C6-4EFC-96C9-3DE28873AA92}"/>
                </a:ext>
              </a:extLst>
            </p:cNvPr>
            <p:cNvSpPr/>
            <p:nvPr/>
          </p:nvSpPr>
          <p:spPr>
            <a:xfrm>
              <a:off x="11916931" y="8191128"/>
              <a:ext cx="792292" cy="544702"/>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20097" tIns="20097" rIns="20097" bIns="20097" numCol="1" anchor="b">
              <a:noAutofit/>
            </a:bodyPr>
            <a:lstStyle/>
            <a:p>
              <a:endParaRPr lang="en-GB" sz="1899" dirty="0">
                <a:latin typeface="Lato Light" panose="020F0502020204030203" pitchFamily="34" charset="0"/>
              </a:endParaRPr>
            </a:p>
          </p:txBody>
        </p:sp>
        <p:sp>
          <p:nvSpPr>
            <p:cNvPr id="85" name="Shape 34217">
              <a:extLst>
                <a:ext uri="{FF2B5EF4-FFF2-40B4-BE49-F238E27FC236}">
                  <a16:creationId xmlns:a16="http://schemas.microsoft.com/office/drawing/2014/main" xmlns="" id="{99095A6D-AEAF-425A-8A09-FF5027B399A8}"/>
                </a:ext>
              </a:extLst>
            </p:cNvPr>
            <p:cNvSpPr/>
            <p:nvPr/>
          </p:nvSpPr>
          <p:spPr>
            <a:xfrm>
              <a:off x="12395335" y="3740451"/>
              <a:ext cx="693544" cy="915782"/>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accent1"/>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86" name="Shape 34218">
              <a:extLst>
                <a:ext uri="{FF2B5EF4-FFF2-40B4-BE49-F238E27FC236}">
                  <a16:creationId xmlns:a16="http://schemas.microsoft.com/office/drawing/2014/main" xmlns="" id="{63CF0543-3E08-41A7-9429-53A4FF9F7128}"/>
                </a:ext>
              </a:extLst>
            </p:cNvPr>
            <p:cNvSpPr/>
            <p:nvPr/>
          </p:nvSpPr>
          <p:spPr>
            <a:xfrm>
              <a:off x="11932702" y="12638103"/>
              <a:ext cx="408708" cy="303434"/>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837" y="8637"/>
                  </a:lnTo>
                  <a:lnTo>
                    <a:pt x="17837" y="12781"/>
                  </a:lnTo>
                  <a:cubicBezTo>
                    <a:pt x="17837" y="13798"/>
                    <a:pt x="17539" y="14723"/>
                    <a:pt x="17049" y="15392"/>
                  </a:cubicBezTo>
                  <a:cubicBezTo>
                    <a:pt x="16550" y="16075"/>
                    <a:pt x="15855" y="16492"/>
                    <a:pt x="15079" y="16478"/>
                  </a:cubicBezTo>
                  <a:lnTo>
                    <a:pt x="9158" y="16478"/>
                  </a:lnTo>
                  <a:lnTo>
                    <a:pt x="9158" y="17810"/>
                  </a:lnTo>
                  <a:cubicBezTo>
                    <a:pt x="9158" y="18368"/>
                    <a:pt x="9328" y="18874"/>
                    <a:pt x="9602" y="19240"/>
                  </a:cubicBezTo>
                  <a:cubicBezTo>
                    <a:pt x="9876" y="19606"/>
                    <a:pt x="10255" y="19832"/>
                    <a:pt x="10673" y="19832"/>
                  </a:cubicBezTo>
                  <a:lnTo>
                    <a:pt x="16728" y="19832"/>
                  </a:lnTo>
                  <a:lnTo>
                    <a:pt x="19181" y="21600"/>
                  </a:lnTo>
                  <a:lnTo>
                    <a:pt x="19181" y="19832"/>
                  </a:lnTo>
                  <a:lnTo>
                    <a:pt x="20085" y="19832"/>
                  </a:lnTo>
                  <a:cubicBezTo>
                    <a:pt x="20503" y="19832"/>
                    <a:pt x="20882" y="19606"/>
                    <a:pt x="21156" y="19240"/>
                  </a:cubicBezTo>
                  <a:cubicBezTo>
                    <a:pt x="21430" y="18874"/>
                    <a:pt x="21600" y="18368"/>
                    <a:pt x="21600" y="17810"/>
                  </a:cubicBezTo>
                  <a:lnTo>
                    <a:pt x="21600" y="10554"/>
                  </a:lnTo>
                  <a:cubicBezTo>
                    <a:pt x="21600" y="9996"/>
                    <a:pt x="21430" y="9490"/>
                    <a:pt x="21156" y="9125"/>
                  </a:cubicBezTo>
                  <a:cubicBezTo>
                    <a:pt x="20882" y="8759"/>
                    <a:pt x="20503" y="8532"/>
                    <a:pt x="20085" y="8532"/>
                  </a:cubicBezTo>
                  <a:close/>
                  <a:moveTo>
                    <a:pt x="6912" y="15450"/>
                  </a:moveTo>
                  <a:lnTo>
                    <a:pt x="6689" y="15450"/>
                  </a:lnTo>
                  <a:lnTo>
                    <a:pt x="2592" y="18372"/>
                  </a:lnTo>
                  <a:lnTo>
                    <a:pt x="2592" y="15450"/>
                  </a:lnTo>
                  <a:lnTo>
                    <a:pt x="2074" y="15450"/>
                  </a:lnTo>
                  <a:cubicBezTo>
                    <a:pt x="1501" y="15450"/>
                    <a:pt x="983" y="15141"/>
                    <a:pt x="607" y="14640"/>
                  </a:cubicBezTo>
                  <a:cubicBezTo>
                    <a:pt x="232" y="14139"/>
                    <a:pt x="0" y="13447"/>
                    <a:pt x="0" y="12683"/>
                  </a:cubicBezTo>
                  <a:lnTo>
                    <a:pt x="0" y="2767"/>
                  </a:lnTo>
                  <a:cubicBezTo>
                    <a:pt x="0" y="2003"/>
                    <a:pt x="232" y="1311"/>
                    <a:pt x="607" y="811"/>
                  </a:cubicBezTo>
                  <a:cubicBezTo>
                    <a:pt x="983" y="310"/>
                    <a:pt x="1501" y="0"/>
                    <a:pt x="2074" y="0"/>
                  </a:cubicBezTo>
                  <a:lnTo>
                    <a:pt x="15034" y="0"/>
                  </a:lnTo>
                  <a:cubicBezTo>
                    <a:pt x="15606" y="0"/>
                    <a:pt x="16125" y="310"/>
                    <a:pt x="16500" y="811"/>
                  </a:cubicBezTo>
                  <a:cubicBezTo>
                    <a:pt x="16875" y="1311"/>
                    <a:pt x="17107" y="2003"/>
                    <a:pt x="17107" y="2767"/>
                  </a:cubicBezTo>
                  <a:lnTo>
                    <a:pt x="17107" y="4381"/>
                  </a:lnTo>
                  <a:lnTo>
                    <a:pt x="17107" y="8532"/>
                  </a:lnTo>
                  <a:lnTo>
                    <a:pt x="17107" y="12676"/>
                  </a:lnTo>
                  <a:cubicBezTo>
                    <a:pt x="17107" y="13441"/>
                    <a:pt x="16886" y="14134"/>
                    <a:pt x="16522" y="14637"/>
                  </a:cubicBezTo>
                  <a:cubicBezTo>
                    <a:pt x="16159" y="15139"/>
                    <a:pt x="15651" y="15450"/>
                    <a:pt x="15079" y="15450"/>
                  </a:cubicBezTo>
                  <a:lnTo>
                    <a:pt x="9158" y="15450"/>
                  </a:lnTo>
                  <a:lnTo>
                    <a:pt x="6912" y="15450"/>
                  </a:ln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87" name="Shape 34219">
              <a:extLst>
                <a:ext uri="{FF2B5EF4-FFF2-40B4-BE49-F238E27FC236}">
                  <a16:creationId xmlns:a16="http://schemas.microsoft.com/office/drawing/2014/main" xmlns="" id="{D52BC69C-389B-4A25-B845-F8BD218CF337}"/>
                </a:ext>
              </a:extLst>
            </p:cNvPr>
            <p:cNvSpPr/>
            <p:nvPr/>
          </p:nvSpPr>
          <p:spPr>
            <a:xfrm>
              <a:off x="11196245" y="10659511"/>
              <a:ext cx="389798" cy="479750"/>
            </a:xfrm>
            <a:custGeom>
              <a:avLst/>
              <a:gdLst/>
              <a:ahLst/>
              <a:cxnLst>
                <a:cxn ang="0">
                  <a:pos x="wd2" y="hd2"/>
                </a:cxn>
                <a:cxn ang="5400000">
                  <a:pos x="wd2" y="hd2"/>
                </a:cxn>
                <a:cxn ang="10800000">
                  <a:pos x="wd2" y="hd2"/>
                </a:cxn>
                <a:cxn ang="16200000">
                  <a:pos x="wd2" y="hd2"/>
                </a:cxn>
              </a:cxnLst>
              <a:rect l="0" t="0" r="r" b="b"/>
              <a:pathLst>
                <a:path w="21600" h="21600" extrusionOk="0">
                  <a:moveTo>
                    <a:pt x="831" y="0"/>
                  </a:moveTo>
                  <a:cubicBezTo>
                    <a:pt x="372" y="0"/>
                    <a:pt x="0" y="302"/>
                    <a:pt x="0" y="675"/>
                  </a:cubicBezTo>
                  <a:cubicBezTo>
                    <a:pt x="0" y="1048"/>
                    <a:pt x="372" y="1350"/>
                    <a:pt x="831" y="1350"/>
                  </a:cubicBezTo>
                  <a:lnTo>
                    <a:pt x="20769" y="1350"/>
                  </a:lnTo>
                  <a:cubicBezTo>
                    <a:pt x="21228" y="1350"/>
                    <a:pt x="21600" y="1048"/>
                    <a:pt x="21600" y="675"/>
                  </a:cubicBezTo>
                  <a:cubicBezTo>
                    <a:pt x="21600" y="302"/>
                    <a:pt x="21228" y="0"/>
                    <a:pt x="20769" y="0"/>
                  </a:cubicBezTo>
                  <a:lnTo>
                    <a:pt x="831" y="0"/>
                  </a:lnTo>
                  <a:close/>
                  <a:moveTo>
                    <a:pt x="831" y="2025"/>
                  </a:moveTo>
                  <a:lnTo>
                    <a:pt x="831" y="15525"/>
                  </a:lnTo>
                  <a:cubicBezTo>
                    <a:pt x="831" y="15525"/>
                    <a:pt x="20769" y="15525"/>
                    <a:pt x="20769" y="15525"/>
                  </a:cubicBezTo>
                  <a:lnTo>
                    <a:pt x="20769" y="2025"/>
                  </a:lnTo>
                  <a:lnTo>
                    <a:pt x="831" y="2025"/>
                  </a:lnTo>
                  <a:close/>
                  <a:moveTo>
                    <a:pt x="15785" y="4050"/>
                  </a:moveTo>
                  <a:lnTo>
                    <a:pt x="18277" y="4050"/>
                  </a:lnTo>
                  <a:cubicBezTo>
                    <a:pt x="18277" y="4050"/>
                    <a:pt x="18277" y="13500"/>
                    <a:pt x="18277" y="13500"/>
                  </a:cubicBezTo>
                  <a:lnTo>
                    <a:pt x="15785" y="13500"/>
                  </a:lnTo>
                  <a:lnTo>
                    <a:pt x="15785" y="4050"/>
                  </a:lnTo>
                  <a:close/>
                  <a:moveTo>
                    <a:pt x="7477" y="6750"/>
                  </a:moveTo>
                  <a:lnTo>
                    <a:pt x="9969" y="6750"/>
                  </a:lnTo>
                  <a:cubicBezTo>
                    <a:pt x="9969" y="6750"/>
                    <a:pt x="9969" y="13500"/>
                    <a:pt x="9969" y="13500"/>
                  </a:cubicBezTo>
                  <a:lnTo>
                    <a:pt x="7477" y="13500"/>
                  </a:lnTo>
                  <a:lnTo>
                    <a:pt x="7477" y="6750"/>
                  </a:lnTo>
                  <a:close/>
                  <a:moveTo>
                    <a:pt x="11631" y="8775"/>
                  </a:moveTo>
                  <a:lnTo>
                    <a:pt x="14123" y="8775"/>
                  </a:lnTo>
                  <a:cubicBezTo>
                    <a:pt x="14123" y="8775"/>
                    <a:pt x="14123" y="13500"/>
                    <a:pt x="14123" y="13500"/>
                  </a:cubicBezTo>
                  <a:lnTo>
                    <a:pt x="11631" y="13500"/>
                  </a:lnTo>
                  <a:lnTo>
                    <a:pt x="11631" y="8775"/>
                  </a:lnTo>
                  <a:close/>
                  <a:moveTo>
                    <a:pt x="3323" y="10800"/>
                  </a:moveTo>
                  <a:lnTo>
                    <a:pt x="5815" y="10800"/>
                  </a:lnTo>
                  <a:cubicBezTo>
                    <a:pt x="5815" y="10800"/>
                    <a:pt x="5815" y="13500"/>
                    <a:pt x="5815" y="13500"/>
                  </a:cubicBezTo>
                  <a:lnTo>
                    <a:pt x="3323" y="13500"/>
                  </a:lnTo>
                  <a:lnTo>
                    <a:pt x="3323" y="10800"/>
                  </a:lnTo>
                  <a:close/>
                  <a:moveTo>
                    <a:pt x="3323" y="16200"/>
                  </a:moveTo>
                  <a:lnTo>
                    <a:pt x="1662" y="21600"/>
                  </a:lnTo>
                  <a:lnTo>
                    <a:pt x="3323" y="21600"/>
                  </a:lnTo>
                  <a:lnTo>
                    <a:pt x="4985" y="16200"/>
                  </a:lnTo>
                  <a:cubicBezTo>
                    <a:pt x="4985" y="16200"/>
                    <a:pt x="3323" y="16200"/>
                    <a:pt x="3323" y="16200"/>
                  </a:cubicBezTo>
                  <a:close/>
                  <a:moveTo>
                    <a:pt x="9969" y="16200"/>
                  </a:moveTo>
                  <a:lnTo>
                    <a:pt x="9969" y="21600"/>
                  </a:lnTo>
                  <a:lnTo>
                    <a:pt x="11615" y="21600"/>
                  </a:lnTo>
                  <a:cubicBezTo>
                    <a:pt x="11615" y="21600"/>
                    <a:pt x="11631" y="16200"/>
                    <a:pt x="11631" y="16200"/>
                  </a:cubicBezTo>
                  <a:lnTo>
                    <a:pt x="9969" y="16200"/>
                  </a:lnTo>
                  <a:close/>
                  <a:moveTo>
                    <a:pt x="16615" y="16200"/>
                  </a:moveTo>
                  <a:lnTo>
                    <a:pt x="18277" y="21600"/>
                  </a:lnTo>
                  <a:lnTo>
                    <a:pt x="19938" y="21600"/>
                  </a:lnTo>
                  <a:cubicBezTo>
                    <a:pt x="19938" y="21600"/>
                    <a:pt x="18277" y="16200"/>
                    <a:pt x="18277" y="16200"/>
                  </a:cubicBezTo>
                  <a:lnTo>
                    <a:pt x="16615" y="1620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8" name="Shape 34220">
              <a:extLst>
                <a:ext uri="{FF2B5EF4-FFF2-40B4-BE49-F238E27FC236}">
                  <a16:creationId xmlns:a16="http://schemas.microsoft.com/office/drawing/2014/main" xmlns="" id="{B6A616F0-7ED6-4CAE-B0CC-DB76B0AE752E}"/>
                </a:ext>
              </a:extLst>
            </p:cNvPr>
            <p:cNvSpPr/>
            <p:nvPr/>
          </p:nvSpPr>
          <p:spPr>
            <a:xfrm>
              <a:off x="12966575" y="6806559"/>
              <a:ext cx="589416" cy="778290"/>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89" name="Shape 34221">
              <a:extLst>
                <a:ext uri="{FF2B5EF4-FFF2-40B4-BE49-F238E27FC236}">
                  <a16:creationId xmlns:a16="http://schemas.microsoft.com/office/drawing/2014/main" xmlns="" id="{7F6E6537-1439-4DE7-84A4-A510B3D25C05}"/>
                </a:ext>
              </a:extLst>
            </p:cNvPr>
            <p:cNvSpPr/>
            <p:nvPr/>
          </p:nvSpPr>
          <p:spPr>
            <a:xfrm>
              <a:off x="11922329" y="9268053"/>
              <a:ext cx="476450" cy="629124"/>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90" name="Shape 34222">
              <a:extLst>
                <a:ext uri="{FF2B5EF4-FFF2-40B4-BE49-F238E27FC236}">
                  <a16:creationId xmlns:a16="http://schemas.microsoft.com/office/drawing/2014/main" xmlns="" id="{D4702A2E-C435-4D5F-AFD5-3E57FA03685C}"/>
                </a:ext>
              </a:extLst>
            </p:cNvPr>
            <p:cNvSpPr/>
            <p:nvPr/>
          </p:nvSpPr>
          <p:spPr>
            <a:xfrm>
              <a:off x="11993787" y="10946019"/>
              <a:ext cx="447534" cy="447468"/>
            </a:xfrm>
            <a:custGeom>
              <a:avLst/>
              <a:gdLst/>
              <a:ahLst/>
              <a:cxnLst>
                <a:cxn ang="0">
                  <a:pos x="wd2" y="hd2"/>
                </a:cxn>
                <a:cxn ang="5400000">
                  <a:pos x="wd2" y="hd2"/>
                </a:cxn>
                <a:cxn ang="10800000">
                  <a:pos x="wd2" y="hd2"/>
                </a:cxn>
                <a:cxn ang="16200000">
                  <a:pos x="wd2" y="hd2"/>
                </a:cxn>
              </a:cxnLst>
              <a:rect l="0" t="0" r="r" b="b"/>
              <a:pathLst>
                <a:path w="21317" h="21317" extrusionOk="0">
                  <a:moveTo>
                    <a:pt x="7792" y="27"/>
                  </a:moveTo>
                  <a:cubicBezTo>
                    <a:pt x="7372" y="141"/>
                    <a:pt x="7122" y="573"/>
                    <a:pt x="7234" y="993"/>
                  </a:cubicBezTo>
                  <a:lnTo>
                    <a:pt x="7836" y="3244"/>
                  </a:lnTo>
                  <a:cubicBezTo>
                    <a:pt x="8357" y="3022"/>
                    <a:pt x="8864" y="2878"/>
                    <a:pt x="9346" y="2789"/>
                  </a:cubicBezTo>
                  <a:lnTo>
                    <a:pt x="8758" y="585"/>
                  </a:lnTo>
                  <a:cubicBezTo>
                    <a:pt x="8645" y="164"/>
                    <a:pt x="8213" y="-85"/>
                    <a:pt x="7792" y="27"/>
                  </a:cubicBezTo>
                  <a:close/>
                  <a:moveTo>
                    <a:pt x="13442" y="41"/>
                  </a:moveTo>
                  <a:cubicBezTo>
                    <a:pt x="13020" y="-71"/>
                    <a:pt x="12588" y="179"/>
                    <a:pt x="12475" y="600"/>
                  </a:cubicBezTo>
                  <a:lnTo>
                    <a:pt x="11888" y="2784"/>
                  </a:lnTo>
                  <a:cubicBezTo>
                    <a:pt x="12441" y="2878"/>
                    <a:pt x="12949" y="3027"/>
                    <a:pt x="13408" y="3203"/>
                  </a:cubicBezTo>
                  <a:lnTo>
                    <a:pt x="13998" y="1007"/>
                  </a:lnTo>
                  <a:cubicBezTo>
                    <a:pt x="14110" y="585"/>
                    <a:pt x="13862" y="154"/>
                    <a:pt x="13442" y="41"/>
                  </a:cubicBezTo>
                  <a:close/>
                  <a:moveTo>
                    <a:pt x="585" y="12411"/>
                  </a:moveTo>
                  <a:cubicBezTo>
                    <a:pt x="164" y="12524"/>
                    <a:pt x="-86" y="12956"/>
                    <a:pt x="27" y="13377"/>
                  </a:cubicBezTo>
                  <a:cubicBezTo>
                    <a:pt x="139" y="13798"/>
                    <a:pt x="571" y="14047"/>
                    <a:pt x="992" y="13934"/>
                  </a:cubicBezTo>
                  <a:lnTo>
                    <a:pt x="3181" y="13347"/>
                  </a:lnTo>
                  <a:cubicBezTo>
                    <a:pt x="3009" y="12885"/>
                    <a:pt x="2865" y="12376"/>
                    <a:pt x="2775" y="11823"/>
                  </a:cubicBezTo>
                  <a:cubicBezTo>
                    <a:pt x="2775" y="11823"/>
                    <a:pt x="585" y="12411"/>
                    <a:pt x="585" y="12411"/>
                  </a:cubicBezTo>
                  <a:close/>
                  <a:moveTo>
                    <a:pt x="1013" y="7169"/>
                  </a:moveTo>
                  <a:cubicBezTo>
                    <a:pt x="592" y="7056"/>
                    <a:pt x="160" y="7306"/>
                    <a:pt x="47" y="7727"/>
                  </a:cubicBezTo>
                  <a:cubicBezTo>
                    <a:pt x="-66" y="8148"/>
                    <a:pt x="184" y="8580"/>
                    <a:pt x="604" y="8692"/>
                  </a:cubicBezTo>
                  <a:lnTo>
                    <a:pt x="2805" y="9281"/>
                  </a:lnTo>
                  <a:cubicBezTo>
                    <a:pt x="2896" y="8799"/>
                    <a:pt x="3046" y="8293"/>
                    <a:pt x="3273" y="7773"/>
                  </a:cubicBezTo>
                  <a:cubicBezTo>
                    <a:pt x="3273" y="7773"/>
                    <a:pt x="1013" y="7169"/>
                    <a:pt x="1013" y="7169"/>
                  </a:cubicBezTo>
                  <a:close/>
                  <a:moveTo>
                    <a:pt x="2889" y="2841"/>
                  </a:moveTo>
                  <a:cubicBezTo>
                    <a:pt x="2581" y="3148"/>
                    <a:pt x="2580" y="3648"/>
                    <a:pt x="2888" y="3956"/>
                  </a:cubicBezTo>
                  <a:lnTo>
                    <a:pt x="4607" y="5675"/>
                  </a:lnTo>
                  <a:cubicBezTo>
                    <a:pt x="4732" y="5529"/>
                    <a:pt x="5572" y="4695"/>
                    <a:pt x="5727" y="4563"/>
                  </a:cubicBezTo>
                  <a:lnTo>
                    <a:pt x="4004" y="2840"/>
                  </a:lnTo>
                  <a:cubicBezTo>
                    <a:pt x="3696" y="2532"/>
                    <a:pt x="3197" y="2533"/>
                    <a:pt x="2889" y="2841"/>
                  </a:cubicBezTo>
                  <a:close/>
                  <a:moveTo>
                    <a:pt x="15285" y="5439"/>
                  </a:moveTo>
                  <a:cubicBezTo>
                    <a:pt x="13524" y="3930"/>
                    <a:pt x="9472" y="2164"/>
                    <a:pt x="5822" y="5814"/>
                  </a:cubicBezTo>
                  <a:cubicBezTo>
                    <a:pt x="5821" y="5815"/>
                    <a:pt x="5821" y="5815"/>
                    <a:pt x="5821" y="5816"/>
                  </a:cubicBezTo>
                  <a:cubicBezTo>
                    <a:pt x="5820" y="5816"/>
                    <a:pt x="5819" y="5817"/>
                    <a:pt x="5819" y="5817"/>
                  </a:cubicBezTo>
                  <a:cubicBezTo>
                    <a:pt x="5819" y="5818"/>
                    <a:pt x="5818" y="5818"/>
                    <a:pt x="5818" y="5819"/>
                  </a:cubicBezTo>
                  <a:cubicBezTo>
                    <a:pt x="5817" y="5819"/>
                    <a:pt x="5817" y="5820"/>
                    <a:pt x="5816" y="5820"/>
                  </a:cubicBezTo>
                  <a:cubicBezTo>
                    <a:pt x="2166" y="9471"/>
                    <a:pt x="3932" y="13524"/>
                    <a:pt x="5440" y="15285"/>
                  </a:cubicBezTo>
                  <a:cubicBezTo>
                    <a:pt x="6807" y="16868"/>
                    <a:pt x="9202" y="17222"/>
                    <a:pt x="9535" y="17322"/>
                  </a:cubicBezTo>
                  <a:cubicBezTo>
                    <a:pt x="10076" y="17484"/>
                    <a:pt x="12612" y="17632"/>
                    <a:pt x="13467" y="18402"/>
                  </a:cubicBezTo>
                  <a:cubicBezTo>
                    <a:pt x="14644" y="19461"/>
                    <a:pt x="14810" y="19354"/>
                    <a:pt x="15487" y="18942"/>
                  </a:cubicBezTo>
                  <a:cubicBezTo>
                    <a:pt x="16178" y="18522"/>
                    <a:pt x="18522" y="16178"/>
                    <a:pt x="18942" y="15487"/>
                  </a:cubicBezTo>
                  <a:cubicBezTo>
                    <a:pt x="19354" y="14810"/>
                    <a:pt x="19461" y="14644"/>
                    <a:pt x="18401" y="13467"/>
                  </a:cubicBezTo>
                  <a:cubicBezTo>
                    <a:pt x="17632" y="12612"/>
                    <a:pt x="17484" y="10075"/>
                    <a:pt x="17321" y="9534"/>
                  </a:cubicBezTo>
                  <a:cubicBezTo>
                    <a:pt x="17222" y="9201"/>
                    <a:pt x="16868" y="6805"/>
                    <a:pt x="15285" y="5439"/>
                  </a:cubicBezTo>
                  <a:close/>
                  <a:moveTo>
                    <a:pt x="20706" y="16780"/>
                  </a:moveTo>
                  <a:cubicBezTo>
                    <a:pt x="20530" y="16603"/>
                    <a:pt x="20243" y="16603"/>
                    <a:pt x="20066" y="16780"/>
                  </a:cubicBezTo>
                  <a:lnTo>
                    <a:pt x="16780" y="20067"/>
                  </a:lnTo>
                  <a:cubicBezTo>
                    <a:pt x="16603" y="20244"/>
                    <a:pt x="16603" y="20531"/>
                    <a:pt x="16780" y="20707"/>
                  </a:cubicBezTo>
                  <a:lnTo>
                    <a:pt x="16780" y="20707"/>
                  </a:lnTo>
                  <a:cubicBezTo>
                    <a:pt x="16956" y="20884"/>
                    <a:pt x="17243" y="20884"/>
                    <a:pt x="17419" y="20707"/>
                  </a:cubicBezTo>
                  <a:lnTo>
                    <a:pt x="20706" y="17420"/>
                  </a:lnTo>
                  <a:cubicBezTo>
                    <a:pt x="20883" y="17243"/>
                    <a:pt x="20883" y="16956"/>
                    <a:pt x="20706" y="16780"/>
                  </a:cubicBezTo>
                  <a:cubicBezTo>
                    <a:pt x="20706" y="16780"/>
                    <a:pt x="20706" y="16780"/>
                    <a:pt x="20706" y="16780"/>
                  </a:cubicBezTo>
                  <a:close/>
                  <a:moveTo>
                    <a:pt x="19833" y="15906"/>
                  </a:moveTo>
                  <a:cubicBezTo>
                    <a:pt x="19656" y="15729"/>
                    <a:pt x="19370" y="15730"/>
                    <a:pt x="19193" y="15906"/>
                  </a:cubicBezTo>
                  <a:lnTo>
                    <a:pt x="15906" y="19194"/>
                  </a:lnTo>
                  <a:cubicBezTo>
                    <a:pt x="15729" y="19370"/>
                    <a:pt x="15729" y="19657"/>
                    <a:pt x="15906" y="19833"/>
                  </a:cubicBezTo>
                  <a:lnTo>
                    <a:pt x="15906" y="19833"/>
                  </a:lnTo>
                  <a:cubicBezTo>
                    <a:pt x="16082" y="20010"/>
                    <a:pt x="16369" y="20010"/>
                    <a:pt x="16546" y="19833"/>
                  </a:cubicBezTo>
                  <a:lnTo>
                    <a:pt x="19833" y="16546"/>
                  </a:lnTo>
                  <a:cubicBezTo>
                    <a:pt x="20009" y="16369"/>
                    <a:pt x="20009" y="16083"/>
                    <a:pt x="19833" y="15906"/>
                  </a:cubicBezTo>
                  <a:cubicBezTo>
                    <a:pt x="19833" y="15906"/>
                    <a:pt x="19833" y="15906"/>
                    <a:pt x="19833" y="15906"/>
                  </a:cubicBezTo>
                  <a:close/>
                  <a:moveTo>
                    <a:pt x="17867" y="20727"/>
                  </a:moveTo>
                  <a:lnTo>
                    <a:pt x="20726" y="17867"/>
                  </a:lnTo>
                  <a:cubicBezTo>
                    <a:pt x="21514" y="18656"/>
                    <a:pt x="21513" y="19935"/>
                    <a:pt x="20724" y="20724"/>
                  </a:cubicBezTo>
                  <a:cubicBezTo>
                    <a:pt x="19934" y="21514"/>
                    <a:pt x="18655" y="21515"/>
                    <a:pt x="17867" y="20727"/>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91" name="Shape 34223">
              <a:extLst>
                <a:ext uri="{FF2B5EF4-FFF2-40B4-BE49-F238E27FC236}">
                  <a16:creationId xmlns:a16="http://schemas.microsoft.com/office/drawing/2014/main" xmlns="" id="{05C1EE90-099E-48F3-9D7B-D59AA2DC68A8}"/>
                </a:ext>
              </a:extLst>
            </p:cNvPr>
            <p:cNvSpPr/>
            <p:nvPr/>
          </p:nvSpPr>
          <p:spPr>
            <a:xfrm>
              <a:off x="11828592" y="12064076"/>
              <a:ext cx="446404" cy="410140"/>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2" name="Shape 34224">
              <a:extLst>
                <a:ext uri="{FF2B5EF4-FFF2-40B4-BE49-F238E27FC236}">
                  <a16:creationId xmlns:a16="http://schemas.microsoft.com/office/drawing/2014/main" xmlns="" id="{80824D45-F5E3-4AA2-873C-C6C76BB4ABCB}"/>
                </a:ext>
              </a:extLst>
            </p:cNvPr>
            <p:cNvSpPr/>
            <p:nvPr/>
          </p:nvSpPr>
          <p:spPr>
            <a:xfrm>
              <a:off x="11467012" y="10972393"/>
              <a:ext cx="358632" cy="692850"/>
            </a:xfrm>
            <a:custGeom>
              <a:avLst/>
              <a:gdLst/>
              <a:ahLst/>
              <a:cxnLst>
                <a:cxn ang="0">
                  <a:pos x="wd2" y="hd2"/>
                </a:cxn>
                <a:cxn ang="5400000">
                  <a:pos x="wd2" y="hd2"/>
                </a:cxn>
                <a:cxn ang="10800000">
                  <a:pos x="wd2" y="hd2"/>
                </a:cxn>
                <a:cxn ang="16200000">
                  <a:pos x="wd2" y="hd2"/>
                </a:cxn>
              </a:cxnLst>
              <a:rect l="0" t="0" r="r" b="b"/>
              <a:pathLst>
                <a:path w="21436" h="21532" extrusionOk="0">
                  <a:moveTo>
                    <a:pt x="17698" y="0"/>
                  </a:moveTo>
                  <a:lnTo>
                    <a:pt x="16138" y="1685"/>
                  </a:lnTo>
                  <a:cubicBezTo>
                    <a:pt x="16052" y="1663"/>
                    <a:pt x="15626" y="1553"/>
                    <a:pt x="15626" y="1553"/>
                  </a:cubicBezTo>
                  <a:lnTo>
                    <a:pt x="14403" y="2878"/>
                  </a:lnTo>
                  <a:lnTo>
                    <a:pt x="14914" y="3010"/>
                  </a:lnTo>
                  <a:lnTo>
                    <a:pt x="14546" y="3408"/>
                  </a:lnTo>
                  <a:lnTo>
                    <a:pt x="2184" y="16751"/>
                  </a:lnTo>
                  <a:cubicBezTo>
                    <a:pt x="1744" y="17225"/>
                    <a:pt x="202" y="19746"/>
                    <a:pt x="516" y="20547"/>
                  </a:cubicBezTo>
                  <a:cubicBezTo>
                    <a:pt x="560" y="20662"/>
                    <a:pt x="644" y="20742"/>
                    <a:pt x="773" y="20775"/>
                  </a:cubicBezTo>
                  <a:cubicBezTo>
                    <a:pt x="1807" y="21040"/>
                    <a:pt x="5426" y="18252"/>
                    <a:pt x="5928" y="17710"/>
                  </a:cubicBezTo>
                  <a:lnTo>
                    <a:pt x="18283" y="4367"/>
                  </a:lnTo>
                  <a:lnTo>
                    <a:pt x="18652" y="3969"/>
                  </a:lnTo>
                  <a:lnTo>
                    <a:pt x="19186" y="4106"/>
                  </a:lnTo>
                  <a:lnTo>
                    <a:pt x="14380" y="9291"/>
                  </a:lnTo>
                  <a:lnTo>
                    <a:pt x="15147" y="9488"/>
                  </a:lnTo>
                  <a:lnTo>
                    <a:pt x="21176" y="2979"/>
                  </a:lnTo>
                  <a:cubicBezTo>
                    <a:pt x="21176" y="2979"/>
                    <a:pt x="20341" y="2767"/>
                    <a:pt x="19876" y="2647"/>
                  </a:cubicBezTo>
                  <a:lnTo>
                    <a:pt x="21436" y="963"/>
                  </a:lnTo>
                  <a:cubicBezTo>
                    <a:pt x="21436" y="963"/>
                    <a:pt x="17698" y="0"/>
                    <a:pt x="17698" y="0"/>
                  </a:cubicBezTo>
                  <a:close/>
                  <a:moveTo>
                    <a:pt x="516" y="20547"/>
                  </a:moveTo>
                  <a:cubicBezTo>
                    <a:pt x="504" y="20509"/>
                    <a:pt x="483" y="20481"/>
                    <a:pt x="479" y="20436"/>
                  </a:cubicBezTo>
                  <a:lnTo>
                    <a:pt x="223" y="20708"/>
                  </a:lnTo>
                  <a:cubicBezTo>
                    <a:pt x="120" y="20820"/>
                    <a:pt x="-164" y="21449"/>
                    <a:pt x="129" y="21525"/>
                  </a:cubicBezTo>
                  <a:cubicBezTo>
                    <a:pt x="423" y="21600"/>
                    <a:pt x="1188" y="21095"/>
                    <a:pt x="1291" y="20984"/>
                  </a:cubicBezTo>
                  <a:lnTo>
                    <a:pt x="1546" y="20707"/>
                  </a:lnTo>
                  <a:cubicBezTo>
                    <a:pt x="1228" y="20825"/>
                    <a:pt x="959" y="20878"/>
                    <a:pt x="774" y="20830"/>
                  </a:cubicBezTo>
                  <a:cubicBezTo>
                    <a:pt x="630" y="20793"/>
                    <a:pt x="555" y="20685"/>
                    <a:pt x="516" y="20547"/>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3" name="Shape 34225">
              <a:extLst>
                <a:ext uri="{FF2B5EF4-FFF2-40B4-BE49-F238E27FC236}">
                  <a16:creationId xmlns:a16="http://schemas.microsoft.com/office/drawing/2014/main" xmlns="" id="{16E9D6A9-FD79-4C70-98A0-2CB956F57F7C}"/>
                </a:ext>
              </a:extLst>
            </p:cNvPr>
            <p:cNvSpPr/>
            <p:nvPr/>
          </p:nvSpPr>
          <p:spPr>
            <a:xfrm>
              <a:off x="12788908" y="11202698"/>
              <a:ext cx="425116" cy="118066"/>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4" name="Shape 34226">
              <a:extLst>
                <a:ext uri="{FF2B5EF4-FFF2-40B4-BE49-F238E27FC236}">
                  <a16:creationId xmlns:a16="http://schemas.microsoft.com/office/drawing/2014/main" xmlns="" id="{BF9AED5D-3601-49F7-8661-5516D5BBCD89}"/>
                </a:ext>
              </a:extLst>
            </p:cNvPr>
            <p:cNvSpPr/>
            <p:nvPr/>
          </p:nvSpPr>
          <p:spPr>
            <a:xfrm>
              <a:off x="12691600" y="7661988"/>
              <a:ext cx="463732" cy="545588"/>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5" name="Shape 34227">
              <a:extLst>
                <a:ext uri="{FF2B5EF4-FFF2-40B4-BE49-F238E27FC236}">
                  <a16:creationId xmlns:a16="http://schemas.microsoft.com/office/drawing/2014/main" xmlns="" id="{C6930646-8242-43F7-A537-77918C6403F0}"/>
                </a:ext>
              </a:extLst>
            </p:cNvPr>
            <p:cNvSpPr/>
            <p:nvPr/>
          </p:nvSpPr>
          <p:spPr>
            <a:xfrm>
              <a:off x="11861838" y="8796062"/>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96" name="Shape 34228">
              <a:extLst>
                <a:ext uri="{FF2B5EF4-FFF2-40B4-BE49-F238E27FC236}">
                  <a16:creationId xmlns:a16="http://schemas.microsoft.com/office/drawing/2014/main" xmlns="" id="{3CB42F61-FE44-4649-B229-EAD113DDD2C9}"/>
                </a:ext>
              </a:extLst>
            </p:cNvPr>
            <p:cNvSpPr/>
            <p:nvPr/>
          </p:nvSpPr>
          <p:spPr>
            <a:xfrm>
              <a:off x="9057539" y="5652197"/>
              <a:ext cx="565072" cy="648758"/>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7" name="Shape 34229">
              <a:extLst>
                <a:ext uri="{FF2B5EF4-FFF2-40B4-BE49-F238E27FC236}">
                  <a16:creationId xmlns:a16="http://schemas.microsoft.com/office/drawing/2014/main" xmlns="" id="{60783461-2425-4C12-A2B6-68B922BFA150}"/>
                </a:ext>
              </a:extLst>
            </p:cNvPr>
            <p:cNvSpPr/>
            <p:nvPr/>
          </p:nvSpPr>
          <p:spPr>
            <a:xfrm>
              <a:off x="14430703" y="5653180"/>
              <a:ext cx="678286" cy="60967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8" name="Shape 34230">
              <a:extLst>
                <a:ext uri="{FF2B5EF4-FFF2-40B4-BE49-F238E27FC236}">
                  <a16:creationId xmlns:a16="http://schemas.microsoft.com/office/drawing/2014/main" xmlns="" id="{24D2666A-F71A-44D5-A943-2A55585FD999}"/>
                </a:ext>
              </a:extLst>
            </p:cNvPr>
            <p:cNvSpPr/>
            <p:nvPr/>
          </p:nvSpPr>
          <p:spPr>
            <a:xfrm>
              <a:off x="14217720" y="6775957"/>
              <a:ext cx="333440" cy="66687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9" name="Shape 34231">
              <a:extLst>
                <a:ext uri="{FF2B5EF4-FFF2-40B4-BE49-F238E27FC236}">
                  <a16:creationId xmlns:a16="http://schemas.microsoft.com/office/drawing/2014/main" xmlns="" id="{F82D15F7-4A4A-4224-8CBB-2C6AF1BF84D1}"/>
                </a:ext>
              </a:extLst>
            </p:cNvPr>
            <p:cNvSpPr/>
            <p:nvPr/>
          </p:nvSpPr>
          <p:spPr>
            <a:xfrm>
              <a:off x="12484545" y="3228311"/>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0" name="Shape 34232">
              <a:extLst>
                <a:ext uri="{FF2B5EF4-FFF2-40B4-BE49-F238E27FC236}">
                  <a16:creationId xmlns:a16="http://schemas.microsoft.com/office/drawing/2014/main" xmlns="" id="{1ED57B4F-28EA-456D-A727-15AACC92787D}"/>
                </a:ext>
              </a:extLst>
            </p:cNvPr>
            <p:cNvSpPr/>
            <p:nvPr/>
          </p:nvSpPr>
          <p:spPr>
            <a:xfrm>
              <a:off x="11791096" y="11232556"/>
              <a:ext cx="130464" cy="279620"/>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1" name="Shape 34233">
              <a:extLst>
                <a:ext uri="{FF2B5EF4-FFF2-40B4-BE49-F238E27FC236}">
                  <a16:creationId xmlns:a16="http://schemas.microsoft.com/office/drawing/2014/main" xmlns="" id="{2826325E-80D8-4B8A-A295-76BB5B3B20CC}"/>
                </a:ext>
              </a:extLst>
            </p:cNvPr>
            <p:cNvSpPr/>
            <p:nvPr/>
          </p:nvSpPr>
          <p:spPr>
            <a:xfrm>
              <a:off x="11084739" y="4570184"/>
              <a:ext cx="304442" cy="392838"/>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2" name="Shape 34234">
              <a:extLst>
                <a:ext uri="{FF2B5EF4-FFF2-40B4-BE49-F238E27FC236}">
                  <a16:creationId xmlns:a16="http://schemas.microsoft.com/office/drawing/2014/main" xmlns="" id="{0AE148E0-DA9A-4170-9C75-BDE3BA628C03}"/>
                </a:ext>
              </a:extLst>
            </p:cNvPr>
            <p:cNvSpPr/>
            <p:nvPr/>
          </p:nvSpPr>
          <p:spPr>
            <a:xfrm>
              <a:off x="10710090" y="4258444"/>
              <a:ext cx="419088" cy="39283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3" name="Shape 34235">
              <a:extLst>
                <a:ext uri="{FF2B5EF4-FFF2-40B4-BE49-F238E27FC236}">
                  <a16:creationId xmlns:a16="http://schemas.microsoft.com/office/drawing/2014/main" xmlns="" id="{9A473A85-557F-4C27-88D9-471CC6B00126}"/>
                </a:ext>
              </a:extLst>
            </p:cNvPr>
            <p:cNvSpPr/>
            <p:nvPr/>
          </p:nvSpPr>
          <p:spPr>
            <a:xfrm>
              <a:off x="9790862" y="4363012"/>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4" name="Shape 34236">
              <a:extLst>
                <a:ext uri="{FF2B5EF4-FFF2-40B4-BE49-F238E27FC236}">
                  <a16:creationId xmlns:a16="http://schemas.microsoft.com/office/drawing/2014/main" xmlns="" id="{A585B3B7-C5A1-4D0A-8C52-C89594E17730}"/>
                </a:ext>
              </a:extLst>
            </p:cNvPr>
            <p:cNvSpPr/>
            <p:nvPr/>
          </p:nvSpPr>
          <p:spPr>
            <a:xfrm>
              <a:off x="12210021" y="7840631"/>
              <a:ext cx="346528" cy="281582"/>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5" name="Shape 34237">
              <a:extLst>
                <a:ext uri="{FF2B5EF4-FFF2-40B4-BE49-F238E27FC236}">
                  <a16:creationId xmlns:a16="http://schemas.microsoft.com/office/drawing/2014/main" xmlns="" id="{0C349EB0-1FF4-4F49-89A5-DBF7C68185EE}"/>
                </a:ext>
              </a:extLst>
            </p:cNvPr>
            <p:cNvSpPr/>
            <p:nvPr/>
          </p:nvSpPr>
          <p:spPr>
            <a:xfrm>
              <a:off x="11135547" y="921478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6" name="Shape 34238">
              <a:extLst>
                <a:ext uri="{FF2B5EF4-FFF2-40B4-BE49-F238E27FC236}">
                  <a16:creationId xmlns:a16="http://schemas.microsoft.com/office/drawing/2014/main" xmlns="" id="{FBC71BDC-50DE-464C-A4E8-850AD487FB85}"/>
                </a:ext>
              </a:extLst>
            </p:cNvPr>
            <p:cNvSpPr/>
            <p:nvPr/>
          </p:nvSpPr>
          <p:spPr>
            <a:xfrm>
              <a:off x="13971261" y="772106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7" name="Shape 34239">
              <a:extLst>
                <a:ext uri="{FF2B5EF4-FFF2-40B4-BE49-F238E27FC236}">
                  <a16:creationId xmlns:a16="http://schemas.microsoft.com/office/drawing/2014/main" xmlns="" id="{E1E40BA2-9013-4D0D-995F-15C9933CE939}"/>
                </a:ext>
              </a:extLst>
            </p:cNvPr>
            <p:cNvSpPr/>
            <p:nvPr/>
          </p:nvSpPr>
          <p:spPr>
            <a:xfrm>
              <a:off x="13086555" y="5888971"/>
              <a:ext cx="304442" cy="392840"/>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8" name="Shape 34240">
              <a:extLst>
                <a:ext uri="{FF2B5EF4-FFF2-40B4-BE49-F238E27FC236}">
                  <a16:creationId xmlns:a16="http://schemas.microsoft.com/office/drawing/2014/main" xmlns="" id="{45252B25-880C-4CCC-86A3-568465E26EF1}"/>
                </a:ext>
              </a:extLst>
            </p:cNvPr>
            <p:cNvSpPr/>
            <p:nvPr/>
          </p:nvSpPr>
          <p:spPr>
            <a:xfrm>
              <a:off x="12718729" y="8725244"/>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9" name="Shape 34241">
              <a:extLst>
                <a:ext uri="{FF2B5EF4-FFF2-40B4-BE49-F238E27FC236}">
                  <a16:creationId xmlns:a16="http://schemas.microsoft.com/office/drawing/2014/main" xmlns="" id="{B7584F24-8FCA-461E-8496-93D9140F816E}"/>
                </a:ext>
              </a:extLst>
            </p:cNvPr>
            <p:cNvSpPr/>
            <p:nvPr/>
          </p:nvSpPr>
          <p:spPr>
            <a:xfrm>
              <a:off x="11342014" y="7513407"/>
              <a:ext cx="272208" cy="366146"/>
            </a:xfrm>
            <a:custGeom>
              <a:avLst/>
              <a:gdLst/>
              <a:ahLst/>
              <a:cxnLst>
                <a:cxn ang="0">
                  <a:pos x="wd2" y="hd2"/>
                </a:cxn>
                <a:cxn ang="5400000">
                  <a:pos x="wd2" y="hd2"/>
                </a:cxn>
                <a:cxn ang="10800000">
                  <a:pos x="wd2" y="hd2"/>
                </a:cxn>
                <a:cxn ang="16200000">
                  <a:pos x="wd2" y="hd2"/>
                </a:cxn>
              </a:cxnLst>
              <a:rect l="0" t="0" r="r" b="b"/>
              <a:pathLst>
                <a:path w="19711" h="20821" extrusionOk="0">
                  <a:moveTo>
                    <a:pt x="12499" y="13303"/>
                  </a:moveTo>
                  <a:cubicBezTo>
                    <a:pt x="13474" y="15282"/>
                    <a:pt x="14406" y="17194"/>
                    <a:pt x="14461" y="19063"/>
                  </a:cubicBezTo>
                  <a:cubicBezTo>
                    <a:pt x="14479" y="19633"/>
                    <a:pt x="14582" y="20311"/>
                    <a:pt x="14210" y="20821"/>
                  </a:cubicBezTo>
                  <a:cubicBezTo>
                    <a:pt x="10525" y="17927"/>
                    <a:pt x="9838" y="14212"/>
                    <a:pt x="8115" y="11051"/>
                  </a:cubicBezTo>
                  <a:cubicBezTo>
                    <a:pt x="6053" y="10122"/>
                    <a:pt x="4570" y="7480"/>
                    <a:pt x="6196" y="6231"/>
                  </a:cubicBezTo>
                  <a:cubicBezTo>
                    <a:pt x="8553" y="4419"/>
                    <a:pt x="10035" y="7345"/>
                    <a:pt x="10598" y="8773"/>
                  </a:cubicBezTo>
                  <a:cubicBezTo>
                    <a:pt x="10906" y="9555"/>
                    <a:pt x="10989" y="10416"/>
                    <a:pt x="11671" y="11094"/>
                  </a:cubicBezTo>
                  <a:cubicBezTo>
                    <a:pt x="13112" y="12518"/>
                    <a:pt x="15601" y="11340"/>
                    <a:pt x="16169" y="9915"/>
                  </a:cubicBezTo>
                  <a:cubicBezTo>
                    <a:pt x="16983" y="7871"/>
                    <a:pt x="15656" y="5461"/>
                    <a:pt x="13976" y="3794"/>
                  </a:cubicBezTo>
                  <a:cubicBezTo>
                    <a:pt x="11415" y="1258"/>
                    <a:pt x="6416" y="1969"/>
                    <a:pt x="3932" y="4842"/>
                  </a:cubicBezTo>
                  <a:cubicBezTo>
                    <a:pt x="2652" y="6323"/>
                    <a:pt x="2147" y="8434"/>
                    <a:pt x="3515" y="10418"/>
                  </a:cubicBezTo>
                  <a:cubicBezTo>
                    <a:pt x="4236" y="11464"/>
                    <a:pt x="5170" y="12108"/>
                    <a:pt x="6136" y="12400"/>
                  </a:cubicBezTo>
                  <a:cubicBezTo>
                    <a:pt x="6282" y="12445"/>
                    <a:pt x="6666" y="12458"/>
                    <a:pt x="6895" y="12661"/>
                  </a:cubicBezTo>
                  <a:cubicBezTo>
                    <a:pt x="7361" y="13074"/>
                    <a:pt x="7439" y="13745"/>
                    <a:pt x="7417" y="14249"/>
                  </a:cubicBezTo>
                  <a:cubicBezTo>
                    <a:pt x="5334" y="14777"/>
                    <a:pt x="3377" y="14023"/>
                    <a:pt x="1894" y="12542"/>
                  </a:cubicBezTo>
                  <a:cubicBezTo>
                    <a:pt x="-1478" y="9170"/>
                    <a:pt x="-94" y="4513"/>
                    <a:pt x="4049" y="1953"/>
                  </a:cubicBezTo>
                  <a:cubicBezTo>
                    <a:pt x="8469" y="-779"/>
                    <a:pt x="13971" y="-622"/>
                    <a:pt x="16956" y="2276"/>
                  </a:cubicBezTo>
                  <a:cubicBezTo>
                    <a:pt x="19176" y="4430"/>
                    <a:pt x="20122" y="7281"/>
                    <a:pt x="19546" y="9389"/>
                  </a:cubicBezTo>
                  <a:cubicBezTo>
                    <a:pt x="19112" y="10973"/>
                    <a:pt x="17273" y="13272"/>
                    <a:pt x="14367" y="13517"/>
                  </a:cubicBezTo>
                  <a:cubicBezTo>
                    <a:pt x="13720" y="13571"/>
                    <a:pt x="13303" y="13441"/>
                    <a:pt x="12499" y="133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0" name="Shape 34242">
              <a:extLst>
                <a:ext uri="{FF2B5EF4-FFF2-40B4-BE49-F238E27FC236}">
                  <a16:creationId xmlns:a16="http://schemas.microsoft.com/office/drawing/2014/main" xmlns="" id="{AB46110A-F309-4A54-BE96-A0FA74527717}"/>
                </a:ext>
              </a:extLst>
            </p:cNvPr>
            <p:cNvSpPr/>
            <p:nvPr/>
          </p:nvSpPr>
          <p:spPr>
            <a:xfrm>
              <a:off x="14349166" y="3565132"/>
              <a:ext cx="272152" cy="351174"/>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1" name="Shape 34243">
              <a:extLst>
                <a:ext uri="{FF2B5EF4-FFF2-40B4-BE49-F238E27FC236}">
                  <a16:creationId xmlns:a16="http://schemas.microsoft.com/office/drawing/2014/main" xmlns="" id="{C13101F9-5099-46CF-89AA-81FE56734B3B}"/>
                </a:ext>
              </a:extLst>
            </p:cNvPr>
            <p:cNvSpPr/>
            <p:nvPr/>
          </p:nvSpPr>
          <p:spPr>
            <a:xfrm>
              <a:off x="10163109" y="5879849"/>
              <a:ext cx="373972" cy="35054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2" name="Shape 34244">
              <a:extLst>
                <a:ext uri="{FF2B5EF4-FFF2-40B4-BE49-F238E27FC236}">
                  <a16:creationId xmlns:a16="http://schemas.microsoft.com/office/drawing/2014/main" xmlns="" id="{4FDBA82D-7C67-4A80-8231-0CA63DEAA955}"/>
                </a:ext>
              </a:extLst>
            </p:cNvPr>
            <p:cNvSpPr/>
            <p:nvPr/>
          </p:nvSpPr>
          <p:spPr>
            <a:xfrm>
              <a:off x="14467934" y="6264695"/>
              <a:ext cx="347528" cy="3257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3" name="Shape 34245">
              <a:extLst>
                <a:ext uri="{FF2B5EF4-FFF2-40B4-BE49-F238E27FC236}">
                  <a16:creationId xmlns:a16="http://schemas.microsoft.com/office/drawing/2014/main" xmlns="" id="{34696B36-D3C0-4E87-8A15-0C8F0927FD40}"/>
                </a:ext>
              </a:extLst>
            </p:cNvPr>
            <p:cNvSpPr/>
            <p:nvPr/>
          </p:nvSpPr>
          <p:spPr>
            <a:xfrm>
              <a:off x="12353445" y="9604415"/>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4" name="Shape 34246">
              <a:extLst>
                <a:ext uri="{FF2B5EF4-FFF2-40B4-BE49-F238E27FC236}">
                  <a16:creationId xmlns:a16="http://schemas.microsoft.com/office/drawing/2014/main" xmlns="" id="{86770F7E-A0E9-45CB-A525-5CCB12C09FC7}"/>
                </a:ext>
              </a:extLst>
            </p:cNvPr>
            <p:cNvSpPr/>
            <p:nvPr/>
          </p:nvSpPr>
          <p:spPr>
            <a:xfrm>
              <a:off x="11817349" y="7826120"/>
              <a:ext cx="266022"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5" name="Shape 34247">
              <a:extLst>
                <a:ext uri="{FF2B5EF4-FFF2-40B4-BE49-F238E27FC236}">
                  <a16:creationId xmlns:a16="http://schemas.microsoft.com/office/drawing/2014/main" xmlns="" id="{5BB2665F-3288-4F6B-9B1E-0721F7D4A4AD}"/>
                </a:ext>
              </a:extLst>
            </p:cNvPr>
            <p:cNvSpPr/>
            <p:nvPr/>
          </p:nvSpPr>
          <p:spPr>
            <a:xfrm>
              <a:off x="10728159" y="11858687"/>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116" name="Shape 34248">
              <a:extLst>
                <a:ext uri="{FF2B5EF4-FFF2-40B4-BE49-F238E27FC236}">
                  <a16:creationId xmlns:a16="http://schemas.microsoft.com/office/drawing/2014/main" xmlns="" id="{85F0FCB1-26A5-4770-B588-AF7086E99260}"/>
                </a:ext>
              </a:extLst>
            </p:cNvPr>
            <p:cNvSpPr/>
            <p:nvPr/>
          </p:nvSpPr>
          <p:spPr>
            <a:xfrm>
              <a:off x="11187068" y="11262359"/>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7" name="Shape 34249">
              <a:extLst>
                <a:ext uri="{FF2B5EF4-FFF2-40B4-BE49-F238E27FC236}">
                  <a16:creationId xmlns:a16="http://schemas.microsoft.com/office/drawing/2014/main" xmlns="" id="{C75CF448-37E6-4FB6-BB6E-8A0568BC8525}"/>
                </a:ext>
              </a:extLst>
            </p:cNvPr>
            <p:cNvSpPr/>
            <p:nvPr/>
          </p:nvSpPr>
          <p:spPr>
            <a:xfrm>
              <a:off x="11097651" y="11556529"/>
              <a:ext cx="363722" cy="489364"/>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8" name="Shape 34250">
              <a:extLst>
                <a:ext uri="{FF2B5EF4-FFF2-40B4-BE49-F238E27FC236}">
                  <a16:creationId xmlns:a16="http://schemas.microsoft.com/office/drawing/2014/main" xmlns="" id="{D6CE9A52-DDED-4C98-A677-69B508815F2A}"/>
                </a:ext>
              </a:extLst>
            </p:cNvPr>
            <p:cNvSpPr/>
            <p:nvPr/>
          </p:nvSpPr>
          <p:spPr>
            <a:xfrm>
              <a:off x="11475026" y="12061751"/>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9" name="Shape 34251">
              <a:extLst>
                <a:ext uri="{FF2B5EF4-FFF2-40B4-BE49-F238E27FC236}">
                  <a16:creationId xmlns:a16="http://schemas.microsoft.com/office/drawing/2014/main" xmlns="" id="{508F2DAA-346B-46A7-957D-1AFE0B5BBA01}"/>
                </a:ext>
              </a:extLst>
            </p:cNvPr>
            <p:cNvSpPr/>
            <p:nvPr/>
          </p:nvSpPr>
          <p:spPr>
            <a:xfrm>
              <a:off x="11001064" y="12147982"/>
              <a:ext cx="241994" cy="2796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0" name="Shape 34252">
              <a:extLst>
                <a:ext uri="{FF2B5EF4-FFF2-40B4-BE49-F238E27FC236}">
                  <a16:creationId xmlns:a16="http://schemas.microsoft.com/office/drawing/2014/main" xmlns="" id="{465C0012-581E-4A91-8A51-1BBCA9DFEE14}"/>
                </a:ext>
              </a:extLst>
            </p:cNvPr>
            <p:cNvSpPr/>
            <p:nvPr/>
          </p:nvSpPr>
          <p:spPr>
            <a:xfrm>
              <a:off x="11499317" y="12714275"/>
              <a:ext cx="353634" cy="243124"/>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20097" tIns="20097" rIns="20097" bIns="20097" numCol="1" anchor="b">
              <a:noAutofit/>
            </a:bodyPr>
            <a:lstStyle/>
            <a:p>
              <a:endParaRPr lang="en-GB" sz="1899" dirty="0">
                <a:latin typeface="Lato Light" panose="020F0502020204030203" pitchFamily="34" charset="0"/>
              </a:endParaRPr>
            </a:p>
          </p:txBody>
        </p:sp>
        <p:sp>
          <p:nvSpPr>
            <p:cNvPr id="121" name="Shape 34253">
              <a:extLst>
                <a:ext uri="{FF2B5EF4-FFF2-40B4-BE49-F238E27FC236}">
                  <a16:creationId xmlns:a16="http://schemas.microsoft.com/office/drawing/2014/main" xmlns="" id="{E13F3E2A-285C-456E-B267-1207DF8B077A}"/>
                </a:ext>
              </a:extLst>
            </p:cNvPr>
            <p:cNvSpPr/>
            <p:nvPr/>
          </p:nvSpPr>
          <p:spPr>
            <a:xfrm rot="1920000">
              <a:off x="12259440" y="12552699"/>
              <a:ext cx="459460" cy="127604"/>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2" name="Shape 34254">
              <a:extLst>
                <a:ext uri="{FF2B5EF4-FFF2-40B4-BE49-F238E27FC236}">
                  <a16:creationId xmlns:a16="http://schemas.microsoft.com/office/drawing/2014/main" xmlns="" id="{107C7B91-4ED0-4865-A024-75B38CF152C8}"/>
                </a:ext>
              </a:extLst>
            </p:cNvPr>
            <p:cNvSpPr/>
            <p:nvPr/>
          </p:nvSpPr>
          <p:spPr>
            <a:xfrm>
              <a:off x="10340903" y="5125500"/>
              <a:ext cx="609452" cy="544702"/>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3" name="Shape 34255">
              <a:extLst>
                <a:ext uri="{FF2B5EF4-FFF2-40B4-BE49-F238E27FC236}">
                  <a16:creationId xmlns:a16="http://schemas.microsoft.com/office/drawing/2014/main" xmlns="" id="{A0C4226B-37E6-44A8-BB54-802BDA5D31F9}"/>
                </a:ext>
              </a:extLst>
            </p:cNvPr>
            <p:cNvSpPr/>
            <p:nvPr/>
          </p:nvSpPr>
          <p:spPr>
            <a:xfrm>
              <a:off x="9854702" y="4803941"/>
              <a:ext cx="502982" cy="459644"/>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4" name="Shape 34256">
              <a:extLst>
                <a:ext uri="{FF2B5EF4-FFF2-40B4-BE49-F238E27FC236}">
                  <a16:creationId xmlns:a16="http://schemas.microsoft.com/office/drawing/2014/main" xmlns="" id="{255D6C91-9BB3-4284-83CD-A84D1885D848}"/>
                </a:ext>
              </a:extLst>
            </p:cNvPr>
            <p:cNvSpPr/>
            <p:nvPr/>
          </p:nvSpPr>
          <p:spPr>
            <a:xfrm>
              <a:off x="10882778" y="5040627"/>
              <a:ext cx="347554" cy="302336"/>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5" name="Shape 34257">
              <a:extLst>
                <a:ext uri="{FF2B5EF4-FFF2-40B4-BE49-F238E27FC236}">
                  <a16:creationId xmlns:a16="http://schemas.microsoft.com/office/drawing/2014/main" xmlns="" id="{7F08F423-A74A-433A-998B-247831BF5334}"/>
                </a:ext>
              </a:extLst>
            </p:cNvPr>
            <p:cNvSpPr/>
            <p:nvPr/>
          </p:nvSpPr>
          <p:spPr>
            <a:xfrm>
              <a:off x="10466323" y="4715507"/>
              <a:ext cx="342888" cy="302336"/>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6" name="Shape 34258">
              <a:extLst>
                <a:ext uri="{FF2B5EF4-FFF2-40B4-BE49-F238E27FC236}">
                  <a16:creationId xmlns:a16="http://schemas.microsoft.com/office/drawing/2014/main" xmlns="" id="{E70A0F26-AE14-4B0D-8D91-5050F94AF079}"/>
                </a:ext>
              </a:extLst>
            </p:cNvPr>
            <p:cNvSpPr/>
            <p:nvPr/>
          </p:nvSpPr>
          <p:spPr>
            <a:xfrm>
              <a:off x="13456598" y="7929263"/>
              <a:ext cx="368866" cy="3296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7" name="Shape 34259">
              <a:extLst>
                <a:ext uri="{FF2B5EF4-FFF2-40B4-BE49-F238E27FC236}">
                  <a16:creationId xmlns:a16="http://schemas.microsoft.com/office/drawing/2014/main" xmlns="" id="{C55DB15E-7528-422F-8BB5-278F74FB0572}"/>
                </a:ext>
              </a:extLst>
            </p:cNvPr>
            <p:cNvSpPr/>
            <p:nvPr/>
          </p:nvSpPr>
          <p:spPr>
            <a:xfrm>
              <a:off x="12160172" y="6699066"/>
              <a:ext cx="392924" cy="3511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8" name="Shape 34260">
              <a:extLst>
                <a:ext uri="{FF2B5EF4-FFF2-40B4-BE49-F238E27FC236}">
                  <a16:creationId xmlns:a16="http://schemas.microsoft.com/office/drawing/2014/main" xmlns="" id="{9026BD05-B437-456A-9E3B-E2C2CB719337}"/>
                </a:ext>
              </a:extLst>
            </p:cNvPr>
            <p:cNvSpPr/>
            <p:nvPr/>
          </p:nvSpPr>
          <p:spPr>
            <a:xfrm>
              <a:off x="10867845" y="10886425"/>
              <a:ext cx="279004" cy="249360"/>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9" name="Shape 34261">
              <a:extLst>
                <a:ext uri="{FF2B5EF4-FFF2-40B4-BE49-F238E27FC236}">
                  <a16:creationId xmlns:a16="http://schemas.microsoft.com/office/drawing/2014/main" xmlns="" id="{CC9F799A-5D0C-49D1-AE27-EC35EFBBEF55}"/>
                </a:ext>
              </a:extLst>
            </p:cNvPr>
            <p:cNvSpPr/>
            <p:nvPr/>
          </p:nvSpPr>
          <p:spPr>
            <a:xfrm>
              <a:off x="12725585" y="12289966"/>
              <a:ext cx="373054" cy="303140"/>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0" name="Shape 34262">
              <a:extLst>
                <a:ext uri="{FF2B5EF4-FFF2-40B4-BE49-F238E27FC236}">
                  <a16:creationId xmlns:a16="http://schemas.microsoft.com/office/drawing/2014/main" xmlns="" id="{1DD46E9E-D1CB-43D9-9258-9F163768733B}"/>
                </a:ext>
              </a:extLst>
            </p:cNvPr>
            <p:cNvSpPr/>
            <p:nvPr/>
          </p:nvSpPr>
          <p:spPr>
            <a:xfrm>
              <a:off x="13639147" y="5652275"/>
              <a:ext cx="728794" cy="541076"/>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1" name="Shape 34263">
              <a:extLst>
                <a:ext uri="{FF2B5EF4-FFF2-40B4-BE49-F238E27FC236}">
                  <a16:creationId xmlns:a16="http://schemas.microsoft.com/office/drawing/2014/main" xmlns="" id="{1E611780-7CFA-4815-97C1-A676D3BD4A2D}"/>
                </a:ext>
              </a:extLst>
            </p:cNvPr>
            <p:cNvSpPr/>
            <p:nvPr/>
          </p:nvSpPr>
          <p:spPr>
            <a:xfrm>
              <a:off x="14075163" y="6302567"/>
              <a:ext cx="163854" cy="351178"/>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2" name="Shape 34264">
              <a:extLst>
                <a:ext uri="{FF2B5EF4-FFF2-40B4-BE49-F238E27FC236}">
                  <a16:creationId xmlns:a16="http://schemas.microsoft.com/office/drawing/2014/main" xmlns="" id="{7C74A5FA-6028-46BB-A01E-3FC85A572E48}"/>
                </a:ext>
              </a:extLst>
            </p:cNvPr>
            <p:cNvSpPr/>
            <p:nvPr/>
          </p:nvSpPr>
          <p:spPr>
            <a:xfrm>
              <a:off x="11378351" y="9431234"/>
              <a:ext cx="527920" cy="391942"/>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3" name="Shape 34265">
              <a:extLst>
                <a:ext uri="{FF2B5EF4-FFF2-40B4-BE49-F238E27FC236}">
                  <a16:creationId xmlns:a16="http://schemas.microsoft.com/office/drawing/2014/main" xmlns="" id="{7C2539BC-796D-44A2-9368-C1E2CB1D4A3E}"/>
                </a:ext>
              </a:extLst>
            </p:cNvPr>
            <p:cNvSpPr/>
            <p:nvPr/>
          </p:nvSpPr>
          <p:spPr>
            <a:xfrm>
              <a:off x="13182794" y="4769147"/>
              <a:ext cx="316260" cy="234800"/>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grpSp>
      <p:sp>
        <p:nvSpPr>
          <p:cNvPr id="134" name="TextBox 148">
            <a:extLst>
              <a:ext uri="{FF2B5EF4-FFF2-40B4-BE49-F238E27FC236}">
                <a16:creationId xmlns:a16="http://schemas.microsoft.com/office/drawing/2014/main" xmlns="" id="{F8914275-2684-487F-A7E8-F7988E8FC523}"/>
              </a:ext>
            </a:extLst>
          </p:cNvPr>
          <p:cNvSpPr txBox="1"/>
          <p:nvPr/>
        </p:nvSpPr>
        <p:spPr>
          <a:xfrm>
            <a:off x="6763405" y="2366910"/>
            <a:ext cx="5332936" cy="5539978"/>
          </a:xfrm>
          <a:prstGeom prst="rect">
            <a:avLst/>
          </a:prstGeom>
          <a:noFill/>
        </p:spPr>
        <p:txBody>
          <a:bodyPr wrap="square" rtlCol="0" anchor="ctr" anchorCtr="0">
            <a:spAutoFit/>
          </a:bodyPr>
          <a:lstStyle/>
          <a:p>
            <a:r>
              <a:rPr lang="en-GB" sz="2200" dirty="0">
                <a:solidFill>
                  <a:srgbClr val="F95C2C"/>
                </a:solidFill>
                <a:latin typeface="+mj-lt"/>
                <a:ea typeface="League Spartan" charset="0"/>
                <a:cs typeface="Poppins" pitchFamily="2" charset="77"/>
              </a:rPr>
              <a:t>¿Podríamos haber evitado la crisis? Si es así, ¿cómo?</a:t>
            </a:r>
          </a:p>
          <a:p>
            <a:r>
              <a:rPr lang="en-GB" sz="2200" dirty="0">
                <a:solidFill>
                  <a:srgbClr val="F95C2C"/>
                </a:solidFill>
                <a:latin typeface="+mj-lt"/>
                <a:ea typeface="League Spartan" charset="0"/>
                <a:cs typeface="Poppins" pitchFamily="2" charset="77"/>
              </a:rPr>
              <a:t>¿En qué momento nos dimos cuenta de que estábamos en crisis?</a:t>
            </a:r>
          </a:p>
          <a:p>
            <a:r>
              <a:rPr lang="en-GB" sz="2200" dirty="0">
                <a:solidFill>
                  <a:srgbClr val="F95C2C"/>
                </a:solidFill>
                <a:latin typeface="+mj-lt"/>
                <a:ea typeface="League Spartan" charset="0"/>
                <a:cs typeface="Poppins" pitchFamily="2" charset="77"/>
              </a:rPr>
              <a:t>¿Podríamos haber reconocido las señales antes?</a:t>
            </a:r>
          </a:p>
          <a:p>
            <a:r>
              <a:rPr lang="en-GB" sz="2200" dirty="0">
                <a:solidFill>
                  <a:srgbClr val="F95C2C"/>
                </a:solidFill>
                <a:latin typeface="+mj-lt"/>
                <a:ea typeface="League Spartan" charset="0"/>
                <a:cs typeface="Poppins" pitchFamily="2" charset="77"/>
              </a:rPr>
              <a:t>¿Qué señales de alarma se han disparado y hemos ignorado?</a:t>
            </a:r>
          </a:p>
          <a:p>
            <a:r>
              <a:rPr lang="en-GB" sz="2200" dirty="0">
                <a:solidFill>
                  <a:srgbClr val="F95C2C"/>
                </a:solidFill>
                <a:latin typeface="+mj-lt"/>
                <a:ea typeface="League Spartan" charset="0"/>
                <a:cs typeface="Poppins" pitchFamily="2" charset="77"/>
              </a:rPr>
              <a:t>¿A qué señales de alarma hemos prestado atención?</a:t>
            </a:r>
          </a:p>
          <a:p>
            <a:r>
              <a:rPr lang="en-GB" sz="2200" dirty="0">
                <a:solidFill>
                  <a:srgbClr val="F95C2C"/>
                </a:solidFill>
                <a:latin typeface="+mj-lt"/>
                <a:ea typeface="League Spartan" charset="0"/>
                <a:cs typeface="Poppins" pitchFamily="2" charset="77"/>
              </a:rPr>
              <a:t>¿Qué hemos hecho bien? </a:t>
            </a:r>
          </a:p>
          <a:p>
            <a:r>
              <a:rPr lang="en-GB" sz="2200" dirty="0">
                <a:solidFill>
                  <a:srgbClr val="F95C2C"/>
                </a:solidFill>
                <a:latin typeface="+mj-lt"/>
                <a:ea typeface="League Spartan" charset="0"/>
                <a:cs typeface="Poppins" pitchFamily="2" charset="77"/>
              </a:rPr>
              <a:t>¿Qué podríamos haber hecho mejor?</a:t>
            </a:r>
          </a:p>
          <a:p>
            <a:endParaRPr lang="en-GB" sz="1600" b="1" dirty="0">
              <a:solidFill>
                <a:schemeClr val="tx2"/>
              </a:solidFill>
              <a:latin typeface="Poppins" pitchFamily="2" charset="77"/>
              <a:ea typeface="League Spartan" charset="0"/>
              <a:cs typeface="Poppins" pitchFamily="2" charset="77"/>
            </a:endParaRPr>
          </a:p>
          <a:p>
            <a:endParaRPr lang="en-GB" sz="1600" b="1" dirty="0">
              <a:solidFill>
                <a:schemeClr val="tx2"/>
              </a:solidFill>
              <a:latin typeface="Poppins" pitchFamily="2" charset="77"/>
              <a:ea typeface="League Spartan" charset="0"/>
              <a:cs typeface="Poppins" pitchFamily="2" charset="77"/>
            </a:endParaRPr>
          </a:p>
          <a:p>
            <a:endParaRPr lang="en-GB" sz="1600" b="1" dirty="0">
              <a:solidFill>
                <a:schemeClr val="tx2"/>
              </a:solidFill>
              <a:latin typeface="Poppins" pitchFamily="2" charset="77"/>
              <a:ea typeface="League Spartan" charset="0"/>
              <a:cs typeface="Poppins" pitchFamily="2" charset="77"/>
            </a:endParaRPr>
          </a:p>
          <a:p>
            <a:endParaRPr lang="en-GB" sz="1600" b="1" dirty="0">
              <a:solidFill>
                <a:schemeClr val="tx2"/>
              </a:solidFill>
              <a:latin typeface="Poppins" pitchFamily="2" charset="77"/>
              <a:ea typeface="League Spartan" charset="0"/>
              <a:cs typeface="Poppins" pitchFamily="2" charset="77"/>
            </a:endParaRPr>
          </a:p>
          <a:p>
            <a:endParaRPr lang="en-GB" sz="1600" b="1" dirty="0">
              <a:solidFill>
                <a:schemeClr val="tx2"/>
              </a:solidFill>
              <a:latin typeface="Poppins" pitchFamily="2" charset="77"/>
              <a:ea typeface="League Spartan" charset="0"/>
              <a:cs typeface="Poppins" pitchFamily="2" charset="77"/>
            </a:endParaRPr>
          </a:p>
          <a:p>
            <a:r>
              <a:rPr lang="en-GB" sz="1600" b="1" dirty="0">
                <a:solidFill>
                  <a:schemeClr val="tx2"/>
                </a:solidFill>
                <a:latin typeface="Poppins" pitchFamily="2" charset="77"/>
                <a:ea typeface="League Spartan" charset="0"/>
                <a:cs typeface="Poppins" pitchFamily="2" charset="77"/>
              </a:rPr>
              <a:t> </a:t>
            </a:r>
          </a:p>
          <a:p>
            <a:endParaRPr lang="en-GB" sz="1600" b="1" dirty="0">
              <a:solidFill>
                <a:schemeClr val="tx2"/>
              </a:solidFill>
              <a:latin typeface="Poppins" pitchFamily="2" charset="77"/>
              <a:ea typeface="League Spartan" charset="0"/>
              <a:cs typeface="Poppins" pitchFamily="2" charset="77"/>
            </a:endParaRPr>
          </a:p>
        </p:txBody>
      </p:sp>
    </p:spTree>
    <p:extLst>
      <p:ext uri="{BB962C8B-B14F-4D97-AF65-F5344CB8AC3E}">
        <p14:creationId xmlns:p14="http://schemas.microsoft.com/office/powerpoint/2010/main" val="4697927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0903" y="590076"/>
            <a:ext cx="8852375" cy="697353"/>
          </a:xfrm>
        </p:spPr>
        <p:txBody>
          <a:bodyPr>
            <a:normAutofit/>
          </a:bodyPr>
          <a:lstStyle/>
          <a:p>
            <a:r>
              <a:rPr lang="en-GB" dirty="0"/>
              <a:t>El miedo al fracaso</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01180" y="1891023"/>
            <a:ext cx="2817341" cy="380647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200" dirty="0">
                <a:latin typeface="+mj-lt"/>
              </a:rPr>
              <a:t>La cuestión es que, por muy desmotivados que parezcan algunos, a todo el mundo le gusta parecer competente y capaz ante sus compañeros. Para mantener esta apariencia, la gente utiliza dos estrategias principales para evitar sentirse ridícula ante sus colegas.</a:t>
            </a:r>
            <a:endParaRPr lang="en-GB" altLang="de-DE" sz="2200" dirty="0">
              <a:latin typeface="+mj-lt"/>
            </a:endParaRP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550278" y="6528494"/>
            <a:ext cx="554572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Fuente: </a:t>
            </a:r>
            <a:r>
              <a:rPr lang="pt-BR" sz="1000" dirty="0">
                <a:latin typeface="+mj-lt"/>
                <a:ea typeface="League Spartan" charset="0"/>
                <a:cs typeface="Poppins" pitchFamily="2" charset="77"/>
              </a:rPr>
              <a:t>Adaptado de De Castella, Byrne y Covington. 2013</a:t>
            </a:r>
            <a:endParaRPr lang="en-GB" sz="1000" dirty="0">
              <a:latin typeface="+mj-lt"/>
              <a:ea typeface="League Spartan" charset="0"/>
              <a:cs typeface="Poppins" pitchFamily="2" charset="77"/>
            </a:endParaRPr>
          </a:p>
        </p:txBody>
      </p:sp>
      <p:sp>
        <p:nvSpPr>
          <p:cNvPr id="31" name="Rechteck 30">
            <a:extLst>
              <a:ext uri="{FF2B5EF4-FFF2-40B4-BE49-F238E27FC236}">
                <a16:creationId xmlns:a16="http://schemas.microsoft.com/office/drawing/2014/main" xmlns="" id="{0AB4F0F3-3097-41CE-B680-2565023184FB}"/>
              </a:ext>
            </a:extLst>
          </p:cNvPr>
          <p:cNvSpPr/>
          <p:nvPr/>
        </p:nvSpPr>
        <p:spPr>
          <a:xfrm>
            <a:off x="8825209" y="4155575"/>
            <a:ext cx="2979378" cy="1710127"/>
          </a:xfrm>
          <a:prstGeom prst="rect">
            <a:avLst/>
          </a:prstGeom>
          <a:solidFill>
            <a:schemeClr val="accent3"/>
          </a:solidFill>
          <a:ln>
            <a:noFill/>
          </a:ln>
          <a:effectLst/>
        </p:spPr>
        <p:txBody>
          <a:bodyPr wrap="square" anchor="ctr">
            <a:noAutofit/>
          </a:bodyPr>
          <a:lstStyle/>
          <a:p>
            <a:endParaRPr lang="de-DE" sz="2450">
              <a:latin typeface="Lato Light" panose="020F0502020204030203" pitchFamily="34" charset="0"/>
            </a:endParaRPr>
          </a:p>
        </p:txBody>
      </p:sp>
      <p:sp>
        <p:nvSpPr>
          <p:cNvPr id="32" name="Rechteck 31">
            <a:extLst>
              <a:ext uri="{FF2B5EF4-FFF2-40B4-BE49-F238E27FC236}">
                <a16:creationId xmlns:a16="http://schemas.microsoft.com/office/drawing/2014/main" xmlns="" id="{BFA2C403-02C1-4256-9269-A737F1467E47}"/>
              </a:ext>
            </a:extLst>
          </p:cNvPr>
          <p:cNvSpPr/>
          <p:nvPr/>
        </p:nvSpPr>
        <p:spPr>
          <a:xfrm>
            <a:off x="3788608" y="4161076"/>
            <a:ext cx="2979378" cy="17101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7">
              <a:solidFill>
                <a:schemeClr val="lt1"/>
              </a:solidFill>
              <a:latin typeface="Lato Light" panose="020F0502020204030203" pitchFamily="34" charset="0"/>
            </a:endParaRPr>
          </a:p>
        </p:txBody>
      </p:sp>
      <p:sp>
        <p:nvSpPr>
          <p:cNvPr id="33" name="Rechteck 32">
            <a:extLst>
              <a:ext uri="{FF2B5EF4-FFF2-40B4-BE49-F238E27FC236}">
                <a16:creationId xmlns:a16="http://schemas.microsoft.com/office/drawing/2014/main" xmlns="" id="{07B5209B-347E-4595-B1A2-C91CDCFB5C1C}"/>
              </a:ext>
            </a:extLst>
          </p:cNvPr>
          <p:cNvSpPr/>
          <p:nvPr/>
        </p:nvSpPr>
        <p:spPr>
          <a:xfrm>
            <a:off x="3795619" y="2445448"/>
            <a:ext cx="2979378" cy="1710127"/>
          </a:xfrm>
          <a:prstGeom prst="rect">
            <a:avLst/>
          </a:prstGeom>
          <a:solidFill>
            <a:schemeClr val="accent1"/>
          </a:solidFill>
          <a:ln>
            <a:noFill/>
          </a:ln>
          <a:effectLst/>
        </p:spPr>
        <p:txBody>
          <a:bodyPr wrap="square" anchor="ctr">
            <a:noAutofit/>
          </a:bodyPr>
          <a:lstStyle/>
          <a:p>
            <a:endParaRPr lang="de-DE" sz="2450">
              <a:latin typeface="Lato Light" panose="020F0502020204030203" pitchFamily="34" charset="0"/>
            </a:endParaRPr>
          </a:p>
        </p:txBody>
      </p:sp>
      <p:sp>
        <p:nvSpPr>
          <p:cNvPr id="35" name="Rechteck 34">
            <a:extLst>
              <a:ext uri="{FF2B5EF4-FFF2-40B4-BE49-F238E27FC236}">
                <a16:creationId xmlns:a16="http://schemas.microsoft.com/office/drawing/2014/main" xmlns="" id="{9ED6D64B-2D9E-4875-95F9-51AC375F8010}"/>
              </a:ext>
            </a:extLst>
          </p:cNvPr>
          <p:cNvSpPr/>
          <p:nvPr/>
        </p:nvSpPr>
        <p:spPr>
          <a:xfrm>
            <a:off x="8826365" y="2444817"/>
            <a:ext cx="2979378" cy="1710127"/>
          </a:xfrm>
          <a:prstGeom prst="rect">
            <a:avLst/>
          </a:prstGeom>
          <a:solidFill>
            <a:schemeClr val="accent2"/>
          </a:solidFill>
          <a:ln>
            <a:noFill/>
          </a:ln>
          <a:effectLst/>
        </p:spPr>
        <p:txBody>
          <a:bodyPr wrap="square" anchor="ctr">
            <a:noAutofit/>
          </a:bodyPr>
          <a:lstStyle/>
          <a:p>
            <a:endParaRPr lang="de-DE" sz="2450">
              <a:solidFill>
                <a:schemeClr val="tx1"/>
              </a:solidFill>
              <a:latin typeface="Lato Light" panose="020F0502020204030203" pitchFamily="34" charset="0"/>
            </a:endParaRPr>
          </a:p>
        </p:txBody>
      </p:sp>
      <p:sp>
        <p:nvSpPr>
          <p:cNvPr id="37" name="Freeform 44">
            <a:extLst>
              <a:ext uri="{FF2B5EF4-FFF2-40B4-BE49-F238E27FC236}">
                <a16:creationId xmlns:a16="http://schemas.microsoft.com/office/drawing/2014/main" xmlns="" id="{2B452C44-F1CD-48AC-9EBF-CA2D3414921C}"/>
              </a:ext>
            </a:extLst>
          </p:cNvPr>
          <p:cNvSpPr/>
          <p:nvPr/>
        </p:nvSpPr>
        <p:spPr>
          <a:xfrm>
            <a:off x="3789764" y="4154940"/>
            <a:ext cx="4007655" cy="2012117"/>
          </a:xfrm>
          <a:custGeom>
            <a:avLst/>
            <a:gdLst>
              <a:gd name="connsiteX0" fmla="*/ 0 w 9732811"/>
              <a:gd name="connsiteY0" fmla="*/ 0 h 4886534"/>
              <a:gd name="connsiteX1" fmla="*/ 2512787 w 9732811"/>
              <a:gd name="connsiteY1" fmla="*/ 0 h 4886534"/>
              <a:gd name="connsiteX2" fmla="*/ 2512787 w 9732811"/>
              <a:gd name="connsiteY2" fmla="*/ 1 h 4886534"/>
              <a:gd name="connsiteX3" fmla="*/ 7620648 w 9732811"/>
              <a:gd name="connsiteY3" fmla="*/ 1 h 4886534"/>
              <a:gd name="connsiteX4" fmla="*/ 9732811 w 9732811"/>
              <a:gd name="connsiteY4" fmla="*/ 2111888 h 4886534"/>
              <a:gd name="connsiteX5" fmla="*/ 9732811 w 9732811"/>
              <a:gd name="connsiteY5" fmla="*/ 4886534 h 4886534"/>
              <a:gd name="connsiteX6" fmla="*/ 5607670 w 9732811"/>
              <a:gd name="connsiteY6" fmla="*/ 2616073 h 4886534"/>
              <a:gd name="connsiteX7" fmla="*/ 2501212 w 9732811"/>
              <a:gd name="connsiteY7" fmla="*/ 2616073 h 4886534"/>
              <a:gd name="connsiteX8" fmla="*/ 2501212 w 9732811"/>
              <a:gd name="connsiteY8" fmla="*/ 2615397 h 4886534"/>
              <a:gd name="connsiteX9" fmla="*/ 0 w 9732811"/>
              <a:gd name="connsiteY9" fmla="*/ 2615397 h 48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2811" h="4886534">
                <a:moveTo>
                  <a:pt x="0" y="0"/>
                </a:moveTo>
                <a:lnTo>
                  <a:pt x="2512787" y="0"/>
                </a:lnTo>
                <a:lnTo>
                  <a:pt x="2512787" y="1"/>
                </a:lnTo>
                <a:lnTo>
                  <a:pt x="7620648" y="1"/>
                </a:lnTo>
                <a:cubicBezTo>
                  <a:pt x="7620648" y="1165320"/>
                  <a:pt x="8566162" y="2111888"/>
                  <a:pt x="9732811" y="2111888"/>
                </a:cubicBezTo>
                <a:lnTo>
                  <a:pt x="9732811" y="4886534"/>
                </a:lnTo>
                <a:cubicBezTo>
                  <a:pt x="7997064" y="4886534"/>
                  <a:pt x="6474323" y="3980626"/>
                  <a:pt x="5607670" y="2616073"/>
                </a:cubicBezTo>
                <a:lnTo>
                  <a:pt x="2501212" y="2616073"/>
                </a:lnTo>
                <a:lnTo>
                  <a:pt x="2501212" y="2615397"/>
                </a:lnTo>
                <a:lnTo>
                  <a:pt x="0" y="2615397"/>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39" name="Freeform 43">
            <a:extLst>
              <a:ext uri="{FF2B5EF4-FFF2-40B4-BE49-F238E27FC236}">
                <a16:creationId xmlns:a16="http://schemas.microsoft.com/office/drawing/2014/main" xmlns="" id="{79D47A99-D80F-44DB-958A-4738C47C6A18}"/>
              </a:ext>
            </a:extLst>
          </p:cNvPr>
          <p:cNvSpPr>
            <a:spLocks noChangeArrowheads="1"/>
          </p:cNvSpPr>
          <p:nvPr/>
        </p:nvSpPr>
        <p:spPr bwMode="auto">
          <a:xfrm>
            <a:off x="7797752" y="4154940"/>
            <a:ext cx="4007991" cy="2012117"/>
          </a:xfrm>
          <a:custGeom>
            <a:avLst/>
            <a:gdLst>
              <a:gd name="connsiteX0" fmla="*/ 7220841 w 9733627"/>
              <a:gd name="connsiteY0" fmla="*/ 0 h 4886534"/>
              <a:gd name="connsiteX1" fmla="*/ 9733627 w 9733627"/>
              <a:gd name="connsiteY1" fmla="*/ 0 h 4886534"/>
              <a:gd name="connsiteX2" fmla="*/ 9733627 w 9733627"/>
              <a:gd name="connsiteY2" fmla="*/ 2615397 h 4886534"/>
              <a:gd name="connsiteX3" fmla="*/ 7231601 w 9733627"/>
              <a:gd name="connsiteY3" fmla="*/ 2615397 h 4886534"/>
              <a:gd name="connsiteX4" fmla="*/ 7231601 w 9733627"/>
              <a:gd name="connsiteY4" fmla="*/ 2616073 h 4886534"/>
              <a:gd name="connsiteX5" fmla="*/ 4125257 w 9733627"/>
              <a:gd name="connsiteY5" fmla="*/ 2616073 h 4886534"/>
              <a:gd name="connsiteX6" fmla="*/ 0 w 9733627"/>
              <a:gd name="connsiteY6" fmla="*/ 4886534 h 4886534"/>
              <a:gd name="connsiteX7" fmla="*/ 0 w 9733627"/>
              <a:gd name="connsiteY7" fmla="*/ 2111888 h 4886534"/>
              <a:gd name="connsiteX8" fmla="*/ 2111826 w 9733627"/>
              <a:gd name="connsiteY8" fmla="*/ 1 h 4886534"/>
              <a:gd name="connsiteX9" fmla="*/ 7220841 w 9733627"/>
              <a:gd name="connsiteY9" fmla="*/ 1 h 48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3627" h="4886534">
                <a:moveTo>
                  <a:pt x="7220841" y="0"/>
                </a:moveTo>
                <a:lnTo>
                  <a:pt x="9733627" y="0"/>
                </a:lnTo>
                <a:lnTo>
                  <a:pt x="9733627" y="2615397"/>
                </a:lnTo>
                <a:lnTo>
                  <a:pt x="7231601" y="2615397"/>
                </a:lnTo>
                <a:lnTo>
                  <a:pt x="7231601" y="2616073"/>
                </a:lnTo>
                <a:lnTo>
                  <a:pt x="4125257" y="2616073"/>
                </a:lnTo>
                <a:cubicBezTo>
                  <a:pt x="3258409" y="3980626"/>
                  <a:pt x="1735324" y="4886534"/>
                  <a:pt x="0" y="4886534"/>
                </a:cubicBezTo>
                <a:lnTo>
                  <a:pt x="0" y="2111888"/>
                </a:lnTo>
                <a:cubicBezTo>
                  <a:pt x="1166099" y="2111888"/>
                  <a:pt x="2111826" y="1165320"/>
                  <a:pt x="2111826" y="1"/>
                </a:cubicBezTo>
                <a:lnTo>
                  <a:pt x="7220841" y="1"/>
                </a:lnTo>
                <a:close/>
              </a:path>
            </a:pathLst>
          </a:custGeom>
          <a:solidFill>
            <a:schemeClr val="accent3"/>
          </a:solidFill>
          <a:ln>
            <a:noFill/>
          </a:ln>
          <a:effectLst/>
        </p:spPr>
        <p:txBody>
          <a:bodyPr wrap="square" anchor="ctr">
            <a:noAutofit/>
          </a:bodyPr>
          <a:lstStyle/>
          <a:p>
            <a:endParaRPr lang="en-US" sz="2450" dirty="0">
              <a:latin typeface="Lato Light" panose="020F0502020204030203" pitchFamily="34" charset="0"/>
            </a:endParaRPr>
          </a:p>
        </p:txBody>
      </p:sp>
      <p:sp>
        <p:nvSpPr>
          <p:cNvPr id="40" name="Freeform 42">
            <a:extLst>
              <a:ext uri="{FF2B5EF4-FFF2-40B4-BE49-F238E27FC236}">
                <a16:creationId xmlns:a16="http://schemas.microsoft.com/office/drawing/2014/main" xmlns="" id="{D8A6BFCD-C4DA-48D5-9420-CB59108103C6}"/>
              </a:ext>
            </a:extLst>
          </p:cNvPr>
          <p:cNvSpPr>
            <a:spLocks noChangeArrowheads="1"/>
          </p:cNvSpPr>
          <p:nvPr/>
        </p:nvSpPr>
        <p:spPr bwMode="auto">
          <a:xfrm>
            <a:off x="7797752" y="2142491"/>
            <a:ext cx="4007991" cy="2012453"/>
          </a:xfrm>
          <a:custGeom>
            <a:avLst/>
            <a:gdLst>
              <a:gd name="connsiteX0" fmla="*/ 0 w 9733627"/>
              <a:gd name="connsiteY0" fmla="*/ 0 h 4887347"/>
              <a:gd name="connsiteX1" fmla="*/ 4125257 w 9733627"/>
              <a:gd name="connsiteY1" fmla="*/ 2269272 h 4887347"/>
              <a:gd name="connsiteX2" fmla="*/ 7231601 w 9733627"/>
              <a:gd name="connsiteY2" fmla="*/ 2269272 h 4887347"/>
              <a:gd name="connsiteX3" fmla="*/ 7231601 w 9733627"/>
              <a:gd name="connsiteY3" fmla="*/ 2271950 h 4887347"/>
              <a:gd name="connsiteX4" fmla="*/ 9733627 w 9733627"/>
              <a:gd name="connsiteY4" fmla="*/ 2271950 h 4887347"/>
              <a:gd name="connsiteX5" fmla="*/ 9733627 w 9733627"/>
              <a:gd name="connsiteY5" fmla="*/ 4887347 h 4887347"/>
              <a:gd name="connsiteX6" fmla="*/ 7220841 w 9733627"/>
              <a:gd name="connsiteY6" fmla="*/ 4887347 h 4887347"/>
              <a:gd name="connsiteX7" fmla="*/ 7220841 w 9733627"/>
              <a:gd name="connsiteY7" fmla="*/ 4886536 h 4887347"/>
              <a:gd name="connsiteX8" fmla="*/ 2111826 w 9733627"/>
              <a:gd name="connsiteY8" fmla="*/ 4886536 h 4887347"/>
              <a:gd name="connsiteX9" fmla="*/ 0 w 9733627"/>
              <a:gd name="connsiteY9" fmla="*/ 2774187 h 488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3627" h="4887347">
                <a:moveTo>
                  <a:pt x="0" y="0"/>
                </a:moveTo>
                <a:cubicBezTo>
                  <a:pt x="1735324" y="0"/>
                  <a:pt x="3258409" y="905757"/>
                  <a:pt x="4125257" y="2269272"/>
                </a:cubicBezTo>
                <a:lnTo>
                  <a:pt x="7231601" y="2269272"/>
                </a:lnTo>
                <a:lnTo>
                  <a:pt x="7231601" y="2271950"/>
                </a:lnTo>
                <a:lnTo>
                  <a:pt x="9733627" y="2271950"/>
                </a:lnTo>
                <a:lnTo>
                  <a:pt x="9733627" y="4887347"/>
                </a:lnTo>
                <a:lnTo>
                  <a:pt x="7220841" y="4887347"/>
                </a:lnTo>
                <a:lnTo>
                  <a:pt x="7220841" y="4886536"/>
                </a:lnTo>
                <a:lnTo>
                  <a:pt x="2111826" y="4886536"/>
                </a:lnTo>
                <a:cubicBezTo>
                  <a:pt x="2111826" y="3719784"/>
                  <a:pt x="1166099" y="2774187"/>
                  <a:pt x="0" y="2774187"/>
                </a:cubicBezTo>
                <a:close/>
              </a:path>
            </a:pathLst>
          </a:custGeom>
          <a:solidFill>
            <a:schemeClr val="accent2"/>
          </a:solidFill>
          <a:ln>
            <a:noFill/>
          </a:ln>
          <a:effectLst/>
        </p:spPr>
        <p:txBody>
          <a:bodyPr wrap="square" anchor="ctr">
            <a:noAutofit/>
          </a:bodyPr>
          <a:lstStyle/>
          <a:p>
            <a:endParaRPr lang="en-US" sz="2450" dirty="0">
              <a:latin typeface="Lato Light" panose="020F0502020204030203" pitchFamily="34" charset="0"/>
            </a:endParaRPr>
          </a:p>
        </p:txBody>
      </p:sp>
      <p:sp>
        <p:nvSpPr>
          <p:cNvPr id="41" name="Freeform 45">
            <a:extLst>
              <a:ext uri="{FF2B5EF4-FFF2-40B4-BE49-F238E27FC236}">
                <a16:creationId xmlns:a16="http://schemas.microsoft.com/office/drawing/2014/main" xmlns="" id="{A6A93EA4-077E-45D7-81AA-E27E72DA528A}"/>
              </a:ext>
            </a:extLst>
          </p:cNvPr>
          <p:cNvSpPr>
            <a:spLocks noChangeArrowheads="1"/>
          </p:cNvSpPr>
          <p:nvPr/>
        </p:nvSpPr>
        <p:spPr bwMode="auto">
          <a:xfrm>
            <a:off x="3789764" y="2142491"/>
            <a:ext cx="4007655" cy="2012452"/>
          </a:xfrm>
          <a:custGeom>
            <a:avLst/>
            <a:gdLst>
              <a:gd name="connsiteX0" fmla="*/ 9732811 w 9732811"/>
              <a:gd name="connsiteY0" fmla="*/ 0 h 4887347"/>
              <a:gd name="connsiteX1" fmla="*/ 9732811 w 9732811"/>
              <a:gd name="connsiteY1" fmla="*/ 2774187 h 4887347"/>
              <a:gd name="connsiteX2" fmla="*/ 7620648 w 9732811"/>
              <a:gd name="connsiteY2" fmla="*/ 4886536 h 4887347"/>
              <a:gd name="connsiteX3" fmla="*/ 2512787 w 9732811"/>
              <a:gd name="connsiteY3" fmla="*/ 4886536 h 4887347"/>
              <a:gd name="connsiteX4" fmla="*/ 2512787 w 9732811"/>
              <a:gd name="connsiteY4" fmla="*/ 4887347 h 4887347"/>
              <a:gd name="connsiteX5" fmla="*/ 0 w 9732811"/>
              <a:gd name="connsiteY5" fmla="*/ 4887347 h 4887347"/>
              <a:gd name="connsiteX6" fmla="*/ 0 w 9732811"/>
              <a:gd name="connsiteY6" fmla="*/ 2271950 h 4887347"/>
              <a:gd name="connsiteX7" fmla="*/ 2501212 w 9732811"/>
              <a:gd name="connsiteY7" fmla="*/ 2271950 h 4887347"/>
              <a:gd name="connsiteX8" fmla="*/ 2501212 w 9732811"/>
              <a:gd name="connsiteY8" fmla="*/ 2269272 h 4887347"/>
              <a:gd name="connsiteX9" fmla="*/ 5607670 w 9732811"/>
              <a:gd name="connsiteY9" fmla="*/ 2269272 h 4887347"/>
              <a:gd name="connsiteX10" fmla="*/ 9732811 w 9732811"/>
              <a:gd name="connsiteY10" fmla="*/ 0 h 488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32811" h="4887347">
                <a:moveTo>
                  <a:pt x="9732811" y="0"/>
                </a:moveTo>
                <a:lnTo>
                  <a:pt x="9732811" y="2774187"/>
                </a:lnTo>
                <a:cubicBezTo>
                  <a:pt x="8566162" y="2774187"/>
                  <a:pt x="7620648" y="3719784"/>
                  <a:pt x="7620648" y="4886536"/>
                </a:cubicBezTo>
                <a:lnTo>
                  <a:pt x="2512787" y="4886536"/>
                </a:lnTo>
                <a:lnTo>
                  <a:pt x="2512787" y="4887347"/>
                </a:lnTo>
                <a:lnTo>
                  <a:pt x="0" y="4887347"/>
                </a:lnTo>
                <a:lnTo>
                  <a:pt x="0" y="2271950"/>
                </a:lnTo>
                <a:lnTo>
                  <a:pt x="2501212" y="2271950"/>
                </a:lnTo>
                <a:lnTo>
                  <a:pt x="2501212" y="2269272"/>
                </a:lnTo>
                <a:lnTo>
                  <a:pt x="5607670" y="2269272"/>
                </a:lnTo>
                <a:cubicBezTo>
                  <a:pt x="6474323" y="905757"/>
                  <a:pt x="7997064" y="0"/>
                  <a:pt x="9732811" y="0"/>
                </a:cubicBezTo>
                <a:close/>
              </a:path>
            </a:pathLst>
          </a:custGeom>
          <a:solidFill>
            <a:schemeClr val="accent1"/>
          </a:solidFill>
          <a:ln>
            <a:noFill/>
          </a:ln>
          <a:effectLst/>
        </p:spPr>
        <p:txBody>
          <a:bodyPr wrap="square" anchor="ctr">
            <a:noAutofit/>
          </a:bodyPr>
          <a:lstStyle/>
          <a:p>
            <a:endParaRPr lang="en-US" sz="2450" dirty="0">
              <a:latin typeface="Lato Light" panose="020F0502020204030203" pitchFamily="34" charset="0"/>
            </a:endParaRPr>
          </a:p>
        </p:txBody>
      </p:sp>
      <p:sp>
        <p:nvSpPr>
          <p:cNvPr id="43" name="TextBox 21">
            <a:extLst>
              <a:ext uri="{FF2B5EF4-FFF2-40B4-BE49-F238E27FC236}">
                <a16:creationId xmlns:a16="http://schemas.microsoft.com/office/drawing/2014/main" xmlns="" id="{33D97474-B775-495B-95D3-4577CC13C41D}"/>
              </a:ext>
            </a:extLst>
          </p:cNvPr>
          <p:cNvSpPr txBox="1"/>
          <p:nvPr/>
        </p:nvSpPr>
        <p:spPr>
          <a:xfrm>
            <a:off x="6229300" y="2871807"/>
            <a:ext cx="1345408" cy="337866"/>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Autoprotectores</a:t>
            </a:r>
          </a:p>
        </p:txBody>
      </p:sp>
      <p:sp>
        <p:nvSpPr>
          <p:cNvPr id="46" name="TextBox 24">
            <a:extLst>
              <a:ext uri="{FF2B5EF4-FFF2-40B4-BE49-F238E27FC236}">
                <a16:creationId xmlns:a16="http://schemas.microsoft.com/office/drawing/2014/main" xmlns="" id="{01CE5CA7-8B4D-4E6C-9E22-A294C2C9DDE8}"/>
              </a:ext>
            </a:extLst>
          </p:cNvPr>
          <p:cNvSpPr txBox="1"/>
          <p:nvPr/>
        </p:nvSpPr>
        <p:spPr>
          <a:xfrm>
            <a:off x="7900650" y="5132427"/>
            <a:ext cx="941939" cy="337866"/>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Optimistas</a:t>
            </a:r>
          </a:p>
        </p:txBody>
      </p:sp>
      <p:sp>
        <p:nvSpPr>
          <p:cNvPr id="57" name="TextBox 27">
            <a:extLst>
              <a:ext uri="{FF2B5EF4-FFF2-40B4-BE49-F238E27FC236}">
                <a16:creationId xmlns:a16="http://schemas.microsoft.com/office/drawing/2014/main" xmlns="" id="{FF7F0F29-500A-4E56-A108-F29987E03B57}"/>
              </a:ext>
            </a:extLst>
          </p:cNvPr>
          <p:cNvSpPr txBox="1"/>
          <p:nvPr/>
        </p:nvSpPr>
        <p:spPr>
          <a:xfrm>
            <a:off x="8420096" y="2871807"/>
            <a:ext cx="779413" cy="574370"/>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En</a:t>
            </a:r>
            <a:br>
              <a:rPr lang="en-US" sz="1400" b="1" dirty="0">
                <a:solidFill>
                  <a:schemeClr val="bg1"/>
                </a:solidFill>
                <a:latin typeface="+mj-lt"/>
                <a:ea typeface="League Spartan" charset="0"/>
                <a:cs typeface="Poppins" pitchFamily="2" charset="77"/>
              </a:rPr>
            </a:br>
            <a:r>
              <a:rPr lang="en-US" sz="1400" b="1" dirty="0">
                <a:solidFill>
                  <a:schemeClr val="bg1"/>
                </a:solidFill>
                <a:latin typeface="+mj-lt"/>
                <a:ea typeface="League Spartan" charset="0"/>
                <a:cs typeface="Poppins" pitchFamily="2" charset="77"/>
              </a:rPr>
              <a:t>Esforzadores</a:t>
            </a:r>
          </a:p>
        </p:txBody>
      </p:sp>
      <p:sp>
        <p:nvSpPr>
          <p:cNvPr id="58" name="TextBox 30">
            <a:extLst>
              <a:ext uri="{FF2B5EF4-FFF2-40B4-BE49-F238E27FC236}">
                <a16:creationId xmlns:a16="http://schemas.microsoft.com/office/drawing/2014/main" xmlns="" id="{EC4144FA-EA4F-43DB-8229-35D6E0271B06}"/>
              </a:ext>
            </a:extLst>
          </p:cNvPr>
          <p:cNvSpPr txBox="1"/>
          <p:nvPr/>
        </p:nvSpPr>
        <p:spPr>
          <a:xfrm>
            <a:off x="6416005" y="5031148"/>
            <a:ext cx="971996" cy="574370"/>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Falla</a:t>
            </a:r>
            <a:br>
              <a:rPr lang="en-US" sz="1400" b="1" dirty="0">
                <a:solidFill>
                  <a:schemeClr val="bg1"/>
                </a:solidFill>
                <a:latin typeface="+mj-lt"/>
                <a:ea typeface="League Spartan" charset="0"/>
                <a:cs typeface="Poppins" pitchFamily="2" charset="77"/>
              </a:rPr>
            </a:br>
            <a:r>
              <a:rPr lang="en-US" sz="1400" b="1" dirty="0">
                <a:solidFill>
                  <a:schemeClr val="bg1"/>
                </a:solidFill>
                <a:latin typeface="+mj-lt"/>
                <a:ea typeface="League Spartan" charset="0"/>
                <a:cs typeface="Poppins" pitchFamily="2" charset="77"/>
              </a:rPr>
              <a:t>Aceptadores</a:t>
            </a:r>
          </a:p>
        </p:txBody>
      </p:sp>
      <p:sp>
        <p:nvSpPr>
          <p:cNvPr id="59" name="Subtitle 2">
            <a:extLst>
              <a:ext uri="{FF2B5EF4-FFF2-40B4-BE49-F238E27FC236}">
                <a16:creationId xmlns:a16="http://schemas.microsoft.com/office/drawing/2014/main" xmlns="" id="{87248272-29C4-4CBB-86B2-8B2357FFBE7B}"/>
              </a:ext>
            </a:extLst>
          </p:cNvPr>
          <p:cNvSpPr txBox="1">
            <a:spLocks/>
          </p:cNvSpPr>
          <p:nvPr/>
        </p:nvSpPr>
        <p:spPr>
          <a:xfrm>
            <a:off x="3918193" y="2459320"/>
            <a:ext cx="2378925" cy="1701756"/>
          </a:xfrm>
          <a:prstGeom prst="rect">
            <a:avLst/>
          </a:prstGeom>
        </p:spPr>
        <p:txBody>
          <a:bodyPr vert="horz" wrap="square" lIns="34299" tIns="17149" rIns="34299" bIns="17149"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Los autoprotectores tienen mucho miedo al fracaso y poca orientación al éxito. En lugar de intentar evitar el fracaso, encuentran razones externas para justificar la falta de rendimiento. Por ejemplo, que otras personas no hayan hecho algo, que el tiempo sea insuficiente o que un sistema que necesitan no esté disponible.</a:t>
            </a:r>
          </a:p>
        </p:txBody>
      </p:sp>
      <p:sp>
        <p:nvSpPr>
          <p:cNvPr id="60" name="Subtitle 2">
            <a:extLst>
              <a:ext uri="{FF2B5EF4-FFF2-40B4-BE49-F238E27FC236}">
                <a16:creationId xmlns:a16="http://schemas.microsoft.com/office/drawing/2014/main" xmlns="" id="{BD24F8CF-6730-4996-ADE0-EAC6AB3855DA}"/>
              </a:ext>
            </a:extLst>
          </p:cNvPr>
          <p:cNvSpPr txBox="1">
            <a:spLocks/>
          </p:cNvSpPr>
          <p:nvPr/>
        </p:nvSpPr>
        <p:spPr>
          <a:xfrm>
            <a:off x="9286285" y="2705086"/>
            <a:ext cx="2519457" cy="120161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Un </a:t>
            </a:r>
            <a:r>
              <a:rPr lang="en-US" sz="1200" dirty="0" err="1">
                <a:solidFill>
                  <a:schemeClr val="bg1"/>
                </a:solidFill>
                <a:latin typeface="Lato Light" panose="020F0502020204030203" pitchFamily="34" charset="0"/>
                <a:ea typeface="Lato Light" panose="020F0502020204030203" pitchFamily="34" charset="0"/>
                <a:cs typeface="Mukta ExtraLight" panose="020B0000000000000000" pitchFamily="34" charset="77"/>
              </a:rPr>
              <a:t>Overstriver está </a:t>
            </a: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muy orientado al éxito y tiene mucho miedo al fracaso. Carecen de confianza, por lo que siguen trabajando mucho después de haber alcanzado el valor. Como resultado, es probable que se agoten y carezcan de resiliencia cuando tengan problemas.</a:t>
            </a:r>
          </a:p>
        </p:txBody>
      </p:sp>
      <p:sp>
        <p:nvSpPr>
          <p:cNvPr id="61" name="Subtitle 2">
            <a:extLst>
              <a:ext uri="{FF2B5EF4-FFF2-40B4-BE49-F238E27FC236}">
                <a16:creationId xmlns:a16="http://schemas.microsoft.com/office/drawing/2014/main" xmlns="" id="{C1F5DD5C-B202-474E-9B0D-76B8F5BBF921}"/>
              </a:ext>
            </a:extLst>
          </p:cNvPr>
          <p:cNvSpPr txBox="1">
            <a:spLocks/>
          </p:cNvSpPr>
          <p:nvPr/>
        </p:nvSpPr>
        <p:spPr>
          <a:xfrm>
            <a:off x="3899208" y="4255929"/>
            <a:ext cx="2378924" cy="132729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400" dirty="0">
                <a:solidFill>
                  <a:schemeClr val="bg1"/>
                </a:solidFill>
                <a:latin typeface="+mj-lt"/>
                <a:ea typeface="Lato Light" panose="020F0502020204030203" pitchFamily="34" charset="0"/>
                <a:cs typeface="Mukta ExtraLight" panose="020B0000000000000000" pitchFamily="34" charset="77"/>
              </a:rPr>
              <a:t>Los que tienen poco miedo al fracaso y poca orientación al éxito son aceptadores del fracaso. Esperan muy poco de sí mismos y son aparentemente indiferentes tanto a sus éxitos como a sus fracasos.</a:t>
            </a:r>
          </a:p>
        </p:txBody>
      </p:sp>
      <p:sp>
        <p:nvSpPr>
          <p:cNvPr id="62" name="Subtitle 2">
            <a:extLst>
              <a:ext uri="{FF2B5EF4-FFF2-40B4-BE49-F238E27FC236}">
                <a16:creationId xmlns:a16="http://schemas.microsoft.com/office/drawing/2014/main" xmlns="" id="{FD12B727-AD4F-4067-9E90-31F9646E7F95}"/>
              </a:ext>
            </a:extLst>
          </p:cNvPr>
          <p:cNvSpPr txBox="1">
            <a:spLocks/>
          </p:cNvSpPr>
          <p:nvPr/>
        </p:nvSpPr>
        <p:spPr>
          <a:xfrm>
            <a:off x="8900195" y="4185243"/>
            <a:ext cx="2866166" cy="148887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350" dirty="0">
                <a:solidFill>
                  <a:schemeClr val="bg1"/>
                </a:solidFill>
                <a:latin typeface="+mj-lt"/>
                <a:ea typeface="Lato Light" panose="020F0502020204030203" pitchFamily="34" charset="0"/>
                <a:cs typeface="Mukta ExtraLight" panose="020B0000000000000000" pitchFamily="34" charset="77"/>
              </a:rPr>
              <a:t>Alguien con una alta orientación al éxito y un bajo miedo al fracaso es un Optimista. Se encuentran en el lugar ideal de este modelo, ya que confían en que su esfuerzo producirá el resultado que desean. Muestran resiliencia y es poco probable que muestren </a:t>
            </a:r>
            <a:r>
              <a:rPr lang="en-US" sz="1350" dirty="0" err="1">
                <a:solidFill>
                  <a:schemeClr val="bg1"/>
                </a:solidFill>
                <a:latin typeface="+mj-lt"/>
                <a:ea typeface="Lato Light" panose="020F0502020204030203" pitchFamily="34" charset="0"/>
                <a:cs typeface="Mukta ExtraLight" panose="020B0000000000000000" pitchFamily="34" charset="77"/>
              </a:rPr>
              <a:t>comportamientos </a:t>
            </a:r>
            <a:r>
              <a:rPr lang="en-US" sz="1350" dirty="0">
                <a:solidFill>
                  <a:schemeClr val="bg1"/>
                </a:solidFill>
                <a:latin typeface="+mj-lt"/>
                <a:ea typeface="Lato Light" panose="020F0502020204030203" pitchFamily="34" charset="0"/>
                <a:cs typeface="Mukta ExtraLight" panose="020B0000000000000000" pitchFamily="34" charset="77"/>
              </a:rPr>
              <a:t>defensivos.</a:t>
            </a:r>
          </a:p>
        </p:txBody>
      </p:sp>
      <p:cxnSp>
        <p:nvCxnSpPr>
          <p:cNvPr id="63" name="Gerade Verbindung mit Pfeil 62">
            <a:extLst>
              <a:ext uri="{FF2B5EF4-FFF2-40B4-BE49-F238E27FC236}">
                <a16:creationId xmlns:a16="http://schemas.microsoft.com/office/drawing/2014/main" xmlns="" id="{C4D389B8-4520-4E4C-908A-7832E865311D}"/>
              </a:ext>
            </a:extLst>
          </p:cNvPr>
          <p:cNvCxnSpPr/>
          <p:nvPr/>
        </p:nvCxnSpPr>
        <p:spPr>
          <a:xfrm>
            <a:off x="7797419" y="1953928"/>
            <a:ext cx="0" cy="446612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xmlns="" id="{59D6F5CB-6DA5-4649-A349-418F1B294A92}"/>
              </a:ext>
            </a:extLst>
          </p:cNvPr>
          <p:cNvCxnSpPr>
            <a:cxnSpLocks/>
          </p:cNvCxnSpPr>
          <p:nvPr/>
        </p:nvCxnSpPr>
        <p:spPr>
          <a:xfrm flipH="1">
            <a:off x="3389391" y="4135318"/>
            <a:ext cx="8328868"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TextBox 21">
            <a:extLst>
              <a:ext uri="{FF2B5EF4-FFF2-40B4-BE49-F238E27FC236}">
                <a16:creationId xmlns:a16="http://schemas.microsoft.com/office/drawing/2014/main" xmlns="" id="{08B7B151-77FA-46C9-99E8-B997192D1803}"/>
              </a:ext>
            </a:extLst>
          </p:cNvPr>
          <p:cNvSpPr txBox="1"/>
          <p:nvPr/>
        </p:nvSpPr>
        <p:spPr>
          <a:xfrm>
            <a:off x="7958623" y="1831882"/>
            <a:ext cx="1554785" cy="307777"/>
          </a:xfrm>
          <a:prstGeom prst="rect">
            <a:avLst/>
          </a:prstGeom>
          <a:noFill/>
        </p:spPr>
        <p:txBody>
          <a:bodyPr wrap="none" rtlCol="0" anchor="t" anchorCtr="0">
            <a:spAutoFit/>
          </a:bodyPr>
          <a:lstStyle/>
          <a:p>
            <a:r>
              <a:rPr lang="en-US" sz="1400" b="1" dirty="0">
                <a:solidFill>
                  <a:schemeClr val="tx2"/>
                </a:solidFill>
                <a:latin typeface="+mj-lt"/>
                <a:ea typeface="League Spartan" charset="0"/>
                <a:cs typeface="Poppins" pitchFamily="2" charset="77"/>
              </a:rPr>
              <a:t>Elevado miedo al fracaso</a:t>
            </a:r>
          </a:p>
        </p:txBody>
      </p:sp>
      <p:sp>
        <p:nvSpPr>
          <p:cNvPr id="66" name="TextBox 21">
            <a:extLst>
              <a:ext uri="{FF2B5EF4-FFF2-40B4-BE49-F238E27FC236}">
                <a16:creationId xmlns:a16="http://schemas.microsoft.com/office/drawing/2014/main" xmlns="" id="{3317F4D8-7CC6-4EC8-B488-8B265BA8DC3D}"/>
              </a:ext>
            </a:extLst>
          </p:cNvPr>
          <p:cNvSpPr txBox="1"/>
          <p:nvPr/>
        </p:nvSpPr>
        <p:spPr>
          <a:xfrm>
            <a:off x="6183657" y="6220717"/>
            <a:ext cx="1520224" cy="307777"/>
          </a:xfrm>
          <a:prstGeom prst="rect">
            <a:avLst/>
          </a:prstGeom>
          <a:noFill/>
        </p:spPr>
        <p:txBody>
          <a:bodyPr wrap="none" rtlCol="0" anchor="t" anchorCtr="0">
            <a:spAutoFit/>
          </a:bodyPr>
          <a:lstStyle/>
          <a:p>
            <a:r>
              <a:rPr lang="en-US" sz="1400" b="1" dirty="0">
                <a:solidFill>
                  <a:schemeClr val="tx2"/>
                </a:solidFill>
                <a:latin typeface="+mj-lt"/>
                <a:ea typeface="League Spartan" charset="0"/>
                <a:cs typeface="Poppins" pitchFamily="2" charset="77"/>
              </a:rPr>
              <a:t>Poco miedo al fracaso</a:t>
            </a:r>
          </a:p>
        </p:txBody>
      </p:sp>
      <p:sp>
        <p:nvSpPr>
          <p:cNvPr id="67" name="TextBox 21">
            <a:extLst>
              <a:ext uri="{FF2B5EF4-FFF2-40B4-BE49-F238E27FC236}">
                <a16:creationId xmlns:a16="http://schemas.microsoft.com/office/drawing/2014/main" xmlns="" id="{395FDB2E-6B63-4E38-BFFD-056A21D8F8A0}"/>
              </a:ext>
            </a:extLst>
          </p:cNvPr>
          <p:cNvSpPr txBox="1"/>
          <p:nvPr/>
        </p:nvSpPr>
        <p:spPr>
          <a:xfrm rot="5400000">
            <a:off x="11065986" y="4007187"/>
            <a:ext cx="1940276" cy="307777"/>
          </a:xfrm>
          <a:prstGeom prst="rect">
            <a:avLst/>
          </a:prstGeom>
          <a:noFill/>
        </p:spPr>
        <p:txBody>
          <a:bodyPr wrap="none" rtlCol="0" anchor="t" anchorCtr="0">
            <a:spAutoFit/>
          </a:bodyPr>
          <a:lstStyle/>
          <a:p>
            <a:pPr algn="ctr"/>
            <a:r>
              <a:rPr lang="en-US" sz="1400" b="1" dirty="0">
                <a:solidFill>
                  <a:schemeClr val="tx2"/>
                </a:solidFill>
                <a:latin typeface="+mj-lt"/>
                <a:ea typeface="League Spartan" charset="0"/>
                <a:cs typeface="Poppins" pitchFamily="2" charset="77"/>
              </a:rPr>
              <a:t>Orientación al éxito</a:t>
            </a:r>
          </a:p>
        </p:txBody>
      </p:sp>
      <p:sp>
        <p:nvSpPr>
          <p:cNvPr id="68" name="TextBox 21">
            <a:extLst>
              <a:ext uri="{FF2B5EF4-FFF2-40B4-BE49-F238E27FC236}">
                <a16:creationId xmlns:a16="http://schemas.microsoft.com/office/drawing/2014/main" xmlns="" id="{1932D53C-2757-4DEC-A176-61C0185DC6A4}"/>
              </a:ext>
            </a:extLst>
          </p:cNvPr>
          <p:cNvSpPr txBox="1"/>
          <p:nvPr/>
        </p:nvSpPr>
        <p:spPr>
          <a:xfrm rot="16200000">
            <a:off x="2555513" y="4001077"/>
            <a:ext cx="1905715" cy="307777"/>
          </a:xfrm>
          <a:prstGeom prst="rect">
            <a:avLst/>
          </a:prstGeom>
          <a:noFill/>
        </p:spPr>
        <p:txBody>
          <a:bodyPr wrap="none" rtlCol="0" anchor="t" anchorCtr="0">
            <a:spAutoFit/>
          </a:bodyPr>
          <a:lstStyle/>
          <a:p>
            <a:pPr algn="ctr"/>
            <a:r>
              <a:rPr lang="en-US" sz="1400" b="1" dirty="0">
                <a:solidFill>
                  <a:schemeClr val="tx2"/>
                </a:solidFill>
                <a:latin typeface="+mj-lt"/>
                <a:ea typeface="League Spartan" charset="0"/>
                <a:cs typeface="Poppins" pitchFamily="2" charset="77"/>
              </a:rPr>
              <a:t>Baja orientación al éxito</a:t>
            </a:r>
          </a:p>
        </p:txBody>
      </p:sp>
      <p:sp>
        <p:nvSpPr>
          <p:cNvPr id="5" name="Rechteck 4">
            <a:extLst>
              <a:ext uri="{FF2B5EF4-FFF2-40B4-BE49-F238E27FC236}">
                <a16:creationId xmlns:a16="http://schemas.microsoft.com/office/drawing/2014/main" xmlns="" id="{F9EAD6E8-62AF-43EE-9C77-314A8F9F19C2}"/>
              </a:ext>
            </a:extLst>
          </p:cNvPr>
          <p:cNvSpPr/>
          <p:nvPr/>
        </p:nvSpPr>
        <p:spPr>
          <a:xfrm>
            <a:off x="3788608" y="2444817"/>
            <a:ext cx="8015969" cy="1699325"/>
          </a:xfrm>
          <a:prstGeom prst="rect">
            <a:avLst/>
          </a:prstGeom>
          <a:solidFill>
            <a:schemeClr val="bg1">
              <a:lumMod val="95000"/>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2"/>
                </a:solidFill>
                <a:latin typeface="+mj-lt"/>
              </a:rPr>
              <a:t>Los superdotados y los autoprotectores muestran altos niveles de pesimismo defensivo. Rebajan sus expectativas sobre lo que pueden conseguir y prevén que van a fracasar como forma de protegerse contra la decepción. Cualquier éxito es tratado como una agradable sorpresa.</a:t>
            </a:r>
            <a:endParaRPr lang="de-DE" sz="2000" dirty="0">
              <a:solidFill>
                <a:schemeClr val="tx2"/>
              </a:solidFill>
              <a:latin typeface="+mj-lt"/>
            </a:endParaRPr>
          </a:p>
        </p:txBody>
      </p:sp>
    </p:spTree>
    <p:extLst>
      <p:ext uri="{BB962C8B-B14F-4D97-AF65-F5344CB8AC3E}">
        <p14:creationId xmlns:p14="http://schemas.microsoft.com/office/powerpoint/2010/main" val="523307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El miedo al fracaso</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43886" y="1713263"/>
            <a:ext cx="3382937" cy="477596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000" dirty="0">
                <a:solidFill>
                  <a:srgbClr val="245473"/>
                </a:solidFill>
                <a:latin typeface="+mj-lt"/>
              </a:rPr>
              <a:t>El problema de estas estrategias a nivel personal es que, con el tiempo, refuerzan el </a:t>
            </a:r>
            <a:r>
              <a:rPr lang="en-US" altLang="de-DE" sz="2000" dirty="0" err="1">
                <a:solidFill>
                  <a:srgbClr val="245473"/>
                </a:solidFill>
                <a:latin typeface="+mj-lt"/>
              </a:rPr>
              <a:t>comportamiento que se </a:t>
            </a:r>
            <a:r>
              <a:rPr lang="en-US" altLang="de-DE" sz="2000" dirty="0">
                <a:solidFill>
                  <a:srgbClr val="245473"/>
                </a:solidFill>
                <a:latin typeface="+mj-lt"/>
              </a:rPr>
              <a:t>intenta evitar. Esperar fracasar se convierte en algo normal, por lo que la gente se siente impotente y cree que no puede mejorar.</a:t>
            </a:r>
          </a:p>
          <a:p>
            <a:pPr algn="l">
              <a:lnSpc>
                <a:spcPct val="100000"/>
              </a:lnSpc>
              <a:spcBef>
                <a:spcPts val="600"/>
              </a:spcBef>
            </a:pPr>
            <a:r>
              <a:rPr lang="en-US" altLang="de-DE" sz="2000" dirty="0">
                <a:solidFill>
                  <a:srgbClr val="245473"/>
                </a:solidFill>
                <a:latin typeface="+mj-lt"/>
              </a:rPr>
              <a:t>Tampoco ayudan al proyecto. Aunque las personas parezcan ocupadas, el proyecto sigue viéndose afectado por la mala calidad de los resultados y los plazos cada vez más largos. Lo que, en última instancia, conduce a clientes insatisfechos.</a:t>
            </a:r>
            <a:endParaRPr lang="en-GB" altLang="de-DE" sz="2000" dirty="0">
              <a:solidFill>
                <a:srgbClr val="245473"/>
              </a:solidFill>
              <a:latin typeface="+mj-lt"/>
            </a:endParaRPr>
          </a:p>
        </p:txBody>
      </p:sp>
      <p:sp>
        <p:nvSpPr>
          <p:cNvPr id="31" name="Rechteck 30">
            <a:extLst>
              <a:ext uri="{FF2B5EF4-FFF2-40B4-BE49-F238E27FC236}">
                <a16:creationId xmlns:a16="http://schemas.microsoft.com/office/drawing/2014/main" xmlns="" id="{0AB4F0F3-3097-41CE-B680-2565023184FB}"/>
              </a:ext>
            </a:extLst>
          </p:cNvPr>
          <p:cNvSpPr/>
          <p:nvPr/>
        </p:nvSpPr>
        <p:spPr>
          <a:xfrm>
            <a:off x="8897551" y="4155575"/>
            <a:ext cx="2979378" cy="1710127"/>
          </a:xfrm>
          <a:prstGeom prst="rect">
            <a:avLst/>
          </a:prstGeom>
          <a:solidFill>
            <a:schemeClr val="accent3"/>
          </a:solidFill>
          <a:ln>
            <a:noFill/>
          </a:ln>
          <a:effectLst/>
        </p:spPr>
        <p:txBody>
          <a:bodyPr wrap="square" anchor="ctr">
            <a:noAutofit/>
          </a:bodyPr>
          <a:lstStyle/>
          <a:p>
            <a:endParaRPr lang="de-DE" sz="2450">
              <a:latin typeface="Lato Light" panose="020F0502020204030203" pitchFamily="34" charset="0"/>
            </a:endParaRPr>
          </a:p>
        </p:txBody>
      </p:sp>
      <p:sp>
        <p:nvSpPr>
          <p:cNvPr id="32" name="Rechteck 31">
            <a:extLst>
              <a:ext uri="{FF2B5EF4-FFF2-40B4-BE49-F238E27FC236}">
                <a16:creationId xmlns:a16="http://schemas.microsoft.com/office/drawing/2014/main" xmlns="" id="{BFA2C403-02C1-4256-9269-A737F1467E47}"/>
              </a:ext>
            </a:extLst>
          </p:cNvPr>
          <p:cNvSpPr/>
          <p:nvPr/>
        </p:nvSpPr>
        <p:spPr>
          <a:xfrm>
            <a:off x="3860950" y="4161076"/>
            <a:ext cx="2979378" cy="17101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7">
              <a:solidFill>
                <a:schemeClr val="lt1"/>
              </a:solidFill>
              <a:latin typeface="Lato Light" panose="020F0502020204030203" pitchFamily="34" charset="0"/>
            </a:endParaRPr>
          </a:p>
        </p:txBody>
      </p:sp>
      <p:sp>
        <p:nvSpPr>
          <p:cNvPr id="33" name="Rechteck 32">
            <a:extLst>
              <a:ext uri="{FF2B5EF4-FFF2-40B4-BE49-F238E27FC236}">
                <a16:creationId xmlns:a16="http://schemas.microsoft.com/office/drawing/2014/main" xmlns="" id="{07B5209B-347E-4595-B1A2-C91CDCFB5C1C}"/>
              </a:ext>
            </a:extLst>
          </p:cNvPr>
          <p:cNvSpPr/>
          <p:nvPr/>
        </p:nvSpPr>
        <p:spPr>
          <a:xfrm>
            <a:off x="3867961" y="2445448"/>
            <a:ext cx="2979378" cy="1710127"/>
          </a:xfrm>
          <a:prstGeom prst="rect">
            <a:avLst/>
          </a:prstGeom>
          <a:solidFill>
            <a:schemeClr val="accent1"/>
          </a:solidFill>
          <a:ln>
            <a:noFill/>
          </a:ln>
          <a:effectLst/>
        </p:spPr>
        <p:txBody>
          <a:bodyPr wrap="square" anchor="ctr">
            <a:noAutofit/>
          </a:bodyPr>
          <a:lstStyle/>
          <a:p>
            <a:endParaRPr lang="de-DE" sz="2450">
              <a:latin typeface="Lato Light" panose="020F0502020204030203" pitchFamily="34" charset="0"/>
            </a:endParaRPr>
          </a:p>
        </p:txBody>
      </p:sp>
      <p:sp>
        <p:nvSpPr>
          <p:cNvPr id="35" name="Rechteck 34">
            <a:extLst>
              <a:ext uri="{FF2B5EF4-FFF2-40B4-BE49-F238E27FC236}">
                <a16:creationId xmlns:a16="http://schemas.microsoft.com/office/drawing/2014/main" xmlns="" id="{9ED6D64B-2D9E-4875-95F9-51AC375F8010}"/>
              </a:ext>
            </a:extLst>
          </p:cNvPr>
          <p:cNvSpPr/>
          <p:nvPr/>
        </p:nvSpPr>
        <p:spPr>
          <a:xfrm>
            <a:off x="8898707" y="2444817"/>
            <a:ext cx="2979378" cy="1710127"/>
          </a:xfrm>
          <a:prstGeom prst="rect">
            <a:avLst/>
          </a:prstGeom>
          <a:solidFill>
            <a:schemeClr val="accent2"/>
          </a:solidFill>
          <a:ln>
            <a:noFill/>
          </a:ln>
          <a:effectLst/>
        </p:spPr>
        <p:txBody>
          <a:bodyPr wrap="square" anchor="ctr">
            <a:noAutofit/>
          </a:bodyPr>
          <a:lstStyle/>
          <a:p>
            <a:endParaRPr lang="de-DE" sz="2450">
              <a:solidFill>
                <a:schemeClr val="tx1"/>
              </a:solidFill>
              <a:latin typeface="Lato Light" panose="020F0502020204030203" pitchFamily="34" charset="0"/>
            </a:endParaRPr>
          </a:p>
        </p:txBody>
      </p:sp>
      <p:sp>
        <p:nvSpPr>
          <p:cNvPr id="37" name="Freeform 44">
            <a:extLst>
              <a:ext uri="{FF2B5EF4-FFF2-40B4-BE49-F238E27FC236}">
                <a16:creationId xmlns:a16="http://schemas.microsoft.com/office/drawing/2014/main" xmlns="" id="{2B452C44-F1CD-48AC-9EBF-CA2D3414921C}"/>
              </a:ext>
            </a:extLst>
          </p:cNvPr>
          <p:cNvSpPr/>
          <p:nvPr/>
        </p:nvSpPr>
        <p:spPr>
          <a:xfrm>
            <a:off x="3862106" y="4154940"/>
            <a:ext cx="4007655" cy="2012117"/>
          </a:xfrm>
          <a:custGeom>
            <a:avLst/>
            <a:gdLst>
              <a:gd name="connsiteX0" fmla="*/ 0 w 9732811"/>
              <a:gd name="connsiteY0" fmla="*/ 0 h 4886534"/>
              <a:gd name="connsiteX1" fmla="*/ 2512787 w 9732811"/>
              <a:gd name="connsiteY1" fmla="*/ 0 h 4886534"/>
              <a:gd name="connsiteX2" fmla="*/ 2512787 w 9732811"/>
              <a:gd name="connsiteY2" fmla="*/ 1 h 4886534"/>
              <a:gd name="connsiteX3" fmla="*/ 7620648 w 9732811"/>
              <a:gd name="connsiteY3" fmla="*/ 1 h 4886534"/>
              <a:gd name="connsiteX4" fmla="*/ 9732811 w 9732811"/>
              <a:gd name="connsiteY4" fmla="*/ 2111888 h 4886534"/>
              <a:gd name="connsiteX5" fmla="*/ 9732811 w 9732811"/>
              <a:gd name="connsiteY5" fmla="*/ 4886534 h 4886534"/>
              <a:gd name="connsiteX6" fmla="*/ 5607670 w 9732811"/>
              <a:gd name="connsiteY6" fmla="*/ 2616073 h 4886534"/>
              <a:gd name="connsiteX7" fmla="*/ 2501212 w 9732811"/>
              <a:gd name="connsiteY7" fmla="*/ 2616073 h 4886534"/>
              <a:gd name="connsiteX8" fmla="*/ 2501212 w 9732811"/>
              <a:gd name="connsiteY8" fmla="*/ 2615397 h 4886534"/>
              <a:gd name="connsiteX9" fmla="*/ 0 w 9732811"/>
              <a:gd name="connsiteY9" fmla="*/ 2615397 h 48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2811" h="4886534">
                <a:moveTo>
                  <a:pt x="0" y="0"/>
                </a:moveTo>
                <a:lnTo>
                  <a:pt x="2512787" y="0"/>
                </a:lnTo>
                <a:lnTo>
                  <a:pt x="2512787" y="1"/>
                </a:lnTo>
                <a:lnTo>
                  <a:pt x="7620648" y="1"/>
                </a:lnTo>
                <a:cubicBezTo>
                  <a:pt x="7620648" y="1165320"/>
                  <a:pt x="8566162" y="2111888"/>
                  <a:pt x="9732811" y="2111888"/>
                </a:cubicBezTo>
                <a:lnTo>
                  <a:pt x="9732811" y="4886534"/>
                </a:lnTo>
                <a:cubicBezTo>
                  <a:pt x="7997064" y="4886534"/>
                  <a:pt x="6474323" y="3980626"/>
                  <a:pt x="5607670" y="2616073"/>
                </a:cubicBezTo>
                <a:lnTo>
                  <a:pt x="2501212" y="2616073"/>
                </a:lnTo>
                <a:lnTo>
                  <a:pt x="2501212" y="2615397"/>
                </a:lnTo>
                <a:lnTo>
                  <a:pt x="0" y="2615397"/>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39" name="Freeform 43">
            <a:extLst>
              <a:ext uri="{FF2B5EF4-FFF2-40B4-BE49-F238E27FC236}">
                <a16:creationId xmlns:a16="http://schemas.microsoft.com/office/drawing/2014/main" xmlns="" id="{79D47A99-D80F-44DB-958A-4738C47C6A18}"/>
              </a:ext>
            </a:extLst>
          </p:cNvPr>
          <p:cNvSpPr>
            <a:spLocks noChangeArrowheads="1"/>
          </p:cNvSpPr>
          <p:nvPr/>
        </p:nvSpPr>
        <p:spPr bwMode="auto">
          <a:xfrm>
            <a:off x="7870094" y="4154940"/>
            <a:ext cx="4007991" cy="2012117"/>
          </a:xfrm>
          <a:custGeom>
            <a:avLst/>
            <a:gdLst>
              <a:gd name="connsiteX0" fmla="*/ 7220841 w 9733627"/>
              <a:gd name="connsiteY0" fmla="*/ 0 h 4886534"/>
              <a:gd name="connsiteX1" fmla="*/ 9733627 w 9733627"/>
              <a:gd name="connsiteY1" fmla="*/ 0 h 4886534"/>
              <a:gd name="connsiteX2" fmla="*/ 9733627 w 9733627"/>
              <a:gd name="connsiteY2" fmla="*/ 2615397 h 4886534"/>
              <a:gd name="connsiteX3" fmla="*/ 7231601 w 9733627"/>
              <a:gd name="connsiteY3" fmla="*/ 2615397 h 4886534"/>
              <a:gd name="connsiteX4" fmla="*/ 7231601 w 9733627"/>
              <a:gd name="connsiteY4" fmla="*/ 2616073 h 4886534"/>
              <a:gd name="connsiteX5" fmla="*/ 4125257 w 9733627"/>
              <a:gd name="connsiteY5" fmla="*/ 2616073 h 4886534"/>
              <a:gd name="connsiteX6" fmla="*/ 0 w 9733627"/>
              <a:gd name="connsiteY6" fmla="*/ 4886534 h 4886534"/>
              <a:gd name="connsiteX7" fmla="*/ 0 w 9733627"/>
              <a:gd name="connsiteY7" fmla="*/ 2111888 h 4886534"/>
              <a:gd name="connsiteX8" fmla="*/ 2111826 w 9733627"/>
              <a:gd name="connsiteY8" fmla="*/ 1 h 4886534"/>
              <a:gd name="connsiteX9" fmla="*/ 7220841 w 9733627"/>
              <a:gd name="connsiteY9" fmla="*/ 1 h 48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3627" h="4886534">
                <a:moveTo>
                  <a:pt x="7220841" y="0"/>
                </a:moveTo>
                <a:lnTo>
                  <a:pt x="9733627" y="0"/>
                </a:lnTo>
                <a:lnTo>
                  <a:pt x="9733627" y="2615397"/>
                </a:lnTo>
                <a:lnTo>
                  <a:pt x="7231601" y="2615397"/>
                </a:lnTo>
                <a:lnTo>
                  <a:pt x="7231601" y="2616073"/>
                </a:lnTo>
                <a:lnTo>
                  <a:pt x="4125257" y="2616073"/>
                </a:lnTo>
                <a:cubicBezTo>
                  <a:pt x="3258409" y="3980626"/>
                  <a:pt x="1735324" y="4886534"/>
                  <a:pt x="0" y="4886534"/>
                </a:cubicBezTo>
                <a:lnTo>
                  <a:pt x="0" y="2111888"/>
                </a:lnTo>
                <a:cubicBezTo>
                  <a:pt x="1166099" y="2111888"/>
                  <a:pt x="2111826" y="1165320"/>
                  <a:pt x="2111826" y="1"/>
                </a:cubicBezTo>
                <a:lnTo>
                  <a:pt x="7220841" y="1"/>
                </a:lnTo>
                <a:close/>
              </a:path>
            </a:pathLst>
          </a:custGeom>
          <a:solidFill>
            <a:schemeClr val="accent3"/>
          </a:solidFill>
          <a:ln>
            <a:noFill/>
          </a:ln>
          <a:effectLst/>
        </p:spPr>
        <p:txBody>
          <a:bodyPr wrap="square" anchor="ctr">
            <a:noAutofit/>
          </a:bodyPr>
          <a:lstStyle/>
          <a:p>
            <a:endParaRPr lang="en-US" sz="2450" dirty="0">
              <a:latin typeface="Lato Light" panose="020F0502020204030203" pitchFamily="34" charset="0"/>
            </a:endParaRPr>
          </a:p>
        </p:txBody>
      </p:sp>
      <p:sp>
        <p:nvSpPr>
          <p:cNvPr id="40" name="Freeform 42">
            <a:extLst>
              <a:ext uri="{FF2B5EF4-FFF2-40B4-BE49-F238E27FC236}">
                <a16:creationId xmlns:a16="http://schemas.microsoft.com/office/drawing/2014/main" xmlns="" id="{D8A6BFCD-C4DA-48D5-9420-CB59108103C6}"/>
              </a:ext>
            </a:extLst>
          </p:cNvPr>
          <p:cNvSpPr>
            <a:spLocks noChangeArrowheads="1"/>
          </p:cNvSpPr>
          <p:nvPr/>
        </p:nvSpPr>
        <p:spPr bwMode="auto">
          <a:xfrm>
            <a:off x="7870094" y="2142491"/>
            <a:ext cx="4007991" cy="2012453"/>
          </a:xfrm>
          <a:custGeom>
            <a:avLst/>
            <a:gdLst>
              <a:gd name="connsiteX0" fmla="*/ 0 w 9733627"/>
              <a:gd name="connsiteY0" fmla="*/ 0 h 4887347"/>
              <a:gd name="connsiteX1" fmla="*/ 4125257 w 9733627"/>
              <a:gd name="connsiteY1" fmla="*/ 2269272 h 4887347"/>
              <a:gd name="connsiteX2" fmla="*/ 7231601 w 9733627"/>
              <a:gd name="connsiteY2" fmla="*/ 2269272 h 4887347"/>
              <a:gd name="connsiteX3" fmla="*/ 7231601 w 9733627"/>
              <a:gd name="connsiteY3" fmla="*/ 2271950 h 4887347"/>
              <a:gd name="connsiteX4" fmla="*/ 9733627 w 9733627"/>
              <a:gd name="connsiteY4" fmla="*/ 2271950 h 4887347"/>
              <a:gd name="connsiteX5" fmla="*/ 9733627 w 9733627"/>
              <a:gd name="connsiteY5" fmla="*/ 4887347 h 4887347"/>
              <a:gd name="connsiteX6" fmla="*/ 7220841 w 9733627"/>
              <a:gd name="connsiteY6" fmla="*/ 4887347 h 4887347"/>
              <a:gd name="connsiteX7" fmla="*/ 7220841 w 9733627"/>
              <a:gd name="connsiteY7" fmla="*/ 4886536 h 4887347"/>
              <a:gd name="connsiteX8" fmla="*/ 2111826 w 9733627"/>
              <a:gd name="connsiteY8" fmla="*/ 4886536 h 4887347"/>
              <a:gd name="connsiteX9" fmla="*/ 0 w 9733627"/>
              <a:gd name="connsiteY9" fmla="*/ 2774187 h 488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3627" h="4887347">
                <a:moveTo>
                  <a:pt x="0" y="0"/>
                </a:moveTo>
                <a:cubicBezTo>
                  <a:pt x="1735324" y="0"/>
                  <a:pt x="3258409" y="905757"/>
                  <a:pt x="4125257" y="2269272"/>
                </a:cubicBezTo>
                <a:lnTo>
                  <a:pt x="7231601" y="2269272"/>
                </a:lnTo>
                <a:lnTo>
                  <a:pt x="7231601" y="2271950"/>
                </a:lnTo>
                <a:lnTo>
                  <a:pt x="9733627" y="2271950"/>
                </a:lnTo>
                <a:lnTo>
                  <a:pt x="9733627" y="4887347"/>
                </a:lnTo>
                <a:lnTo>
                  <a:pt x="7220841" y="4887347"/>
                </a:lnTo>
                <a:lnTo>
                  <a:pt x="7220841" y="4886536"/>
                </a:lnTo>
                <a:lnTo>
                  <a:pt x="2111826" y="4886536"/>
                </a:lnTo>
                <a:cubicBezTo>
                  <a:pt x="2111826" y="3719784"/>
                  <a:pt x="1166099" y="2774187"/>
                  <a:pt x="0" y="2774187"/>
                </a:cubicBezTo>
                <a:close/>
              </a:path>
            </a:pathLst>
          </a:custGeom>
          <a:solidFill>
            <a:schemeClr val="accent2"/>
          </a:solidFill>
          <a:ln>
            <a:noFill/>
          </a:ln>
          <a:effectLst/>
        </p:spPr>
        <p:txBody>
          <a:bodyPr wrap="square" anchor="ctr">
            <a:noAutofit/>
          </a:bodyPr>
          <a:lstStyle/>
          <a:p>
            <a:endParaRPr lang="en-US" sz="2450" dirty="0">
              <a:latin typeface="Lato Light" panose="020F0502020204030203" pitchFamily="34" charset="0"/>
            </a:endParaRPr>
          </a:p>
        </p:txBody>
      </p:sp>
      <p:sp>
        <p:nvSpPr>
          <p:cNvPr id="41" name="Freeform 45">
            <a:extLst>
              <a:ext uri="{FF2B5EF4-FFF2-40B4-BE49-F238E27FC236}">
                <a16:creationId xmlns:a16="http://schemas.microsoft.com/office/drawing/2014/main" xmlns="" id="{A6A93EA4-077E-45D7-81AA-E27E72DA528A}"/>
              </a:ext>
            </a:extLst>
          </p:cNvPr>
          <p:cNvSpPr>
            <a:spLocks noChangeArrowheads="1"/>
          </p:cNvSpPr>
          <p:nvPr/>
        </p:nvSpPr>
        <p:spPr bwMode="auto">
          <a:xfrm>
            <a:off x="3866929" y="2147314"/>
            <a:ext cx="4007655" cy="2012452"/>
          </a:xfrm>
          <a:custGeom>
            <a:avLst/>
            <a:gdLst>
              <a:gd name="connsiteX0" fmla="*/ 9732811 w 9732811"/>
              <a:gd name="connsiteY0" fmla="*/ 0 h 4887347"/>
              <a:gd name="connsiteX1" fmla="*/ 9732811 w 9732811"/>
              <a:gd name="connsiteY1" fmla="*/ 2774187 h 4887347"/>
              <a:gd name="connsiteX2" fmla="*/ 7620648 w 9732811"/>
              <a:gd name="connsiteY2" fmla="*/ 4886536 h 4887347"/>
              <a:gd name="connsiteX3" fmla="*/ 2512787 w 9732811"/>
              <a:gd name="connsiteY3" fmla="*/ 4886536 h 4887347"/>
              <a:gd name="connsiteX4" fmla="*/ 2512787 w 9732811"/>
              <a:gd name="connsiteY4" fmla="*/ 4887347 h 4887347"/>
              <a:gd name="connsiteX5" fmla="*/ 0 w 9732811"/>
              <a:gd name="connsiteY5" fmla="*/ 4887347 h 4887347"/>
              <a:gd name="connsiteX6" fmla="*/ 0 w 9732811"/>
              <a:gd name="connsiteY6" fmla="*/ 2271950 h 4887347"/>
              <a:gd name="connsiteX7" fmla="*/ 2501212 w 9732811"/>
              <a:gd name="connsiteY7" fmla="*/ 2271950 h 4887347"/>
              <a:gd name="connsiteX8" fmla="*/ 2501212 w 9732811"/>
              <a:gd name="connsiteY8" fmla="*/ 2269272 h 4887347"/>
              <a:gd name="connsiteX9" fmla="*/ 5607670 w 9732811"/>
              <a:gd name="connsiteY9" fmla="*/ 2269272 h 4887347"/>
              <a:gd name="connsiteX10" fmla="*/ 9732811 w 9732811"/>
              <a:gd name="connsiteY10" fmla="*/ 0 h 488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32811" h="4887347">
                <a:moveTo>
                  <a:pt x="9732811" y="0"/>
                </a:moveTo>
                <a:lnTo>
                  <a:pt x="9732811" y="2774187"/>
                </a:lnTo>
                <a:cubicBezTo>
                  <a:pt x="8566162" y="2774187"/>
                  <a:pt x="7620648" y="3719784"/>
                  <a:pt x="7620648" y="4886536"/>
                </a:cubicBezTo>
                <a:lnTo>
                  <a:pt x="2512787" y="4886536"/>
                </a:lnTo>
                <a:lnTo>
                  <a:pt x="2512787" y="4887347"/>
                </a:lnTo>
                <a:lnTo>
                  <a:pt x="0" y="4887347"/>
                </a:lnTo>
                <a:lnTo>
                  <a:pt x="0" y="2271950"/>
                </a:lnTo>
                <a:lnTo>
                  <a:pt x="2501212" y="2271950"/>
                </a:lnTo>
                <a:lnTo>
                  <a:pt x="2501212" y="2269272"/>
                </a:lnTo>
                <a:lnTo>
                  <a:pt x="5607670" y="2269272"/>
                </a:lnTo>
                <a:cubicBezTo>
                  <a:pt x="6474323" y="905757"/>
                  <a:pt x="7997064" y="0"/>
                  <a:pt x="9732811" y="0"/>
                </a:cubicBezTo>
                <a:close/>
              </a:path>
            </a:pathLst>
          </a:custGeom>
          <a:solidFill>
            <a:schemeClr val="accent1"/>
          </a:solidFill>
          <a:ln>
            <a:noFill/>
          </a:ln>
          <a:effectLst/>
        </p:spPr>
        <p:txBody>
          <a:bodyPr wrap="square" anchor="ctr">
            <a:noAutofit/>
          </a:bodyPr>
          <a:lstStyle/>
          <a:p>
            <a:endParaRPr lang="en-US" sz="2450" dirty="0">
              <a:latin typeface="Lato Light" panose="020F0502020204030203" pitchFamily="34" charset="0"/>
            </a:endParaRPr>
          </a:p>
        </p:txBody>
      </p:sp>
      <p:sp>
        <p:nvSpPr>
          <p:cNvPr id="43" name="TextBox 21">
            <a:extLst>
              <a:ext uri="{FF2B5EF4-FFF2-40B4-BE49-F238E27FC236}">
                <a16:creationId xmlns:a16="http://schemas.microsoft.com/office/drawing/2014/main" xmlns="" id="{33D97474-B775-495B-95D3-4577CC13C41D}"/>
              </a:ext>
            </a:extLst>
          </p:cNvPr>
          <p:cNvSpPr txBox="1"/>
          <p:nvPr/>
        </p:nvSpPr>
        <p:spPr>
          <a:xfrm>
            <a:off x="6431857" y="2645136"/>
            <a:ext cx="1345408" cy="307777"/>
          </a:xfrm>
          <a:prstGeom prst="rect">
            <a:avLst/>
          </a:prstGeom>
          <a:noFill/>
        </p:spPr>
        <p:txBody>
          <a:bodyPr wrap="square" rtlCol="0" anchor="t" anchorCtr="0">
            <a:spAutoFit/>
          </a:bodyPr>
          <a:lstStyle/>
          <a:p>
            <a:pPr algn="ctr"/>
            <a:r>
              <a:rPr lang="en-US" sz="1400" b="1" dirty="0">
                <a:solidFill>
                  <a:schemeClr val="bg1"/>
                </a:solidFill>
                <a:latin typeface="+mj-lt"/>
                <a:ea typeface="League Spartan" charset="0"/>
                <a:cs typeface="Poppins" pitchFamily="2" charset="77"/>
              </a:rPr>
              <a:t>Autoprotectores</a:t>
            </a:r>
          </a:p>
        </p:txBody>
      </p:sp>
      <p:sp>
        <p:nvSpPr>
          <p:cNvPr id="46" name="TextBox 24">
            <a:extLst>
              <a:ext uri="{FF2B5EF4-FFF2-40B4-BE49-F238E27FC236}">
                <a16:creationId xmlns:a16="http://schemas.microsoft.com/office/drawing/2014/main" xmlns="" id="{01CE5CA7-8B4D-4E6C-9E22-A294C2C9DDE8}"/>
              </a:ext>
            </a:extLst>
          </p:cNvPr>
          <p:cNvSpPr txBox="1"/>
          <p:nvPr/>
        </p:nvSpPr>
        <p:spPr>
          <a:xfrm>
            <a:off x="8416688" y="5031148"/>
            <a:ext cx="941939" cy="307777"/>
          </a:xfrm>
          <a:prstGeom prst="rect">
            <a:avLst/>
          </a:prstGeom>
          <a:noFill/>
        </p:spPr>
        <p:txBody>
          <a:bodyPr wrap="square" rtlCol="0" anchor="t" anchorCtr="0">
            <a:spAutoFit/>
          </a:bodyPr>
          <a:lstStyle/>
          <a:p>
            <a:pPr algn="ctr"/>
            <a:r>
              <a:rPr lang="en-US" sz="1400" b="1" dirty="0">
                <a:solidFill>
                  <a:schemeClr val="bg1"/>
                </a:solidFill>
                <a:latin typeface="+mj-lt"/>
                <a:ea typeface="League Spartan" charset="0"/>
                <a:cs typeface="Poppins" pitchFamily="2" charset="77"/>
              </a:rPr>
              <a:t>Optimistas</a:t>
            </a:r>
          </a:p>
        </p:txBody>
      </p:sp>
      <p:sp>
        <p:nvSpPr>
          <p:cNvPr id="57" name="TextBox 27">
            <a:extLst>
              <a:ext uri="{FF2B5EF4-FFF2-40B4-BE49-F238E27FC236}">
                <a16:creationId xmlns:a16="http://schemas.microsoft.com/office/drawing/2014/main" xmlns="" id="{FF7F0F29-500A-4E56-A108-F29987E03B57}"/>
              </a:ext>
            </a:extLst>
          </p:cNvPr>
          <p:cNvSpPr txBox="1"/>
          <p:nvPr/>
        </p:nvSpPr>
        <p:spPr>
          <a:xfrm>
            <a:off x="7875122" y="2572794"/>
            <a:ext cx="779413" cy="574370"/>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En</a:t>
            </a:r>
            <a:br>
              <a:rPr lang="en-US" sz="1400" b="1" dirty="0">
                <a:solidFill>
                  <a:schemeClr val="bg1"/>
                </a:solidFill>
                <a:latin typeface="+mj-lt"/>
                <a:ea typeface="League Spartan" charset="0"/>
                <a:cs typeface="Poppins" pitchFamily="2" charset="77"/>
              </a:rPr>
            </a:br>
            <a:r>
              <a:rPr lang="en-US" sz="1400" b="1" dirty="0">
                <a:solidFill>
                  <a:schemeClr val="bg1"/>
                </a:solidFill>
                <a:latin typeface="+mj-lt"/>
                <a:ea typeface="League Spartan" charset="0"/>
                <a:cs typeface="Poppins" pitchFamily="2" charset="77"/>
              </a:rPr>
              <a:t>Esforzadores</a:t>
            </a:r>
          </a:p>
        </p:txBody>
      </p:sp>
      <p:sp>
        <p:nvSpPr>
          <p:cNvPr id="58" name="TextBox 30">
            <a:extLst>
              <a:ext uri="{FF2B5EF4-FFF2-40B4-BE49-F238E27FC236}">
                <a16:creationId xmlns:a16="http://schemas.microsoft.com/office/drawing/2014/main" xmlns="" id="{EC4144FA-EA4F-43DB-8229-35D6E0271B06}"/>
              </a:ext>
            </a:extLst>
          </p:cNvPr>
          <p:cNvSpPr txBox="1"/>
          <p:nvPr/>
        </p:nvSpPr>
        <p:spPr>
          <a:xfrm>
            <a:off x="6488347" y="5031148"/>
            <a:ext cx="971996" cy="574370"/>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Falla</a:t>
            </a:r>
            <a:br>
              <a:rPr lang="en-US" sz="1400" b="1" dirty="0">
                <a:solidFill>
                  <a:schemeClr val="bg1"/>
                </a:solidFill>
                <a:latin typeface="+mj-lt"/>
                <a:ea typeface="League Spartan" charset="0"/>
                <a:cs typeface="Poppins" pitchFamily="2" charset="77"/>
              </a:rPr>
            </a:br>
            <a:r>
              <a:rPr lang="en-US" sz="1400" b="1" dirty="0">
                <a:solidFill>
                  <a:schemeClr val="bg1"/>
                </a:solidFill>
                <a:latin typeface="+mj-lt"/>
                <a:ea typeface="League Spartan" charset="0"/>
                <a:cs typeface="Poppins" pitchFamily="2" charset="77"/>
              </a:rPr>
              <a:t>Aceptadores</a:t>
            </a:r>
          </a:p>
        </p:txBody>
      </p:sp>
      <p:sp>
        <p:nvSpPr>
          <p:cNvPr id="59" name="Subtitle 2">
            <a:extLst>
              <a:ext uri="{FF2B5EF4-FFF2-40B4-BE49-F238E27FC236}">
                <a16:creationId xmlns:a16="http://schemas.microsoft.com/office/drawing/2014/main" xmlns="" id="{87248272-29C4-4CBB-86B2-8B2357FFBE7B}"/>
              </a:ext>
            </a:extLst>
          </p:cNvPr>
          <p:cNvSpPr txBox="1">
            <a:spLocks/>
          </p:cNvSpPr>
          <p:nvPr/>
        </p:nvSpPr>
        <p:spPr>
          <a:xfrm>
            <a:off x="3927839" y="2639616"/>
            <a:ext cx="2721342" cy="1540751"/>
          </a:xfrm>
          <a:prstGeom prst="rect">
            <a:avLst/>
          </a:prstGeom>
        </p:spPr>
        <p:txBody>
          <a:bodyPr vert="horz" wrap="square" lIns="34299" tIns="17149" rIns="34299" bIns="17149"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400" dirty="0">
                <a:solidFill>
                  <a:schemeClr val="bg1"/>
                </a:solidFill>
                <a:latin typeface="+mj-lt"/>
                <a:ea typeface="Lato Light" panose="020F0502020204030203" pitchFamily="34" charset="0"/>
                <a:cs typeface="Mukta ExtraLight" panose="020B0000000000000000" pitchFamily="34" charset="77"/>
              </a:rPr>
              <a:t>Los autoprotectores tienen mucho miedo al fracaso y poca orientación al éxito. En lugar de intentar evitar el fracaso, encuentran razones externas para justificar la falta de rendimiento. Por ejemplo, que otras personas no hayan hecho algo, que el tiempo sea insuficiente o que un sistema que necesitan no esté disponible.</a:t>
            </a:r>
          </a:p>
        </p:txBody>
      </p:sp>
      <p:sp>
        <p:nvSpPr>
          <p:cNvPr id="60" name="Subtitle 2">
            <a:extLst>
              <a:ext uri="{FF2B5EF4-FFF2-40B4-BE49-F238E27FC236}">
                <a16:creationId xmlns:a16="http://schemas.microsoft.com/office/drawing/2014/main" xmlns="" id="{BD24F8CF-6730-4996-ADE0-EAC6AB3855DA}"/>
              </a:ext>
            </a:extLst>
          </p:cNvPr>
          <p:cNvSpPr txBox="1">
            <a:spLocks/>
          </p:cNvSpPr>
          <p:nvPr/>
        </p:nvSpPr>
        <p:spPr>
          <a:xfrm>
            <a:off x="8933676" y="2459088"/>
            <a:ext cx="2865543" cy="154273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400" dirty="0">
                <a:solidFill>
                  <a:schemeClr val="bg1"/>
                </a:solidFill>
                <a:latin typeface="+mj-lt"/>
                <a:ea typeface="Lato Light" panose="020F0502020204030203" pitchFamily="34" charset="0"/>
                <a:cs typeface="Mukta ExtraLight" panose="020B0000000000000000" pitchFamily="34" charset="77"/>
              </a:rPr>
              <a:t>Un </a:t>
            </a:r>
            <a:r>
              <a:rPr lang="en-US" sz="1400" dirty="0" err="1">
                <a:solidFill>
                  <a:schemeClr val="bg1"/>
                </a:solidFill>
                <a:latin typeface="+mj-lt"/>
                <a:ea typeface="Lato Light" panose="020F0502020204030203" pitchFamily="34" charset="0"/>
                <a:cs typeface="Mukta ExtraLight" panose="020B0000000000000000" pitchFamily="34" charset="77"/>
              </a:rPr>
              <a:t>Overstriver está </a:t>
            </a:r>
            <a:r>
              <a:rPr lang="en-US" sz="1400" dirty="0">
                <a:solidFill>
                  <a:schemeClr val="bg1"/>
                </a:solidFill>
                <a:latin typeface="+mj-lt"/>
                <a:ea typeface="Lato Light" panose="020F0502020204030203" pitchFamily="34" charset="0"/>
                <a:cs typeface="Mukta ExtraLight" panose="020B0000000000000000" pitchFamily="34" charset="77"/>
              </a:rPr>
              <a:t>muy orientado al éxito y tiene mucho miedo al fracaso. Carecen de confianza, por lo que siguen trabajando mucho después de haber alcanzado el valor. Como resultado, es probable que se agoten y carezcan de resiliencia cuando tengan problemas.</a:t>
            </a:r>
          </a:p>
        </p:txBody>
      </p:sp>
      <p:sp>
        <p:nvSpPr>
          <p:cNvPr id="61" name="Subtitle 2">
            <a:extLst>
              <a:ext uri="{FF2B5EF4-FFF2-40B4-BE49-F238E27FC236}">
                <a16:creationId xmlns:a16="http://schemas.microsoft.com/office/drawing/2014/main" xmlns="" id="{C1F5DD5C-B202-474E-9B0D-76B8F5BBF921}"/>
              </a:ext>
            </a:extLst>
          </p:cNvPr>
          <p:cNvSpPr txBox="1">
            <a:spLocks/>
          </p:cNvSpPr>
          <p:nvPr/>
        </p:nvSpPr>
        <p:spPr>
          <a:xfrm>
            <a:off x="3990535" y="4409828"/>
            <a:ext cx="2378924" cy="103490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Los que tienen poco miedo al fracaso y poca orientación al éxito son aceptadores del fracaso. Esperan muy poco de sí mismos y son aparentemente indiferentes tanto a sus éxitos como a sus fracasos.</a:t>
            </a:r>
          </a:p>
        </p:txBody>
      </p:sp>
      <p:sp>
        <p:nvSpPr>
          <p:cNvPr id="62" name="Subtitle 2">
            <a:extLst>
              <a:ext uri="{FF2B5EF4-FFF2-40B4-BE49-F238E27FC236}">
                <a16:creationId xmlns:a16="http://schemas.microsoft.com/office/drawing/2014/main" xmlns="" id="{FD12B727-AD4F-4067-9E90-31F9646E7F95}"/>
              </a:ext>
            </a:extLst>
          </p:cNvPr>
          <p:cNvSpPr txBox="1">
            <a:spLocks/>
          </p:cNvSpPr>
          <p:nvPr/>
        </p:nvSpPr>
        <p:spPr>
          <a:xfrm>
            <a:off x="9372828" y="4243116"/>
            <a:ext cx="2359774" cy="153504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Alguien con una alta orientación al éxito y un bajo miedo al fracaso es un Optimista. Se encuentran en el lugar ideal de este modelo, ya que confían en que su esfuerzo producirá el resultado que desean. Muestran resiliencia y es poco probable que muestren </a:t>
            </a:r>
            <a:r>
              <a:rPr lang="en-US" sz="1200" dirty="0" err="1">
                <a:solidFill>
                  <a:schemeClr val="bg1"/>
                </a:solidFill>
                <a:latin typeface="Lato Light" panose="020F0502020204030203" pitchFamily="34" charset="0"/>
                <a:ea typeface="Lato Light" panose="020F0502020204030203" pitchFamily="34" charset="0"/>
                <a:cs typeface="Mukta ExtraLight" panose="020B0000000000000000" pitchFamily="34" charset="77"/>
              </a:rPr>
              <a:t>comportamientos </a:t>
            </a: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defensivos.</a:t>
            </a:r>
          </a:p>
        </p:txBody>
      </p:sp>
      <p:cxnSp>
        <p:nvCxnSpPr>
          <p:cNvPr id="63" name="Gerade Verbindung mit Pfeil 62">
            <a:extLst>
              <a:ext uri="{FF2B5EF4-FFF2-40B4-BE49-F238E27FC236}">
                <a16:creationId xmlns:a16="http://schemas.microsoft.com/office/drawing/2014/main" xmlns="" id="{C4D389B8-4520-4E4C-908A-7832E865311D}"/>
              </a:ext>
            </a:extLst>
          </p:cNvPr>
          <p:cNvCxnSpPr/>
          <p:nvPr/>
        </p:nvCxnSpPr>
        <p:spPr>
          <a:xfrm>
            <a:off x="7797419" y="1953928"/>
            <a:ext cx="0" cy="446612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xmlns="" id="{59D6F5CB-6DA5-4649-A349-418F1B294A92}"/>
              </a:ext>
            </a:extLst>
          </p:cNvPr>
          <p:cNvCxnSpPr>
            <a:cxnSpLocks/>
          </p:cNvCxnSpPr>
          <p:nvPr/>
        </p:nvCxnSpPr>
        <p:spPr>
          <a:xfrm flipH="1">
            <a:off x="3698049" y="4154609"/>
            <a:ext cx="8328868"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TextBox 21">
            <a:extLst>
              <a:ext uri="{FF2B5EF4-FFF2-40B4-BE49-F238E27FC236}">
                <a16:creationId xmlns:a16="http://schemas.microsoft.com/office/drawing/2014/main" xmlns="" id="{08B7B151-77FA-46C9-99E8-B997192D1803}"/>
              </a:ext>
            </a:extLst>
          </p:cNvPr>
          <p:cNvSpPr txBox="1"/>
          <p:nvPr/>
        </p:nvSpPr>
        <p:spPr>
          <a:xfrm>
            <a:off x="8030965" y="1831882"/>
            <a:ext cx="1554785" cy="307777"/>
          </a:xfrm>
          <a:prstGeom prst="rect">
            <a:avLst/>
          </a:prstGeom>
          <a:noFill/>
        </p:spPr>
        <p:txBody>
          <a:bodyPr wrap="square" rtlCol="0" anchor="t" anchorCtr="0">
            <a:spAutoFit/>
          </a:bodyPr>
          <a:lstStyle/>
          <a:p>
            <a:r>
              <a:rPr lang="en-US" sz="1400" b="1" dirty="0">
                <a:solidFill>
                  <a:schemeClr val="tx2"/>
                </a:solidFill>
                <a:latin typeface="+mj-lt"/>
                <a:ea typeface="League Spartan" charset="0"/>
                <a:cs typeface="Poppins" pitchFamily="2" charset="77"/>
              </a:rPr>
              <a:t>Elevado miedo al fracaso</a:t>
            </a:r>
          </a:p>
        </p:txBody>
      </p:sp>
      <p:sp>
        <p:nvSpPr>
          <p:cNvPr id="66" name="TextBox 21">
            <a:extLst>
              <a:ext uri="{FF2B5EF4-FFF2-40B4-BE49-F238E27FC236}">
                <a16:creationId xmlns:a16="http://schemas.microsoft.com/office/drawing/2014/main" xmlns="" id="{3317F4D8-7CC6-4EC8-B488-8B265BA8DC3D}"/>
              </a:ext>
            </a:extLst>
          </p:cNvPr>
          <p:cNvSpPr txBox="1"/>
          <p:nvPr/>
        </p:nvSpPr>
        <p:spPr>
          <a:xfrm>
            <a:off x="6183657" y="6220717"/>
            <a:ext cx="1520224" cy="307777"/>
          </a:xfrm>
          <a:prstGeom prst="rect">
            <a:avLst/>
          </a:prstGeom>
          <a:noFill/>
        </p:spPr>
        <p:txBody>
          <a:bodyPr wrap="none" rtlCol="0" anchor="t" anchorCtr="0">
            <a:spAutoFit/>
          </a:bodyPr>
          <a:lstStyle/>
          <a:p>
            <a:r>
              <a:rPr lang="en-US" sz="1400" b="1" dirty="0">
                <a:solidFill>
                  <a:schemeClr val="tx2"/>
                </a:solidFill>
                <a:latin typeface="+mj-lt"/>
                <a:ea typeface="League Spartan" charset="0"/>
                <a:cs typeface="Poppins" pitchFamily="2" charset="77"/>
              </a:rPr>
              <a:t>Poco miedo al fracaso</a:t>
            </a:r>
          </a:p>
        </p:txBody>
      </p:sp>
      <p:sp>
        <p:nvSpPr>
          <p:cNvPr id="67" name="TextBox 21">
            <a:extLst>
              <a:ext uri="{FF2B5EF4-FFF2-40B4-BE49-F238E27FC236}">
                <a16:creationId xmlns:a16="http://schemas.microsoft.com/office/drawing/2014/main" xmlns="" id="{395FDB2E-6B63-4E38-BFFD-056A21D8F8A0}"/>
              </a:ext>
            </a:extLst>
          </p:cNvPr>
          <p:cNvSpPr txBox="1"/>
          <p:nvPr/>
        </p:nvSpPr>
        <p:spPr>
          <a:xfrm rot="5400000">
            <a:off x="11138328" y="4007187"/>
            <a:ext cx="1940276" cy="307777"/>
          </a:xfrm>
          <a:prstGeom prst="rect">
            <a:avLst/>
          </a:prstGeom>
          <a:noFill/>
        </p:spPr>
        <p:txBody>
          <a:bodyPr wrap="square" rtlCol="0" anchor="t" anchorCtr="0">
            <a:spAutoFit/>
          </a:bodyPr>
          <a:lstStyle/>
          <a:p>
            <a:pPr algn="ctr"/>
            <a:r>
              <a:rPr lang="en-US" sz="1400" b="1" dirty="0">
                <a:solidFill>
                  <a:schemeClr val="tx2"/>
                </a:solidFill>
                <a:latin typeface="+mj-lt"/>
                <a:ea typeface="League Spartan" charset="0"/>
                <a:cs typeface="Poppins" pitchFamily="2" charset="77"/>
              </a:rPr>
              <a:t>Orientación al éxito</a:t>
            </a:r>
          </a:p>
        </p:txBody>
      </p:sp>
      <p:sp>
        <p:nvSpPr>
          <p:cNvPr id="68" name="TextBox 21">
            <a:extLst>
              <a:ext uri="{FF2B5EF4-FFF2-40B4-BE49-F238E27FC236}">
                <a16:creationId xmlns:a16="http://schemas.microsoft.com/office/drawing/2014/main" xmlns="" id="{1932D53C-2757-4DEC-A176-61C0185DC6A4}"/>
              </a:ext>
            </a:extLst>
          </p:cNvPr>
          <p:cNvSpPr txBox="1"/>
          <p:nvPr/>
        </p:nvSpPr>
        <p:spPr>
          <a:xfrm rot="16200000">
            <a:off x="2627855" y="4001077"/>
            <a:ext cx="1905715" cy="307777"/>
          </a:xfrm>
          <a:prstGeom prst="rect">
            <a:avLst/>
          </a:prstGeom>
          <a:noFill/>
        </p:spPr>
        <p:txBody>
          <a:bodyPr wrap="square" rtlCol="0" anchor="t" anchorCtr="0">
            <a:spAutoFit/>
          </a:bodyPr>
          <a:lstStyle/>
          <a:p>
            <a:pPr algn="ctr"/>
            <a:r>
              <a:rPr lang="en-US" sz="1400" b="1" dirty="0">
                <a:solidFill>
                  <a:schemeClr val="tx2"/>
                </a:solidFill>
                <a:latin typeface="+mj-lt"/>
                <a:ea typeface="League Spartan" charset="0"/>
                <a:cs typeface="Poppins" pitchFamily="2" charset="77"/>
              </a:rPr>
              <a:t>Baja orientación al éxito</a:t>
            </a:r>
          </a:p>
        </p:txBody>
      </p:sp>
      <p:sp>
        <p:nvSpPr>
          <p:cNvPr id="5" name="Rechteck 4">
            <a:extLst>
              <a:ext uri="{FF2B5EF4-FFF2-40B4-BE49-F238E27FC236}">
                <a16:creationId xmlns:a16="http://schemas.microsoft.com/office/drawing/2014/main" xmlns="" id="{F9EAD6E8-62AF-43EE-9C77-314A8F9F19C2}"/>
              </a:ext>
            </a:extLst>
          </p:cNvPr>
          <p:cNvSpPr/>
          <p:nvPr/>
        </p:nvSpPr>
        <p:spPr>
          <a:xfrm>
            <a:off x="3867961" y="4167542"/>
            <a:ext cx="8015969" cy="1699325"/>
          </a:xfrm>
          <a:prstGeom prst="rect">
            <a:avLst/>
          </a:prstGeom>
          <a:solidFill>
            <a:schemeClr val="bg1">
              <a:lumMod val="95000"/>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245473"/>
                </a:solidFill>
              </a:rPr>
              <a:t>Los que aceptan el fracaso a menudo se auto-impiden. Un ejemplo de esto es dejar una tarea tan tarde que no tienen tiempo para completarla. Pueden culpar a eso del fracaso resultante en lugar de a ellos mismos.</a:t>
            </a:r>
            <a:endParaRPr lang="de-DE" dirty="0">
              <a:solidFill>
                <a:srgbClr val="245473"/>
              </a:solidFill>
            </a:endParaRPr>
          </a:p>
        </p:txBody>
      </p:sp>
    </p:spTree>
    <p:extLst>
      <p:ext uri="{BB962C8B-B14F-4D97-AF65-F5344CB8AC3E}">
        <p14:creationId xmlns:p14="http://schemas.microsoft.com/office/powerpoint/2010/main" val="25207681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870930" y="420564"/>
            <a:ext cx="8852375" cy="697353"/>
          </a:xfrm>
        </p:spPr>
        <p:txBody>
          <a:bodyPr>
            <a:normAutofit/>
          </a:bodyPr>
          <a:lstStyle/>
          <a:p>
            <a:r>
              <a:rPr lang="en-GB" dirty="0"/>
              <a:t>El miedo al fracaso en los equipo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8" y="2142491"/>
            <a:ext cx="2568766" cy="380647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200" dirty="0">
                <a:solidFill>
                  <a:srgbClr val="245473"/>
                </a:solidFill>
                <a:latin typeface="+mj-lt"/>
              </a:rPr>
              <a:t>Una cosa está clara, pedir a la gente que se esfuerce más no funciona. De hecho, empeora las cosas, ya que aumenta el miedo al fracaso </a:t>
            </a:r>
            <a:br>
              <a:rPr lang="en-US" altLang="de-DE" sz="2200" dirty="0">
                <a:solidFill>
                  <a:srgbClr val="245473"/>
                </a:solidFill>
                <a:latin typeface="+mj-lt"/>
              </a:rPr>
            </a:br>
            <a:r>
              <a:rPr lang="en-US" altLang="de-DE" sz="2200" dirty="0">
                <a:solidFill>
                  <a:srgbClr val="245473"/>
                </a:solidFill>
                <a:latin typeface="+mj-lt"/>
              </a:rPr>
              <a:t>al fracaso de las personas que ya no se creen capaces de triunfar.</a:t>
            </a:r>
            <a:endParaRPr lang="en-GB" altLang="de-DE" sz="2200" dirty="0">
              <a:solidFill>
                <a:srgbClr val="245473"/>
              </a:solidFill>
              <a:latin typeface="+mj-lt"/>
            </a:endParaRPr>
          </a:p>
        </p:txBody>
      </p:sp>
      <p:sp>
        <p:nvSpPr>
          <p:cNvPr id="31" name="Rechteck 30">
            <a:extLst>
              <a:ext uri="{FF2B5EF4-FFF2-40B4-BE49-F238E27FC236}">
                <a16:creationId xmlns:a16="http://schemas.microsoft.com/office/drawing/2014/main" xmlns="" id="{0AB4F0F3-3097-41CE-B680-2565023184FB}"/>
              </a:ext>
            </a:extLst>
          </p:cNvPr>
          <p:cNvSpPr/>
          <p:nvPr/>
        </p:nvSpPr>
        <p:spPr>
          <a:xfrm>
            <a:off x="8825209" y="4155575"/>
            <a:ext cx="2979378" cy="1710127"/>
          </a:xfrm>
          <a:prstGeom prst="rect">
            <a:avLst/>
          </a:prstGeom>
          <a:solidFill>
            <a:schemeClr val="accent3"/>
          </a:solidFill>
          <a:ln>
            <a:noFill/>
          </a:ln>
          <a:effectLst/>
        </p:spPr>
        <p:txBody>
          <a:bodyPr wrap="square" anchor="ctr">
            <a:noAutofit/>
          </a:bodyPr>
          <a:lstStyle/>
          <a:p>
            <a:endParaRPr lang="de-DE" sz="2450">
              <a:latin typeface="Lato Light" panose="020F0502020204030203" pitchFamily="34" charset="0"/>
            </a:endParaRPr>
          </a:p>
        </p:txBody>
      </p:sp>
      <p:sp>
        <p:nvSpPr>
          <p:cNvPr id="32" name="Rechteck 31">
            <a:extLst>
              <a:ext uri="{FF2B5EF4-FFF2-40B4-BE49-F238E27FC236}">
                <a16:creationId xmlns:a16="http://schemas.microsoft.com/office/drawing/2014/main" xmlns="" id="{BFA2C403-02C1-4256-9269-A737F1467E47}"/>
              </a:ext>
            </a:extLst>
          </p:cNvPr>
          <p:cNvSpPr/>
          <p:nvPr/>
        </p:nvSpPr>
        <p:spPr>
          <a:xfrm>
            <a:off x="3788608" y="4161076"/>
            <a:ext cx="2979378" cy="17101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7">
              <a:solidFill>
                <a:schemeClr val="lt1"/>
              </a:solidFill>
              <a:latin typeface="Lato Light" panose="020F0502020204030203" pitchFamily="34" charset="0"/>
            </a:endParaRPr>
          </a:p>
        </p:txBody>
      </p:sp>
      <p:sp>
        <p:nvSpPr>
          <p:cNvPr id="33" name="Rechteck 32">
            <a:extLst>
              <a:ext uri="{FF2B5EF4-FFF2-40B4-BE49-F238E27FC236}">
                <a16:creationId xmlns:a16="http://schemas.microsoft.com/office/drawing/2014/main" xmlns="" id="{07B5209B-347E-4595-B1A2-C91CDCFB5C1C}"/>
              </a:ext>
            </a:extLst>
          </p:cNvPr>
          <p:cNvSpPr/>
          <p:nvPr/>
        </p:nvSpPr>
        <p:spPr>
          <a:xfrm>
            <a:off x="3795619" y="2445448"/>
            <a:ext cx="2979378" cy="1710127"/>
          </a:xfrm>
          <a:prstGeom prst="rect">
            <a:avLst/>
          </a:prstGeom>
          <a:solidFill>
            <a:schemeClr val="accent1"/>
          </a:solidFill>
          <a:ln>
            <a:noFill/>
          </a:ln>
          <a:effectLst/>
        </p:spPr>
        <p:txBody>
          <a:bodyPr wrap="square" anchor="ctr">
            <a:noAutofit/>
          </a:bodyPr>
          <a:lstStyle/>
          <a:p>
            <a:endParaRPr lang="de-DE" sz="2450">
              <a:latin typeface="Lato Light" panose="020F0502020204030203" pitchFamily="34" charset="0"/>
            </a:endParaRPr>
          </a:p>
        </p:txBody>
      </p:sp>
      <p:sp>
        <p:nvSpPr>
          <p:cNvPr id="35" name="Rechteck 34">
            <a:extLst>
              <a:ext uri="{FF2B5EF4-FFF2-40B4-BE49-F238E27FC236}">
                <a16:creationId xmlns:a16="http://schemas.microsoft.com/office/drawing/2014/main" xmlns="" id="{9ED6D64B-2D9E-4875-95F9-51AC375F8010}"/>
              </a:ext>
            </a:extLst>
          </p:cNvPr>
          <p:cNvSpPr/>
          <p:nvPr/>
        </p:nvSpPr>
        <p:spPr>
          <a:xfrm>
            <a:off x="8826365" y="2444817"/>
            <a:ext cx="2979378" cy="1710127"/>
          </a:xfrm>
          <a:prstGeom prst="rect">
            <a:avLst/>
          </a:prstGeom>
          <a:solidFill>
            <a:schemeClr val="accent2"/>
          </a:solidFill>
          <a:ln>
            <a:noFill/>
          </a:ln>
          <a:effectLst/>
        </p:spPr>
        <p:txBody>
          <a:bodyPr wrap="square" anchor="ctr">
            <a:noAutofit/>
          </a:bodyPr>
          <a:lstStyle/>
          <a:p>
            <a:endParaRPr lang="de-DE" sz="2450">
              <a:solidFill>
                <a:schemeClr val="tx1"/>
              </a:solidFill>
              <a:latin typeface="Lato Light" panose="020F0502020204030203" pitchFamily="34" charset="0"/>
            </a:endParaRPr>
          </a:p>
        </p:txBody>
      </p:sp>
      <p:sp>
        <p:nvSpPr>
          <p:cNvPr id="37" name="Freeform 44">
            <a:extLst>
              <a:ext uri="{FF2B5EF4-FFF2-40B4-BE49-F238E27FC236}">
                <a16:creationId xmlns:a16="http://schemas.microsoft.com/office/drawing/2014/main" xmlns="" id="{2B452C44-F1CD-48AC-9EBF-CA2D3414921C}"/>
              </a:ext>
            </a:extLst>
          </p:cNvPr>
          <p:cNvSpPr/>
          <p:nvPr/>
        </p:nvSpPr>
        <p:spPr>
          <a:xfrm>
            <a:off x="3789764" y="4154940"/>
            <a:ext cx="4007655" cy="2012117"/>
          </a:xfrm>
          <a:custGeom>
            <a:avLst/>
            <a:gdLst>
              <a:gd name="connsiteX0" fmla="*/ 0 w 9732811"/>
              <a:gd name="connsiteY0" fmla="*/ 0 h 4886534"/>
              <a:gd name="connsiteX1" fmla="*/ 2512787 w 9732811"/>
              <a:gd name="connsiteY1" fmla="*/ 0 h 4886534"/>
              <a:gd name="connsiteX2" fmla="*/ 2512787 w 9732811"/>
              <a:gd name="connsiteY2" fmla="*/ 1 h 4886534"/>
              <a:gd name="connsiteX3" fmla="*/ 7620648 w 9732811"/>
              <a:gd name="connsiteY3" fmla="*/ 1 h 4886534"/>
              <a:gd name="connsiteX4" fmla="*/ 9732811 w 9732811"/>
              <a:gd name="connsiteY4" fmla="*/ 2111888 h 4886534"/>
              <a:gd name="connsiteX5" fmla="*/ 9732811 w 9732811"/>
              <a:gd name="connsiteY5" fmla="*/ 4886534 h 4886534"/>
              <a:gd name="connsiteX6" fmla="*/ 5607670 w 9732811"/>
              <a:gd name="connsiteY6" fmla="*/ 2616073 h 4886534"/>
              <a:gd name="connsiteX7" fmla="*/ 2501212 w 9732811"/>
              <a:gd name="connsiteY7" fmla="*/ 2616073 h 4886534"/>
              <a:gd name="connsiteX8" fmla="*/ 2501212 w 9732811"/>
              <a:gd name="connsiteY8" fmla="*/ 2615397 h 4886534"/>
              <a:gd name="connsiteX9" fmla="*/ 0 w 9732811"/>
              <a:gd name="connsiteY9" fmla="*/ 2615397 h 48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2811" h="4886534">
                <a:moveTo>
                  <a:pt x="0" y="0"/>
                </a:moveTo>
                <a:lnTo>
                  <a:pt x="2512787" y="0"/>
                </a:lnTo>
                <a:lnTo>
                  <a:pt x="2512787" y="1"/>
                </a:lnTo>
                <a:lnTo>
                  <a:pt x="7620648" y="1"/>
                </a:lnTo>
                <a:cubicBezTo>
                  <a:pt x="7620648" y="1165320"/>
                  <a:pt x="8566162" y="2111888"/>
                  <a:pt x="9732811" y="2111888"/>
                </a:cubicBezTo>
                <a:lnTo>
                  <a:pt x="9732811" y="4886534"/>
                </a:lnTo>
                <a:cubicBezTo>
                  <a:pt x="7997064" y="4886534"/>
                  <a:pt x="6474323" y="3980626"/>
                  <a:pt x="5607670" y="2616073"/>
                </a:cubicBezTo>
                <a:lnTo>
                  <a:pt x="2501212" y="2616073"/>
                </a:lnTo>
                <a:lnTo>
                  <a:pt x="2501212" y="2615397"/>
                </a:lnTo>
                <a:lnTo>
                  <a:pt x="0" y="2615397"/>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39" name="Freeform 43">
            <a:extLst>
              <a:ext uri="{FF2B5EF4-FFF2-40B4-BE49-F238E27FC236}">
                <a16:creationId xmlns:a16="http://schemas.microsoft.com/office/drawing/2014/main" xmlns="" id="{79D47A99-D80F-44DB-958A-4738C47C6A18}"/>
              </a:ext>
            </a:extLst>
          </p:cNvPr>
          <p:cNvSpPr>
            <a:spLocks noChangeArrowheads="1"/>
          </p:cNvSpPr>
          <p:nvPr/>
        </p:nvSpPr>
        <p:spPr bwMode="auto">
          <a:xfrm>
            <a:off x="7797752" y="4154940"/>
            <a:ext cx="4007991" cy="2012117"/>
          </a:xfrm>
          <a:custGeom>
            <a:avLst/>
            <a:gdLst>
              <a:gd name="connsiteX0" fmla="*/ 7220841 w 9733627"/>
              <a:gd name="connsiteY0" fmla="*/ 0 h 4886534"/>
              <a:gd name="connsiteX1" fmla="*/ 9733627 w 9733627"/>
              <a:gd name="connsiteY1" fmla="*/ 0 h 4886534"/>
              <a:gd name="connsiteX2" fmla="*/ 9733627 w 9733627"/>
              <a:gd name="connsiteY2" fmla="*/ 2615397 h 4886534"/>
              <a:gd name="connsiteX3" fmla="*/ 7231601 w 9733627"/>
              <a:gd name="connsiteY3" fmla="*/ 2615397 h 4886534"/>
              <a:gd name="connsiteX4" fmla="*/ 7231601 w 9733627"/>
              <a:gd name="connsiteY4" fmla="*/ 2616073 h 4886534"/>
              <a:gd name="connsiteX5" fmla="*/ 4125257 w 9733627"/>
              <a:gd name="connsiteY5" fmla="*/ 2616073 h 4886534"/>
              <a:gd name="connsiteX6" fmla="*/ 0 w 9733627"/>
              <a:gd name="connsiteY6" fmla="*/ 4886534 h 4886534"/>
              <a:gd name="connsiteX7" fmla="*/ 0 w 9733627"/>
              <a:gd name="connsiteY7" fmla="*/ 2111888 h 4886534"/>
              <a:gd name="connsiteX8" fmla="*/ 2111826 w 9733627"/>
              <a:gd name="connsiteY8" fmla="*/ 1 h 4886534"/>
              <a:gd name="connsiteX9" fmla="*/ 7220841 w 9733627"/>
              <a:gd name="connsiteY9" fmla="*/ 1 h 48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3627" h="4886534">
                <a:moveTo>
                  <a:pt x="7220841" y="0"/>
                </a:moveTo>
                <a:lnTo>
                  <a:pt x="9733627" y="0"/>
                </a:lnTo>
                <a:lnTo>
                  <a:pt x="9733627" y="2615397"/>
                </a:lnTo>
                <a:lnTo>
                  <a:pt x="7231601" y="2615397"/>
                </a:lnTo>
                <a:lnTo>
                  <a:pt x="7231601" y="2616073"/>
                </a:lnTo>
                <a:lnTo>
                  <a:pt x="4125257" y="2616073"/>
                </a:lnTo>
                <a:cubicBezTo>
                  <a:pt x="3258409" y="3980626"/>
                  <a:pt x="1735324" y="4886534"/>
                  <a:pt x="0" y="4886534"/>
                </a:cubicBezTo>
                <a:lnTo>
                  <a:pt x="0" y="2111888"/>
                </a:lnTo>
                <a:cubicBezTo>
                  <a:pt x="1166099" y="2111888"/>
                  <a:pt x="2111826" y="1165320"/>
                  <a:pt x="2111826" y="1"/>
                </a:cubicBezTo>
                <a:lnTo>
                  <a:pt x="7220841" y="1"/>
                </a:lnTo>
                <a:close/>
              </a:path>
            </a:pathLst>
          </a:custGeom>
          <a:solidFill>
            <a:schemeClr val="accent3"/>
          </a:solidFill>
          <a:ln>
            <a:noFill/>
          </a:ln>
          <a:effectLst/>
        </p:spPr>
        <p:txBody>
          <a:bodyPr wrap="square" anchor="ctr">
            <a:noAutofit/>
          </a:bodyPr>
          <a:lstStyle/>
          <a:p>
            <a:endParaRPr lang="en-US" sz="2450" dirty="0">
              <a:latin typeface="Lato Light" panose="020F0502020204030203" pitchFamily="34" charset="0"/>
            </a:endParaRPr>
          </a:p>
        </p:txBody>
      </p:sp>
      <p:sp>
        <p:nvSpPr>
          <p:cNvPr id="40" name="Freeform 42">
            <a:extLst>
              <a:ext uri="{FF2B5EF4-FFF2-40B4-BE49-F238E27FC236}">
                <a16:creationId xmlns:a16="http://schemas.microsoft.com/office/drawing/2014/main" xmlns="" id="{D8A6BFCD-C4DA-48D5-9420-CB59108103C6}"/>
              </a:ext>
            </a:extLst>
          </p:cNvPr>
          <p:cNvSpPr>
            <a:spLocks noChangeArrowheads="1"/>
          </p:cNvSpPr>
          <p:nvPr/>
        </p:nvSpPr>
        <p:spPr bwMode="auto">
          <a:xfrm>
            <a:off x="7797752" y="2142491"/>
            <a:ext cx="4007991" cy="2012453"/>
          </a:xfrm>
          <a:custGeom>
            <a:avLst/>
            <a:gdLst>
              <a:gd name="connsiteX0" fmla="*/ 0 w 9733627"/>
              <a:gd name="connsiteY0" fmla="*/ 0 h 4887347"/>
              <a:gd name="connsiteX1" fmla="*/ 4125257 w 9733627"/>
              <a:gd name="connsiteY1" fmla="*/ 2269272 h 4887347"/>
              <a:gd name="connsiteX2" fmla="*/ 7231601 w 9733627"/>
              <a:gd name="connsiteY2" fmla="*/ 2269272 h 4887347"/>
              <a:gd name="connsiteX3" fmla="*/ 7231601 w 9733627"/>
              <a:gd name="connsiteY3" fmla="*/ 2271950 h 4887347"/>
              <a:gd name="connsiteX4" fmla="*/ 9733627 w 9733627"/>
              <a:gd name="connsiteY4" fmla="*/ 2271950 h 4887347"/>
              <a:gd name="connsiteX5" fmla="*/ 9733627 w 9733627"/>
              <a:gd name="connsiteY5" fmla="*/ 4887347 h 4887347"/>
              <a:gd name="connsiteX6" fmla="*/ 7220841 w 9733627"/>
              <a:gd name="connsiteY6" fmla="*/ 4887347 h 4887347"/>
              <a:gd name="connsiteX7" fmla="*/ 7220841 w 9733627"/>
              <a:gd name="connsiteY7" fmla="*/ 4886536 h 4887347"/>
              <a:gd name="connsiteX8" fmla="*/ 2111826 w 9733627"/>
              <a:gd name="connsiteY8" fmla="*/ 4886536 h 4887347"/>
              <a:gd name="connsiteX9" fmla="*/ 0 w 9733627"/>
              <a:gd name="connsiteY9" fmla="*/ 2774187 h 488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3627" h="4887347">
                <a:moveTo>
                  <a:pt x="0" y="0"/>
                </a:moveTo>
                <a:cubicBezTo>
                  <a:pt x="1735324" y="0"/>
                  <a:pt x="3258409" y="905757"/>
                  <a:pt x="4125257" y="2269272"/>
                </a:cubicBezTo>
                <a:lnTo>
                  <a:pt x="7231601" y="2269272"/>
                </a:lnTo>
                <a:lnTo>
                  <a:pt x="7231601" y="2271950"/>
                </a:lnTo>
                <a:lnTo>
                  <a:pt x="9733627" y="2271950"/>
                </a:lnTo>
                <a:lnTo>
                  <a:pt x="9733627" y="4887347"/>
                </a:lnTo>
                <a:lnTo>
                  <a:pt x="7220841" y="4887347"/>
                </a:lnTo>
                <a:lnTo>
                  <a:pt x="7220841" y="4886536"/>
                </a:lnTo>
                <a:lnTo>
                  <a:pt x="2111826" y="4886536"/>
                </a:lnTo>
                <a:cubicBezTo>
                  <a:pt x="2111826" y="3719784"/>
                  <a:pt x="1166099" y="2774187"/>
                  <a:pt x="0" y="2774187"/>
                </a:cubicBezTo>
                <a:close/>
              </a:path>
            </a:pathLst>
          </a:custGeom>
          <a:solidFill>
            <a:schemeClr val="accent2"/>
          </a:solidFill>
          <a:ln>
            <a:noFill/>
          </a:ln>
          <a:effectLst/>
        </p:spPr>
        <p:txBody>
          <a:bodyPr wrap="square" anchor="ctr">
            <a:noAutofit/>
          </a:bodyPr>
          <a:lstStyle/>
          <a:p>
            <a:endParaRPr lang="en-US" sz="2450" dirty="0">
              <a:latin typeface="Lato Light" panose="020F0502020204030203" pitchFamily="34" charset="0"/>
            </a:endParaRPr>
          </a:p>
        </p:txBody>
      </p:sp>
      <p:sp>
        <p:nvSpPr>
          <p:cNvPr id="41" name="Freeform 45">
            <a:extLst>
              <a:ext uri="{FF2B5EF4-FFF2-40B4-BE49-F238E27FC236}">
                <a16:creationId xmlns:a16="http://schemas.microsoft.com/office/drawing/2014/main" xmlns="" id="{A6A93EA4-077E-45D7-81AA-E27E72DA528A}"/>
              </a:ext>
            </a:extLst>
          </p:cNvPr>
          <p:cNvSpPr>
            <a:spLocks noChangeArrowheads="1"/>
          </p:cNvSpPr>
          <p:nvPr/>
        </p:nvSpPr>
        <p:spPr bwMode="auto">
          <a:xfrm>
            <a:off x="3789764" y="2142491"/>
            <a:ext cx="4007655" cy="2012452"/>
          </a:xfrm>
          <a:custGeom>
            <a:avLst/>
            <a:gdLst>
              <a:gd name="connsiteX0" fmla="*/ 9732811 w 9732811"/>
              <a:gd name="connsiteY0" fmla="*/ 0 h 4887347"/>
              <a:gd name="connsiteX1" fmla="*/ 9732811 w 9732811"/>
              <a:gd name="connsiteY1" fmla="*/ 2774187 h 4887347"/>
              <a:gd name="connsiteX2" fmla="*/ 7620648 w 9732811"/>
              <a:gd name="connsiteY2" fmla="*/ 4886536 h 4887347"/>
              <a:gd name="connsiteX3" fmla="*/ 2512787 w 9732811"/>
              <a:gd name="connsiteY3" fmla="*/ 4886536 h 4887347"/>
              <a:gd name="connsiteX4" fmla="*/ 2512787 w 9732811"/>
              <a:gd name="connsiteY4" fmla="*/ 4887347 h 4887347"/>
              <a:gd name="connsiteX5" fmla="*/ 0 w 9732811"/>
              <a:gd name="connsiteY5" fmla="*/ 4887347 h 4887347"/>
              <a:gd name="connsiteX6" fmla="*/ 0 w 9732811"/>
              <a:gd name="connsiteY6" fmla="*/ 2271950 h 4887347"/>
              <a:gd name="connsiteX7" fmla="*/ 2501212 w 9732811"/>
              <a:gd name="connsiteY7" fmla="*/ 2271950 h 4887347"/>
              <a:gd name="connsiteX8" fmla="*/ 2501212 w 9732811"/>
              <a:gd name="connsiteY8" fmla="*/ 2269272 h 4887347"/>
              <a:gd name="connsiteX9" fmla="*/ 5607670 w 9732811"/>
              <a:gd name="connsiteY9" fmla="*/ 2269272 h 4887347"/>
              <a:gd name="connsiteX10" fmla="*/ 9732811 w 9732811"/>
              <a:gd name="connsiteY10" fmla="*/ 0 h 488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32811" h="4887347">
                <a:moveTo>
                  <a:pt x="9732811" y="0"/>
                </a:moveTo>
                <a:lnTo>
                  <a:pt x="9732811" y="2774187"/>
                </a:lnTo>
                <a:cubicBezTo>
                  <a:pt x="8566162" y="2774187"/>
                  <a:pt x="7620648" y="3719784"/>
                  <a:pt x="7620648" y="4886536"/>
                </a:cubicBezTo>
                <a:lnTo>
                  <a:pt x="2512787" y="4886536"/>
                </a:lnTo>
                <a:lnTo>
                  <a:pt x="2512787" y="4887347"/>
                </a:lnTo>
                <a:lnTo>
                  <a:pt x="0" y="4887347"/>
                </a:lnTo>
                <a:lnTo>
                  <a:pt x="0" y="2271950"/>
                </a:lnTo>
                <a:lnTo>
                  <a:pt x="2501212" y="2271950"/>
                </a:lnTo>
                <a:lnTo>
                  <a:pt x="2501212" y="2269272"/>
                </a:lnTo>
                <a:lnTo>
                  <a:pt x="5607670" y="2269272"/>
                </a:lnTo>
                <a:cubicBezTo>
                  <a:pt x="6474323" y="905757"/>
                  <a:pt x="7997064" y="0"/>
                  <a:pt x="9732811" y="0"/>
                </a:cubicBezTo>
                <a:close/>
              </a:path>
            </a:pathLst>
          </a:custGeom>
          <a:solidFill>
            <a:schemeClr val="accent1"/>
          </a:solidFill>
          <a:ln>
            <a:noFill/>
          </a:ln>
          <a:effectLst/>
        </p:spPr>
        <p:txBody>
          <a:bodyPr wrap="square" anchor="ctr">
            <a:noAutofit/>
          </a:bodyPr>
          <a:lstStyle/>
          <a:p>
            <a:endParaRPr lang="en-US" sz="2450" dirty="0">
              <a:latin typeface="Lato Light" panose="020F0502020204030203" pitchFamily="34" charset="0"/>
            </a:endParaRPr>
          </a:p>
        </p:txBody>
      </p:sp>
      <p:sp>
        <p:nvSpPr>
          <p:cNvPr id="43" name="TextBox 21">
            <a:extLst>
              <a:ext uri="{FF2B5EF4-FFF2-40B4-BE49-F238E27FC236}">
                <a16:creationId xmlns:a16="http://schemas.microsoft.com/office/drawing/2014/main" xmlns="" id="{33D97474-B775-495B-95D3-4577CC13C41D}"/>
              </a:ext>
            </a:extLst>
          </p:cNvPr>
          <p:cNvSpPr txBox="1"/>
          <p:nvPr/>
        </p:nvSpPr>
        <p:spPr>
          <a:xfrm>
            <a:off x="6229300" y="2871807"/>
            <a:ext cx="1345408" cy="337866"/>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Autoprotectores</a:t>
            </a:r>
          </a:p>
        </p:txBody>
      </p:sp>
      <p:sp>
        <p:nvSpPr>
          <p:cNvPr id="46" name="TextBox 24">
            <a:extLst>
              <a:ext uri="{FF2B5EF4-FFF2-40B4-BE49-F238E27FC236}">
                <a16:creationId xmlns:a16="http://schemas.microsoft.com/office/drawing/2014/main" xmlns="" id="{01CE5CA7-8B4D-4E6C-9E22-A294C2C9DDE8}"/>
              </a:ext>
            </a:extLst>
          </p:cNvPr>
          <p:cNvSpPr txBox="1"/>
          <p:nvPr/>
        </p:nvSpPr>
        <p:spPr>
          <a:xfrm>
            <a:off x="8344346" y="5031148"/>
            <a:ext cx="941939" cy="337866"/>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Optimistas</a:t>
            </a:r>
          </a:p>
        </p:txBody>
      </p:sp>
      <p:sp>
        <p:nvSpPr>
          <p:cNvPr id="57" name="TextBox 27">
            <a:extLst>
              <a:ext uri="{FF2B5EF4-FFF2-40B4-BE49-F238E27FC236}">
                <a16:creationId xmlns:a16="http://schemas.microsoft.com/office/drawing/2014/main" xmlns="" id="{FF7F0F29-500A-4E56-A108-F29987E03B57}"/>
              </a:ext>
            </a:extLst>
          </p:cNvPr>
          <p:cNvSpPr txBox="1"/>
          <p:nvPr/>
        </p:nvSpPr>
        <p:spPr>
          <a:xfrm>
            <a:off x="8420096" y="2871807"/>
            <a:ext cx="779413" cy="574370"/>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En</a:t>
            </a:r>
            <a:br>
              <a:rPr lang="en-US" sz="1400" b="1" dirty="0">
                <a:solidFill>
                  <a:schemeClr val="bg1"/>
                </a:solidFill>
                <a:latin typeface="+mj-lt"/>
                <a:ea typeface="League Spartan" charset="0"/>
                <a:cs typeface="Poppins" pitchFamily="2" charset="77"/>
              </a:rPr>
            </a:br>
            <a:r>
              <a:rPr lang="en-US" sz="1400" b="1" dirty="0">
                <a:solidFill>
                  <a:schemeClr val="bg1"/>
                </a:solidFill>
                <a:latin typeface="+mj-lt"/>
                <a:ea typeface="League Spartan" charset="0"/>
                <a:cs typeface="Poppins" pitchFamily="2" charset="77"/>
              </a:rPr>
              <a:t>Esforzadores</a:t>
            </a:r>
          </a:p>
        </p:txBody>
      </p:sp>
      <p:sp>
        <p:nvSpPr>
          <p:cNvPr id="58" name="TextBox 30">
            <a:extLst>
              <a:ext uri="{FF2B5EF4-FFF2-40B4-BE49-F238E27FC236}">
                <a16:creationId xmlns:a16="http://schemas.microsoft.com/office/drawing/2014/main" xmlns="" id="{EC4144FA-EA4F-43DB-8229-35D6E0271B06}"/>
              </a:ext>
            </a:extLst>
          </p:cNvPr>
          <p:cNvSpPr txBox="1"/>
          <p:nvPr/>
        </p:nvSpPr>
        <p:spPr>
          <a:xfrm>
            <a:off x="6416005" y="5031148"/>
            <a:ext cx="971996" cy="574370"/>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Falla</a:t>
            </a:r>
            <a:br>
              <a:rPr lang="en-US" sz="1400" b="1" dirty="0">
                <a:solidFill>
                  <a:schemeClr val="bg1"/>
                </a:solidFill>
                <a:latin typeface="+mj-lt"/>
                <a:ea typeface="League Spartan" charset="0"/>
                <a:cs typeface="Poppins" pitchFamily="2" charset="77"/>
              </a:rPr>
            </a:br>
            <a:r>
              <a:rPr lang="en-US" sz="1400" b="1" dirty="0">
                <a:solidFill>
                  <a:schemeClr val="bg1"/>
                </a:solidFill>
                <a:latin typeface="+mj-lt"/>
                <a:ea typeface="League Spartan" charset="0"/>
                <a:cs typeface="Poppins" pitchFamily="2" charset="77"/>
              </a:rPr>
              <a:t>Aceptadores</a:t>
            </a:r>
          </a:p>
        </p:txBody>
      </p:sp>
      <p:sp>
        <p:nvSpPr>
          <p:cNvPr id="59" name="Subtitle 2">
            <a:extLst>
              <a:ext uri="{FF2B5EF4-FFF2-40B4-BE49-F238E27FC236}">
                <a16:creationId xmlns:a16="http://schemas.microsoft.com/office/drawing/2014/main" xmlns="" id="{87248272-29C4-4CBB-86B2-8B2357FFBE7B}"/>
              </a:ext>
            </a:extLst>
          </p:cNvPr>
          <p:cNvSpPr txBox="1">
            <a:spLocks/>
          </p:cNvSpPr>
          <p:nvPr/>
        </p:nvSpPr>
        <p:spPr>
          <a:xfrm>
            <a:off x="3918193" y="2459320"/>
            <a:ext cx="2378925" cy="1701756"/>
          </a:xfrm>
          <a:prstGeom prst="rect">
            <a:avLst/>
          </a:prstGeom>
        </p:spPr>
        <p:txBody>
          <a:bodyPr vert="horz" wrap="square" lIns="34299" tIns="17149" rIns="34299" bIns="17149"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Los autoprotectores tienen mucho miedo al fracaso y poca orientación al éxito. En lugar de intentar evitar el fracaso, encuentran razones externas para justificar la falta de rendimiento. Por ejemplo, que otras personas no hayan hecho algo, que el tiempo sea insuficiente o que un sistema que necesitan no esté disponible.</a:t>
            </a:r>
          </a:p>
        </p:txBody>
      </p:sp>
      <p:sp>
        <p:nvSpPr>
          <p:cNvPr id="60" name="Subtitle 2">
            <a:extLst>
              <a:ext uri="{FF2B5EF4-FFF2-40B4-BE49-F238E27FC236}">
                <a16:creationId xmlns:a16="http://schemas.microsoft.com/office/drawing/2014/main" xmlns="" id="{BD24F8CF-6730-4996-ADE0-EAC6AB3855DA}"/>
              </a:ext>
            </a:extLst>
          </p:cNvPr>
          <p:cNvSpPr txBox="1">
            <a:spLocks/>
          </p:cNvSpPr>
          <p:nvPr/>
        </p:nvSpPr>
        <p:spPr>
          <a:xfrm>
            <a:off x="9286285" y="2705086"/>
            <a:ext cx="2519457" cy="120161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Un </a:t>
            </a:r>
            <a:r>
              <a:rPr lang="en-US" sz="1200" dirty="0" err="1">
                <a:solidFill>
                  <a:schemeClr val="bg1"/>
                </a:solidFill>
                <a:latin typeface="Lato Light" panose="020F0502020204030203" pitchFamily="34" charset="0"/>
                <a:ea typeface="Lato Light" panose="020F0502020204030203" pitchFamily="34" charset="0"/>
                <a:cs typeface="Mukta ExtraLight" panose="020B0000000000000000" pitchFamily="34" charset="77"/>
              </a:rPr>
              <a:t>Overstriver está </a:t>
            </a: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muy orientado al éxito y tiene mucho miedo al fracaso. Carecen de confianza, por lo que siguen trabajando mucho después de haber alcanzado el valor. Como resultado, es probable que se agoten y carezcan de resiliencia cuando tengan problemas.</a:t>
            </a:r>
          </a:p>
        </p:txBody>
      </p:sp>
      <p:sp>
        <p:nvSpPr>
          <p:cNvPr id="61" name="Subtitle 2">
            <a:extLst>
              <a:ext uri="{FF2B5EF4-FFF2-40B4-BE49-F238E27FC236}">
                <a16:creationId xmlns:a16="http://schemas.microsoft.com/office/drawing/2014/main" xmlns="" id="{C1F5DD5C-B202-474E-9B0D-76B8F5BBF921}"/>
              </a:ext>
            </a:extLst>
          </p:cNvPr>
          <p:cNvSpPr txBox="1">
            <a:spLocks/>
          </p:cNvSpPr>
          <p:nvPr/>
        </p:nvSpPr>
        <p:spPr>
          <a:xfrm>
            <a:off x="3918193" y="4409828"/>
            <a:ext cx="2378924" cy="103490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Los que tienen poco miedo al fracaso y poca orientación al éxito son aceptadores del fracaso. Esperan muy poco de sí mismos y son aparentemente indiferentes tanto a sus éxitos como a sus fracasos.</a:t>
            </a:r>
          </a:p>
        </p:txBody>
      </p:sp>
      <p:sp>
        <p:nvSpPr>
          <p:cNvPr id="62" name="Subtitle 2">
            <a:extLst>
              <a:ext uri="{FF2B5EF4-FFF2-40B4-BE49-F238E27FC236}">
                <a16:creationId xmlns:a16="http://schemas.microsoft.com/office/drawing/2014/main" xmlns="" id="{FD12B727-AD4F-4067-9E90-31F9646E7F95}"/>
              </a:ext>
            </a:extLst>
          </p:cNvPr>
          <p:cNvSpPr txBox="1">
            <a:spLocks/>
          </p:cNvSpPr>
          <p:nvPr/>
        </p:nvSpPr>
        <p:spPr>
          <a:xfrm>
            <a:off x="9300486" y="4243116"/>
            <a:ext cx="2359774" cy="153504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Alguien con una alta orientación al éxito y un bajo miedo al fracaso es un Optimista. Se encuentran en el lugar ideal de este modelo, ya que confían en que su esfuerzo producirá el resultado que desean. Muestran resiliencia y es poco probable que muestren </a:t>
            </a:r>
            <a:r>
              <a:rPr lang="en-US" sz="1200" dirty="0" err="1">
                <a:solidFill>
                  <a:schemeClr val="bg1"/>
                </a:solidFill>
                <a:latin typeface="Lato Light" panose="020F0502020204030203" pitchFamily="34" charset="0"/>
                <a:ea typeface="Lato Light" panose="020F0502020204030203" pitchFamily="34" charset="0"/>
                <a:cs typeface="Mukta ExtraLight" panose="020B0000000000000000" pitchFamily="34" charset="77"/>
              </a:rPr>
              <a:t>comportamientos </a:t>
            </a: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defensivos.</a:t>
            </a:r>
          </a:p>
        </p:txBody>
      </p:sp>
      <p:cxnSp>
        <p:nvCxnSpPr>
          <p:cNvPr id="63" name="Gerade Verbindung mit Pfeil 62">
            <a:extLst>
              <a:ext uri="{FF2B5EF4-FFF2-40B4-BE49-F238E27FC236}">
                <a16:creationId xmlns:a16="http://schemas.microsoft.com/office/drawing/2014/main" xmlns="" id="{C4D389B8-4520-4E4C-908A-7832E865311D}"/>
              </a:ext>
            </a:extLst>
          </p:cNvPr>
          <p:cNvCxnSpPr/>
          <p:nvPr/>
        </p:nvCxnSpPr>
        <p:spPr>
          <a:xfrm>
            <a:off x="7797419" y="1953928"/>
            <a:ext cx="0" cy="446612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xmlns="" id="{59D6F5CB-6DA5-4649-A349-418F1B294A92}"/>
              </a:ext>
            </a:extLst>
          </p:cNvPr>
          <p:cNvCxnSpPr>
            <a:cxnSpLocks/>
          </p:cNvCxnSpPr>
          <p:nvPr/>
        </p:nvCxnSpPr>
        <p:spPr>
          <a:xfrm flipH="1">
            <a:off x="3625707" y="4154609"/>
            <a:ext cx="8328868"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TextBox 21">
            <a:extLst>
              <a:ext uri="{FF2B5EF4-FFF2-40B4-BE49-F238E27FC236}">
                <a16:creationId xmlns:a16="http://schemas.microsoft.com/office/drawing/2014/main" xmlns="" id="{08B7B151-77FA-46C9-99E8-B997192D1803}"/>
              </a:ext>
            </a:extLst>
          </p:cNvPr>
          <p:cNvSpPr txBox="1"/>
          <p:nvPr/>
        </p:nvSpPr>
        <p:spPr>
          <a:xfrm>
            <a:off x="7958623" y="1831882"/>
            <a:ext cx="1554785" cy="307777"/>
          </a:xfrm>
          <a:prstGeom prst="rect">
            <a:avLst/>
          </a:prstGeom>
          <a:noFill/>
        </p:spPr>
        <p:txBody>
          <a:bodyPr wrap="none" rtlCol="0" anchor="t" anchorCtr="0">
            <a:spAutoFit/>
          </a:bodyPr>
          <a:lstStyle/>
          <a:p>
            <a:r>
              <a:rPr lang="en-US" sz="1400" b="1" dirty="0">
                <a:solidFill>
                  <a:schemeClr val="tx2"/>
                </a:solidFill>
                <a:latin typeface="+mj-lt"/>
                <a:ea typeface="League Spartan" charset="0"/>
                <a:cs typeface="Poppins" pitchFamily="2" charset="77"/>
              </a:rPr>
              <a:t>Elevado miedo al fracaso</a:t>
            </a:r>
          </a:p>
        </p:txBody>
      </p:sp>
      <p:sp>
        <p:nvSpPr>
          <p:cNvPr id="66" name="TextBox 21">
            <a:extLst>
              <a:ext uri="{FF2B5EF4-FFF2-40B4-BE49-F238E27FC236}">
                <a16:creationId xmlns:a16="http://schemas.microsoft.com/office/drawing/2014/main" xmlns="" id="{3317F4D8-7CC6-4EC8-B488-8B265BA8DC3D}"/>
              </a:ext>
            </a:extLst>
          </p:cNvPr>
          <p:cNvSpPr txBox="1"/>
          <p:nvPr/>
        </p:nvSpPr>
        <p:spPr>
          <a:xfrm>
            <a:off x="6183657" y="6220717"/>
            <a:ext cx="1520224" cy="307777"/>
          </a:xfrm>
          <a:prstGeom prst="rect">
            <a:avLst/>
          </a:prstGeom>
          <a:noFill/>
        </p:spPr>
        <p:txBody>
          <a:bodyPr wrap="none" rtlCol="0" anchor="t" anchorCtr="0">
            <a:spAutoFit/>
          </a:bodyPr>
          <a:lstStyle/>
          <a:p>
            <a:r>
              <a:rPr lang="en-US" sz="1400" b="1" dirty="0">
                <a:solidFill>
                  <a:schemeClr val="tx2"/>
                </a:solidFill>
                <a:latin typeface="+mj-lt"/>
                <a:ea typeface="League Spartan" charset="0"/>
                <a:cs typeface="Poppins" pitchFamily="2" charset="77"/>
              </a:rPr>
              <a:t>Poco miedo al fracaso</a:t>
            </a:r>
          </a:p>
        </p:txBody>
      </p:sp>
      <p:sp>
        <p:nvSpPr>
          <p:cNvPr id="67" name="TextBox 21">
            <a:extLst>
              <a:ext uri="{FF2B5EF4-FFF2-40B4-BE49-F238E27FC236}">
                <a16:creationId xmlns:a16="http://schemas.microsoft.com/office/drawing/2014/main" xmlns="" id="{395FDB2E-6B63-4E38-BFFD-056A21D8F8A0}"/>
              </a:ext>
            </a:extLst>
          </p:cNvPr>
          <p:cNvSpPr txBox="1"/>
          <p:nvPr/>
        </p:nvSpPr>
        <p:spPr>
          <a:xfrm rot="5400000">
            <a:off x="11065986" y="4007187"/>
            <a:ext cx="1940276" cy="307777"/>
          </a:xfrm>
          <a:prstGeom prst="rect">
            <a:avLst/>
          </a:prstGeom>
          <a:noFill/>
        </p:spPr>
        <p:txBody>
          <a:bodyPr wrap="none" rtlCol="0" anchor="t" anchorCtr="0">
            <a:spAutoFit/>
          </a:bodyPr>
          <a:lstStyle/>
          <a:p>
            <a:pPr algn="ctr"/>
            <a:r>
              <a:rPr lang="en-US" sz="1400" b="1" dirty="0">
                <a:solidFill>
                  <a:schemeClr val="tx2"/>
                </a:solidFill>
                <a:latin typeface="+mj-lt"/>
                <a:ea typeface="League Spartan" charset="0"/>
                <a:cs typeface="Poppins" pitchFamily="2" charset="77"/>
              </a:rPr>
              <a:t>Orientación al éxito</a:t>
            </a:r>
          </a:p>
        </p:txBody>
      </p:sp>
      <p:sp>
        <p:nvSpPr>
          <p:cNvPr id="68" name="TextBox 21">
            <a:extLst>
              <a:ext uri="{FF2B5EF4-FFF2-40B4-BE49-F238E27FC236}">
                <a16:creationId xmlns:a16="http://schemas.microsoft.com/office/drawing/2014/main" xmlns="" id="{1932D53C-2757-4DEC-A176-61C0185DC6A4}"/>
              </a:ext>
            </a:extLst>
          </p:cNvPr>
          <p:cNvSpPr txBox="1"/>
          <p:nvPr/>
        </p:nvSpPr>
        <p:spPr>
          <a:xfrm rot="16200000">
            <a:off x="2555513" y="4001077"/>
            <a:ext cx="1905715" cy="307777"/>
          </a:xfrm>
          <a:prstGeom prst="rect">
            <a:avLst/>
          </a:prstGeom>
          <a:noFill/>
        </p:spPr>
        <p:txBody>
          <a:bodyPr wrap="none" rtlCol="0" anchor="t" anchorCtr="0">
            <a:spAutoFit/>
          </a:bodyPr>
          <a:lstStyle/>
          <a:p>
            <a:pPr algn="ctr"/>
            <a:r>
              <a:rPr lang="en-US" sz="1400" b="1" dirty="0">
                <a:solidFill>
                  <a:schemeClr val="tx2"/>
                </a:solidFill>
                <a:latin typeface="+mj-lt"/>
                <a:ea typeface="League Spartan" charset="0"/>
                <a:cs typeface="Poppins" pitchFamily="2" charset="77"/>
              </a:rPr>
              <a:t>Baja orientación al éxito</a:t>
            </a:r>
          </a:p>
        </p:txBody>
      </p:sp>
      <p:sp>
        <p:nvSpPr>
          <p:cNvPr id="29" name="Rechteck 28">
            <a:extLst>
              <a:ext uri="{FF2B5EF4-FFF2-40B4-BE49-F238E27FC236}">
                <a16:creationId xmlns:a16="http://schemas.microsoft.com/office/drawing/2014/main" xmlns="" id="{30467725-D5D4-493C-8CF7-72752D2E6D6B}"/>
              </a:ext>
            </a:extLst>
          </p:cNvPr>
          <p:cNvSpPr/>
          <p:nvPr/>
        </p:nvSpPr>
        <p:spPr>
          <a:xfrm>
            <a:off x="3788608" y="2444817"/>
            <a:ext cx="8015969" cy="1699325"/>
          </a:xfrm>
          <a:prstGeom prst="rect">
            <a:avLst/>
          </a:prstGeom>
          <a:solidFill>
            <a:schemeClr val="bg1">
              <a:lumMod val="95000"/>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2"/>
                </a:solidFill>
                <a:latin typeface="+mj-lt"/>
              </a:rPr>
              <a:t>Los miembros del equipo con mucho miedo al fracaso se benefician de dividir el trabajo en trozos pequeños y manejables. Esto evita que se sientan abrumados y les ayuda a mantener el rumbo.</a:t>
            </a:r>
            <a:endParaRPr lang="de-DE" sz="2000" dirty="0">
              <a:solidFill>
                <a:schemeClr val="tx2"/>
              </a:solidFill>
              <a:latin typeface="+mj-lt"/>
            </a:endParaRPr>
          </a:p>
        </p:txBody>
      </p:sp>
      <p:sp>
        <p:nvSpPr>
          <p:cNvPr id="30" name="Rechteck 29">
            <a:extLst>
              <a:ext uri="{FF2B5EF4-FFF2-40B4-BE49-F238E27FC236}">
                <a16:creationId xmlns:a16="http://schemas.microsoft.com/office/drawing/2014/main" xmlns="" id="{2DDB3713-C1F3-45C5-B09B-A61FDF6BD458}"/>
              </a:ext>
            </a:extLst>
          </p:cNvPr>
          <p:cNvSpPr/>
          <p:nvPr/>
        </p:nvSpPr>
        <p:spPr>
          <a:xfrm>
            <a:off x="3782156" y="4181485"/>
            <a:ext cx="8015969" cy="1699325"/>
          </a:xfrm>
          <a:prstGeom prst="rect">
            <a:avLst/>
          </a:prstGeom>
          <a:solidFill>
            <a:schemeClr val="bg1">
              <a:lumMod val="95000"/>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245473"/>
                </a:solidFill>
                <a:latin typeface="+mj-lt"/>
              </a:rPr>
              <a:t>Apoye a los miembros del equipo con una baja orientación al éxito identificando dónde han tenido éxito en el pasado. Cuando digan que no pueden hacer algo, recuérdeles sus logros anteriores. Demostrar que son capaces de triunfar aumenta su confianza.</a:t>
            </a:r>
            <a:endParaRPr lang="de-DE" sz="2000" dirty="0">
              <a:solidFill>
                <a:srgbClr val="245473"/>
              </a:solidFill>
              <a:latin typeface="+mj-lt"/>
            </a:endParaRPr>
          </a:p>
        </p:txBody>
      </p:sp>
    </p:spTree>
    <p:extLst>
      <p:ext uri="{BB962C8B-B14F-4D97-AF65-F5344CB8AC3E}">
        <p14:creationId xmlns:p14="http://schemas.microsoft.com/office/powerpoint/2010/main" val="25363966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040636" y="481432"/>
            <a:ext cx="8852375" cy="697353"/>
          </a:xfrm>
        </p:spPr>
        <p:txBody>
          <a:bodyPr>
            <a:normAutofit/>
          </a:bodyPr>
          <a:lstStyle/>
          <a:p>
            <a:r>
              <a:rPr lang="en-GB" dirty="0"/>
              <a:t>Cómo afrontar el miedo al fracaso personal</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21050" y="1785604"/>
            <a:ext cx="2838841" cy="474519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200" dirty="0">
                <a:solidFill>
                  <a:srgbClr val="245473"/>
                </a:solidFill>
                <a:latin typeface="+mj-lt"/>
              </a:rPr>
              <a:t>¿Cómo superar el miedo personal al fracaso? He aquí siete sugerencias:</a:t>
            </a:r>
            <a:endParaRPr lang="en-US" dirty="0">
              <a:solidFill>
                <a:srgbClr val="245473"/>
              </a:solidFill>
            </a:endParaRPr>
          </a:p>
          <a:p>
            <a:pPr marL="457200" indent="-457200" algn="l">
              <a:lnSpc>
                <a:spcPct val="100000"/>
              </a:lnSpc>
              <a:spcBef>
                <a:spcPts val="600"/>
              </a:spcBef>
              <a:buFont typeface="+mj-lt"/>
              <a:buAutoNum type="arabicPeriod"/>
            </a:pPr>
            <a:r>
              <a:rPr lang="en-US" altLang="de-DE" sz="2000" dirty="0">
                <a:solidFill>
                  <a:srgbClr val="245473"/>
                </a:solidFill>
                <a:latin typeface="+mj-lt"/>
                <a:sym typeface="Wingdings" panose="05000000000000000000" pitchFamily="2" charset="2"/>
              </a:rPr>
              <a:t>Política de no vergüenza</a:t>
            </a:r>
            <a:endParaRPr lang="en-US" altLang="de-DE" sz="2000" dirty="0">
              <a:solidFill>
                <a:srgbClr val="245473"/>
              </a:solidFill>
              <a:latin typeface="+mj-lt"/>
            </a:endParaRPr>
          </a:p>
          <a:p>
            <a:pPr marL="457200" indent="-457200" algn="l">
              <a:lnSpc>
                <a:spcPct val="100000"/>
              </a:lnSpc>
              <a:spcBef>
                <a:spcPts val="600"/>
              </a:spcBef>
              <a:buFont typeface="+mj-lt"/>
              <a:buAutoNum type="arabicPeriod"/>
            </a:pPr>
            <a:r>
              <a:rPr lang="en-US" altLang="de-DE" sz="2000" dirty="0">
                <a:solidFill>
                  <a:srgbClr val="245473"/>
                </a:solidFill>
                <a:latin typeface="+mj-lt"/>
                <a:sym typeface="Wingdings" panose="05000000000000000000" pitchFamily="2" charset="2"/>
              </a:rPr>
              <a:t>Abordar el problema</a:t>
            </a:r>
            <a:endParaRPr lang="en-US" altLang="de-DE" sz="2000" dirty="0">
              <a:solidFill>
                <a:srgbClr val="245473"/>
              </a:solidFill>
              <a:latin typeface="+mj-lt"/>
            </a:endParaRPr>
          </a:p>
          <a:p>
            <a:pPr marL="457200" indent="-457200" algn="l">
              <a:lnSpc>
                <a:spcPct val="100000"/>
              </a:lnSpc>
              <a:spcBef>
                <a:spcPts val="600"/>
              </a:spcBef>
              <a:buFont typeface="+mj-lt"/>
              <a:buAutoNum type="arabicPeriod"/>
            </a:pPr>
            <a:r>
              <a:rPr lang="en-US" altLang="de-DE" sz="2000" dirty="0">
                <a:solidFill>
                  <a:srgbClr val="245473"/>
                </a:solidFill>
                <a:latin typeface="+mj-lt"/>
                <a:sym typeface="Wingdings" panose="05000000000000000000" pitchFamily="2" charset="2"/>
              </a:rPr>
              <a:t>Aprenda de sus errores</a:t>
            </a:r>
            <a:endParaRPr lang="en-US" altLang="de-DE" sz="2000" dirty="0">
              <a:solidFill>
                <a:srgbClr val="245473"/>
              </a:solidFill>
              <a:latin typeface="+mj-lt"/>
            </a:endParaRPr>
          </a:p>
          <a:p>
            <a:pPr marL="457200" indent="-457200" algn="l">
              <a:lnSpc>
                <a:spcPct val="100000"/>
              </a:lnSpc>
              <a:spcBef>
                <a:spcPts val="600"/>
              </a:spcBef>
              <a:buFont typeface="+mj-lt"/>
              <a:buAutoNum type="arabicPeriod"/>
            </a:pPr>
            <a:r>
              <a:rPr lang="en-US" altLang="de-DE" sz="2000" dirty="0">
                <a:solidFill>
                  <a:srgbClr val="245473"/>
                </a:solidFill>
                <a:latin typeface="+mj-lt"/>
                <a:sym typeface="Wingdings" panose="05000000000000000000" pitchFamily="2" charset="2"/>
              </a:rPr>
              <a:t>No lo embotellen</a:t>
            </a:r>
            <a:endParaRPr lang="en-US" altLang="de-DE" sz="2000" dirty="0">
              <a:solidFill>
                <a:srgbClr val="245473"/>
              </a:solidFill>
              <a:latin typeface="+mj-lt"/>
            </a:endParaRPr>
          </a:p>
          <a:p>
            <a:pPr marL="457200" indent="-457200" algn="l">
              <a:lnSpc>
                <a:spcPct val="100000"/>
              </a:lnSpc>
              <a:spcBef>
                <a:spcPts val="600"/>
              </a:spcBef>
              <a:buFont typeface="+mj-lt"/>
              <a:buAutoNum type="arabicPeriod"/>
            </a:pPr>
            <a:r>
              <a:rPr lang="en-US" altLang="de-DE" sz="2000" dirty="0">
                <a:solidFill>
                  <a:srgbClr val="245473"/>
                </a:solidFill>
                <a:latin typeface="+mj-lt"/>
                <a:sym typeface="Wingdings" panose="05000000000000000000" pitchFamily="2" charset="2"/>
              </a:rPr>
              <a:t>Cuestiona tus miedos</a:t>
            </a:r>
            <a:endParaRPr lang="en-US" altLang="de-DE" sz="2000" dirty="0">
              <a:solidFill>
                <a:srgbClr val="245473"/>
              </a:solidFill>
              <a:latin typeface="+mj-lt"/>
            </a:endParaRPr>
          </a:p>
          <a:p>
            <a:pPr marL="457200" indent="-457200" algn="l">
              <a:lnSpc>
                <a:spcPct val="100000"/>
              </a:lnSpc>
              <a:spcBef>
                <a:spcPts val="600"/>
              </a:spcBef>
              <a:buFont typeface="+mj-lt"/>
              <a:buAutoNum type="arabicPeriod"/>
            </a:pPr>
            <a:r>
              <a:rPr lang="en-US" altLang="de-DE" sz="2000" dirty="0">
                <a:solidFill>
                  <a:srgbClr val="245473"/>
                </a:solidFill>
                <a:latin typeface="+mj-lt"/>
                <a:sym typeface="Wingdings" panose="05000000000000000000" pitchFamily="2" charset="2"/>
              </a:rPr>
              <a:t>Concéntrese en lo que puede controlar</a:t>
            </a:r>
            <a:endParaRPr lang="en-US" altLang="de-DE" sz="2000" dirty="0">
              <a:solidFill>
                <a:srgbClr val="245473"/>
              </a:solidFill>
              <a:latin typeface="+mj-lt"/>
            </a:endParaRPr>
          </a:p>
          <a:p>
            <a:pPr marL="457200" indent="-457200" algn="l">
              <a:lnSpc>
                <a:spcPct val="100000"/>
              </a:lnSpc>
              <a:spcBef>
                <a:spcPts val="600"/>
              </a:spcBef>
              <a:buFont typeface="+mj-lt"/>
              <a:buAutoNum type="arabicPeriod"/>
            </a:pPr>
            <a:r>
              <a:rPr lang="en-US" altLang="de-DE" sz="2000" dirty="0">
                <a:solidFill>
                  <a:srgbClr val="245473"/>
                </a:solidFill>
                <a:latin typeface="+mj-lt"/>
                <a:sym typeface="Wingdings" panose="05000000000000000000" pitchFamily="2" charset="2"/>
              </a:rPr>
              <a:t>Abrazar el gris</a:t>
            </a:r>
            <a:endParaRPr lang="en-US" altLang="de-DE" sz="2000" dirty="0">
              <a:solidFill>
                <a:srgbClr val="245473"/>
              </a:solidFill>
              <a:latin typeface="+mj-lt"/>
            </a:endParaRPr>
          </a:p>
        </p:txBody>
      </p:sp>
      <p:grpSp>
        <p:nvGrpSpPr>
          <p:cNvPr id="5" name="Gruppieren 4">
            <a:extLst>
              <a:ext uri="{FF2B5EF4-FFF2-40B4-BE49-F238E27FC236}">
                <a16:creationId xmlns:a16="http://schemas.microsoft.com/office/drawing/2014/main" xmlns="" id="{FBD3F039-9A0F-41BD-AC25-8EA45B8A67C6}"/>
              </a:ext>
            </a:extLst>
          </p:cNvPr>
          <p:cNvGrpSpPr/>
          <p:nvPr/>
        </p:nvGrpSpPr>
        <p:grpSpPr>
          <a:xfrm>
            <a:off x="4655253" y="2755070"/>
            <a:ext cx="5638831" cy="2780761"/>
            <a:chOff x="3700497" y="2414958"/>
            <a:chExt cx="7253699" cy="3603641"/>
          </a:xfrm>
        </p:grpSpPr>
        <p:grpSp>
          <p:nvGrpSpPr>
            <p:cNvPr id="34" name="Group 135">
              <a:extLst>
                <a:ext uri="{FF2B5EF4-FFF2-40B4-BE49-F238E27FC236}">
                  <a16:creationId xmlns:a16="http://schemas.microsoft.com/office/drawing/2014/main" xmlns="" id="{5406074F-CEFE-49CC-BE8B-14B7C710BA30}"/>
                </a:ext>
              </a:extLst>
            </p:cNvPr>
            <p:cNvGrpSpPr/>
            <p:nvPr/>
          </p:nvGrpSpPr>
          <p:grpSpPr>
            <a:xfrm flipH="1">
              <a:off x="3700497" y="2414958"/>
              <a:ext cx="2800100" cy="3603641"/>
              <a:chOff x="14548061" y="4108806"/>
              <a:chExt cx="7267195" cy="9607228"/>
            </a:xfrm>
            <a:solidFill>
              <a:schemeClr val="accent2"/>
            </a:solidFill>
          </p:grpSpPr>
          <p:sp>
            <p:nvSpPr>
              <p:cNvPr id="38" name="Shape 10355">
                <a:extLst>
                  <a:ext uri="{FF2B5EF4-FFF2-40B4-BE49-F238E27FC236}">
                    <a16:creationId xmlns:a16="http://schemas.microsoft.com/office/drawing/2014/main" xmlns="" id="{0BEEE164-C7D6-4C1C-9012-07BCDDDFF320}"/>
                  </a:ext>
                </a:extLst>
              </p:cNvPr>
              <p:cNvSpPr/>
              <p:nvPr/>
            </p:nvSpPr>
            <p:spPr>
              <a:xfrm>
                <a:off x="15175981" y="5793027"/>
                <a:ext cx="1056104" cy="924503"/>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42" name="Shape 10356">
                <a:extLst>
                  <a:ext uri="{FF2B5EF4-FFF2-40B4-BE49-F238E27FC236}">
                    <a16:creationId xmlns:a16="http://schemas.microsoft.com/office/drawing/2014/main" xmlns="" id="{F212A530-93CA-4E28-B6EC-351ED22079F2}"/>
                  </a:ext>
                </a:extLst>
              </p:cNvPr>
              <p:cNvSpPr/>
              <p:nvPr/>
            </p:nvSpPr>
            <p:spPr>
              <a:xfrm>
                <a:off x="17978670" y="7053504"/>
                <a:ext cx="567698" cy="676950"/>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44" name="Shape 10357">
                <a:extLst>
                  <a:ext uri="{FF2B5EF4-FFF2-40B4-BE49-F238E27FC236}">
                    <a16:creationId xmlns:a16="http://schemas.microsoft.com/office/drawing/2014/main" xmlns="" id="{C2AA4163-A8B6-4530-9B1E-1AD0B87E3EA8}"/>
                  </a:ext>
                </a:extLst>
              </p:cNvPr>
              <p:cNvSpPr/>
              <p:nvPr/>
            </p:nvSpPr>
            <p:spPr>
              <a:xfrm>
                <a:off x="19346008" y="5826866"/>
                <a:ext cx="524618" cy="1049241"/>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45" name="Shape 10358">
                <a:extLst>
                  <a:ext uri="{FF2B5EF4-FFF2-40B4-BE49-F238E27FC236}">
                    <a16:creationId xmlns:a16="http://schemas.microsoft.com/office/drawing/2014/main" xmlns="" id="{1A81D5CA-773F-4155-9126-3DF4A8530E2D}"/>
                  </a:ext>
                </a:extLst>
              </p:cNvPr>
              <p:cNvSpPr/>
              <p:nvPr/>
            </p:nvSpPr>
            <p:spPr>
              <a:xfrm>
                <a:off x="18888397" y="7193833"/>
                <a:ext cx="1013872" cy="761614"/>
              </a:xfrm>
              <a:custGeom>
                <a:avLst/>
                <a:gdLst/>
                <a:ahLst/>
                <a:cxnLst>
                  <a:cxn ang="0">
                    <a:pos x="wd2" y="hd2"/>
                  </a:cxn>
                  <a:cxn ang="5400000">
                    <a:pos x="wd2" y="hd2"/>
                  </a:cxn>
                  <a:cxn ang="10800000">
                    <a:pos x="wd2" y="hd2"/>
                  </a:cxn>
                  <a:cxn ang="16200000">
                    <a:pos x="wd2" y="hd2"/>
                  </a:cxn>
                </a:cxnLst>
                <a:rect l="0" t="0" r="r" b="b"/>
                <a:pathLst>
                  <a:path w="21600" h="21600" extrusionOk="0">
                    <a:moveTo>
                      <a:pt x="14377" y="10069"/>
                    </a:moveTo>
                    <a:cubicBezTo>
                      <a:pt x="13591" y="10069"/>
                      <a:pt x="12956" y="9222"/>
                      <a:pt x="12956" y="8178"/>
                    </a:cubicBezTo>
                    <a:cubicBezTo>
                      <a:pt x="12956" y="7133"/>
                      <a:pt x="13591" y="6286"/>
                      <a:pt x="14377" y="6286"/>
                    </a:cubicBezTo>
                    <a:cubicBezTo>
                      <a:pt x="15161" y="6286"/>
                      <a:pt x="15797" y="7133"/>
                      <a:pt x="15797" y="8178"/>
                    </a:cubicBezTo>
                    <a:cubicBezTo>
                      <a:pt x="15797" y="9222"/>
                      <a:pt x="15161" y="10069"/>
                      <a:pt x="14377" y="10069"/>
                    </a:cubicBezTo>
                    <a:close/>
                    <a:moveTo>
                      <a:pt x="9355" y="17542"/>
                    </a:moveTo>
                    <a:lnTo>
                      <a:pt x="6514" y="17542"/>
                    </a:lnTo>
                    <a:lnTo>
                      <a:pt x="6514" y="13759"/>
                    </a:lnTo>
                    <a:lnTo>
                      <a:pt x="9355" y="13759"/>
                    </a:lnTo>
                    <a:cubicBezTo>
                      <a:pt x="9355" y="13759"/>
                      <a:pt x="9355" y="17542"/>
                      <a:pt x="9355" y="17542"/>
                    </a:cubicBezTo>
                    <a:close/>
                    <a:moveTo>
                      <a:pt x="4885" y="17542"/>
                    </a:moveTo>
                    <a:lnTo>
                      <a:pt x="2045" y="17542"/>
                    </a:lnTo>
                    <a:lnTo>
                      <a:pt x="2045" y="13759"/>
                    </a:lnTo>
                    <a:lnTo>
                      <a:pt x="4885" y="13759"/>
                    </a:lnTo>
                    <a:cubicBezTo>
                      <a:pt x="4885" y="13759"/>
                      <a:pt x="4885" y="17542"/>
                      <a:pt x="4885" y="17542"/>
                    </a:cubicBezTo>
                    <a:close/>
                    <a:moveTo>
                      <a:pt x="14377" y="1737"/>
                    </a:moveTo>
                    <a:lnTo>
                      <a:pt x="7198" y="11684"/>
                    </a:lnTo>
                    <a:lnTo>
                      <a:pt x="624" y="11684"/>
                    </a:lnTo>
                    <a:lnTo>
                      <a:pt x="624" y="21600"/>
                    </a:lnTo>
                    <a:lnTo>
                      <a:pt x="12488" y="21600"/>
                    </a:lnTo>
                    <a:lnTo>
                      <a:pt x="12488" y="13750"/>
                    </a:lnTo>
                    <a:lnTo>
                      <a:pt x="16265" y="13750"/>
                    </a:lnTo>
                    <a:lnTo>
                      <a:pt x="16265" y="21600"/>
                    </a:lnTo>
                    <a:lnTo>
                      <a:pt x="20961" y="21600"/>
                    </a:lnTo>
                    <a:lnTo>
                      <a:pt x="20961" y="11747"/>
                    </a:lnTo>
                    <a:lnTo>
                      <a:pt x="21600" y="11747"/>
                    </a:lnTo>
                    <a:cubicBezTo>
                      <a:pt x="21600" y="11747"/>
                      <a:pt x="14377" y="1737"/>
                      <a:pt x="14377" y="1737"/>
                    </a:cubicBezTo>
                    <a:close/>
                    <a:moveTo>
                      <a:pt x="21585" y="9988"/>
                    </a:moveTo>
                    <a:lnTo>
                      <a:pt x="21585" y="10640"/>
                    </a:lnTo>
                    <a:lnTo>
                      <a:pt x="14376" y="652"/>
                    </a:lnTo>
                    <a:lnTo>
                      <a:pt x="6905" y="11004"/>
                    </a:lnTo>
                    <a:lnTo>
                      <a:pt x="0" y="11004"/>
                    </a:lnTo>
                    <a:lnTo>
                      <a:pt x="4124" y="5099"/>
                    </a:lnTo>
                    <a:lnTo>
                      <a:pt x="10696" y="5099"/>
                    </a:lnTo>
                    <a:lnTo>
                      <a:pt x="14376" y="0"/>
                    </a:lnTo>
                    <a:cubicBezTo>
                      <a:pt x="14376" y="0"/>
                      <a:pt x="21585" y="9988"/>
                      <a:pt x="21585" y="9988"/>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47" name="Shape 10359">
                <a:extLst>
                  <a:ext uri="{FF2B5EF4-FFF2-40B4-BE49-F238E27FC236}">
                    <a16:creationId xmlns:a16="http://schemas.microsoft.com/office/drawing/2014/main" xmlns="" id="{3B8406AE-A7CD-4ADE-BDBB-858BDEE40D70}"/>
                  </a:ext>
                </a:extLst>
              </p:cNvPr>
              <p:cNvSpPr/>
              <p:nvPr/>
            </p:nvSpPr>
            <p:spPr>
              <a:xfrm>
                <a:off x="19929800" y="6617326"/>
                <a:ext cx="835508" cy="736695"/>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48" name="Shape 10360">
                <a:extLst>
                  <a:ext uri="{FF2B5EF4-FFF2-40B4-BE49-F238E27FC236}">
                    <a16:creationId xmlns:a16="http://schemas.microsoft.com/office/drawing/2014/main" xmlns="" id="{1BE6EC5F-5BBF-4038-BE25-EB5623B2803D}"/>
                  </a:ext>
                </a:extLst>
              </p:cNvPr>
              <p:cNvSpPr/>
              <p:nvPr/>
            </p:nvSpPr>
            <p:spPr>
              <a:xfrm>
                <a:off x="16246756" y="8337735"/>
                <a:ext cx="1090495" cy="724858"/>
              </a:xfrm>
              <a:custGeom>
                <a:avLst/>
                <a:gdLst/>
                <a:ahLst/>
                <a:cxnLst>
                  <a:cxn ang="0">
                    <a:pos x="wd2" y="hd2"/>
                  </a:cxn>
                  <a:cxn ang="5400000">
                    <a:pos x="wd2" y="hd2"/>
                  </a:cxn>
                  <a:cxn ang="10800000">
                    <a:pos x="wd2" y="hd2"/>
                  </a:cxn>
                  <a:cxn ang="16200000">
                    <a:pos x="wd2" y="hd2"/>
                  </a:cxn>
                </a:cxnLst>
                <a:rect l="0" t="0" r="r" b="b"/>
                <a:pathLst>
                  <a:path w="21600" h="21423" extrusionOk="0">
                    <a:moveTo>
                      <a:pt x="17523" y="7527"/>
                    </a:moveTo>
                    <a:lnTo>
                      <a:pt x="16892" y="5510"/>
                    </a:lnTo>
                    <a:lnTo>
                      <a:pt x="16892" y="5510"/>
                    </a:lnTo>
                    <a:cubicBezTo>
                      <a:pt x="16891" y="5509"/>
                      <a:pt x="16891" y="5507"/>
                      <a:pt x="16891" y="5505"/>
                    </a:cubicBezTo>
                    <a:cubicBezTo>
                      <a:pt x="16543" y="4391"/>
                      <a:pt x="13689" y="5277"/>
                      <a:pt x="10517" y="7484"/>
                    </a:cubicBezTo>
                    <a:cubicBezTo>
                      <a:pt x="7344" y="9692"/>
                      <a:pt x="5056" y="12384"/>
                      <a:pt x="5404" y="13498"/>
                    </a:cubicBezTo>
                    <a:cubicBezTo>
                      <a:pt x="5404" y="13499"/>
                      <a:pt x="5405" y="13501"/>
                      <a:pt x="5405" y="13502"/>
                    </a:cubicBezTo>
                    <a:lnTo>
                      <a:pt x="5405" y="13503"/>
                    </a:lnTo>
                    <a:lnTo>
                      <a:pt x="5495" y="13791"/>
                    </a:lnTo>
                    <a:lnTo>
                      <a:pt x="0" y="14107"/>
                    </a:lnTo>
                    <a:lnTo>
                      <a:pt x="8178" y="0"/>
                    </a:lnTo>
                    <a:lnTo>
                      <a:pt x="21600" y="1182"/>
                    </a:lnTo>
                    <a:cubicBezTo>
                      <a:pt x="21600" y="1182"/>
                      <a:pt x="17523" y="7527"/>
                      <a:pt x="17523" y="7527"/>
                    </a:cubicBezTo>
                    <a:close/>
                    <a:moveTo>
                      <a:pt x="5685" y="19621"/>
                    </a:moveTo>
                    <a:cubicBezTo>
                      <a:pt x="5884" y="20257"/>
                      <a:pt x="5703" y="21011"/>
                      <a:pt x="5280" y="21306"/>
                    </a:cubicBezTo>
                    <a:cubicBezTo>
                      <a:pt x="4857" y="21600"/>
                      <a:pt x="4353" y="21323"/>
                      <a:pt x="4154" y="20686"/>
                    </a:cubicBezTo>
                    <a:cubicBezTo>
                      <a:pt x="4021" y="20261"/>
                      <a:pt x="4061" y="19785"/>
                      <a:pt x="4227" y="19427"/>
                    </a:cubicBezTo>
                    <a:lnTo>
                      <a:pt x="2645" y="14366"/>
                    </a:lnTo>
                    <a:lnTo>
                      <a:pt x="3561" y="14314"/>
                    </a:lnTo>
                    <a:lnTo>
                      <a:pt x="4992" y="18894"/>
                    </a:lnTo>
                    <a:cubicBezTo>
                      <a:pt x="5283" y="18935"/>
                      <a:pt x="5552" y="19195"/>
                      <a:pt x="5685" y="19621"/>
                    </a:cubicBezTo>
                    <a:close/>
                    <a:moveTo>
                      <a:pt x="17927" y="11804"/>
                    </a:moveTo>
                    <a:lnTo>
                      <a:pt x="16207" y="6303"/>
                    </a:lnTo>
                    <a:cubicBezTo>
                      <a:pt x="15632" y="6170"/>
                      <a:pt x="13695" y="6675"/>
                      <a:pt x="10877" y="8636"/>
                    </a:cubicBezTo>
                    <a:cubicBezTo>
                      <a:pt x="8057" y="10598"/>
                      <a:pt x="6553" y="12487"/>
                      <a:pt x="6252" y="13230"/>
                    </a:cubicBezTo>
                    <a:lnTo>
                      <a:pt x="7971" y="18731"/>
                    </a:lnTo>
                    <a:cubicBezTo>
                      <a:pt x="7971" y="18731"/>
                      <a:pt x="17927" y="11804"/>
                      <a:pt x="17927" y="11804"/>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49" name="Shape 10361">
                <a:extLst>
                  <a:ext uri="{FF2B5EF4-FFF2-40B4-BE49-F238E27FC236}">
                    <a16:creationId xmlns:a16="http://schemas.microsoft.com/office/drawing/2014/main" xmlns="" id="{0952ED21-F9B2-44D9-86F6-E1A07793706A}"/>
                  </a:ext>
                </a:extLst>
              </p:cNvPr>
              <p:cNvSpPr/>
              <p:nvPr/>
            </p:nvSpPr>
            <p:spPr>
              <a:xfrm>
                <a:off x="18047770" y="8576537"/>
                <a:ext cx="779625" cy="510039"/>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50" name="Shape 10362">
                <a:extLst>
                  <a:ext uri="{FF2B5EF4-FFF2-40B4-BE49-F238E27FC236}">
                    <a16:creationId xmlns:a16="http://schemas.microsoft.com/office/drawing/2014/main" xmlns="" id="{4B0295A8-411B-4729-8EF5-492DC2348420}"/>
                  </a:ext>
                </a:extLst>
              </p:cNvPr>
              <p:cNvSpPr/>
              <p:nvPr/>
            </p:nvSpPr>
            <p:spPr>
              <a:xfrm>
                <a:off x="18185043" y="7888307"/>
                <a:ext cx="532339" cy="532369"/>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8"/>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51" name="Shape 10363">
                <a:extLst>
                  <a:ext uri="{FF2B5EF4-FFF2-40B4-BE49-F238E27FC236}">
                    <a16:creationId xmlns:a16="http://schemas.microsoft.com/office/drawing/2014/main" xmlns="" id="{257F99BB-3083-4508-B8CD-05AF6F2460FD}"/>
                  </a:ext>
                </a:extLst>
              </p:cNvPr>
              <p:cNvSpPr/>
              <p:nvPr/>
            </p:nvSpPr>
            <p:spPr>
              <a:xfrm>
                <a:off x="16563195" y="8572981"/>
                <a:ext cx="1358816" cy="1170612"/>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52" name="Shape 10364">
                <a:extLst>
                  <a:ext uri="{FF2B5EF4-FFF2-40B4-BE49-F238E27FC236}">
                    <a16:creationId xmlns:a16="http://schemas.microsoft.com/office/drawing/2014/main" xmlns="" id="{74947DFA-B2C1-478F-98B7-B51720C43471}"/>
                  </a:ext>
                </a:extLst>
              </p:cNvPr>
              <p:cNvSpPr/>
              <p:nvPr/>
            </p:nvSpPr>
            <p:spPr>
              <a:xfrm>
                <a:off x="20342609" y="4919818"/>
                <a:ext cx="795140" cy="828530"/>
              </a:xfrm>
              <a:custGeom>
                <a:avLst/>
                <a:gdLst/>
                <a:ahLst/>
                <a:cxnLst>
                  <a:cxn ang="0">
                    <a:pos x="wd2" y="hd2"/>
                  </a:cxn>
                  <a:cxn ang="5400000">
                    <a:pos x="wd2" y="hd2"/>
                  </a:cxn>
                  <a:cxn ang="10800000">
                    <a:pos x="wd2" y="hd2"/>
                  </a:cxn>
                  <a:cxn ang="16200000">
                    <a:pos x="wd2" y="hd2"/>
                  </a:cxn>
                </a:cxnLst>
                <a:rect l="0" t="0" r="r" b="b"/>
                <a:pathLst>
                  <a:path w="21600" h="21458" extrusionOk="0">
                    <a:moveTo>
                      <a:pt x="0" y="2367"/>
                    </a:moveTo>
                    <a:lnTo>
                      <a:pt x="8951" y="11157"/>
                    </a:lnTo>
                    <a:lnTo>
                      <a:pt x="11078" y="9188"/>
                    </a:lnTo>
                    <a:lnTo>
                      <a:pt x="6437" y="4635"/>
                    </a:lnTo>
                    <a:cubicBezTo>
                      <a:pt x="6796" y="4533"/>
                      <a:pt x="7134" y="4350"/>
                      <a:pt x="7402" y="4069"/>
                    </a:cubicBezTo>
                    <a:cubicBezTo>
                      <a:pt x="7936" y="3511"/>
                      <a:pt x="8097" y="2728"/>
                      <a:pt x="7933" y="1987"/>
                    </a:cubicBezTo>
                    <a:cubicBezTo>
                      <a:pt x="7919" y="1921"/>
                      <a:pt x="7902" y="1856"/>
                      <a:pt x="7882" y="1792"/>
                    </a:cubicBezTo>
                    <a:cubicBezTo>
                      <a:pt x="9084" y="1420"/>
                      <a:pt x="10285" y="1313"/>
                      <a:pt x="11432" y="1512"/>
                    </a:cubicBezTo>
                    <a:cubicBezTo>
                      <a:pt x="13324" y="1841"/>
                      <a:pt x="14949" y="2953"/>
                      <a:pt x="16131" y="4728"/>
                    </a:cubicBezTo>
                    <a:cubicBezTo>
                      <a:pt x="17973" y="7495"/>
                      <a:pt x="17832" y="11043"/>
                      <a:pt x="15877" y="13613"/>
                    </a:cubicBezTo>
                    <a:lnTo>
                      <a:pt x="14455" y="12303"/>
                    </a:lnTo>
                    <a:lnTo>
                      <a:pt x="15915" y="10862"/>
                    </a:lnTo>
                    <a:lnTo>
                      <a:pt x="15206" y="10209"/>
                    </a:lnTo>
                    <a:lnTo>
                      <a:pt x="9882" y="15464"/>
                    </a:lnTo>
                    <a:lnTo>
                      <a:pt x="10592" y="16118"/>
                    </a:lnTo>
                    <a:lnTo>
                      <a:pt x="12054" y="14674"/>
                    </a:lnTo>
                    <a:lnTo>
                      <a:pt x="14365" y="16801"/>
                    </a:lnTo>
                    <a:lnTo>
                      <a:pt x="11305" y="19822"/>
                    </a:lnTo>
                    <a:lnTo>
                      <a:pt x="13081" y="21458"/>
                    </a:lnTo>
                    <a:lnTo>
                      <a:pt x="21600" y="13048"/>
                    </a:lnTo>
                    <a:lnTo>
                      <a:pt x="19823" y="11412"/>
                    </a:lnTo>
                    <a:lnTo>
                      <a:pt x="17690" y="13518"/>
                    </a:lnTo>
                    <a:cubicBezTo>
                      <a:pt x="19379" y="10601"/>
                      <a:pt x="19335" y="6908"/>
                      <a:pt x="17380" y="3973"/>
                    </a:cubicBezTo>
                    <a:cubicBezTo>
                      <a:pt x="15971" y="1856"/>
                      <a:pt x="14006" y="526"/>
                      <a:pt x="11697" y="124"/>
                    </a:cubicBezTo>
                    <a:cubicBezTo>
                      <a:pt x="10165" y="-142"/>
                      <a:pt x="8574" y="24"/>
                      <a:pt x="7002" y="585"/>
                    </a:cubicBezTo>
                    <a:cubicBezTo>
                      <a:pt x="6059" y="-12"/>
                      <a:pt x="4773" y="95"/>
                      <a:pt x="3959" y="899"/>
                    </a:cubicBezTo>
                    <a:cubicBezTo>
                      <a:pt x="3722" y="1133"/>
                      <a:pt x="3552" y="1402"/>
                      <a:pt x="3440" y="1690"/>
                    </a:cubicBezTo>
                    <a:lnTo>
                      <a:pt x="2124" y="401"/>
                    </a:lnTo>
                    <a:lnTo>
                      <a:pt x="0" y="2367"/>
                    </a:lnTo>
                    <a:close/>
                    <a:moveTo>
                      <a:pt x="5023" y="1879"/>
                    </a:moveTo>
                    <a:cubicBezTo>
                      <a:pt x="5331" y="1567"/>
                      <a:pt x="5827" y="1505"/>
                      <a:pt x="6199" y="1742"/>
                    </a:cubicBezTo>
                    <a:cubicBezTo>
                      <a:pt x="6584" y="1986"/>
                      <a:pt x="6712" y="2467"/>
                      <a:pt x="6498" y="2857"/>
                    </a:cubicBezTo>
                    <a:cubicBezTo>
                      <a:pt x="6457" y="2939"/>
                      <a:pt x="6405" y="3017"/>
                      <a:pt x="6335" y="3086"/>
                    </a:cubicBezTo>
                    <a:cubicBezTo>
                      <a:pt x="5986" y="3431"/>
                      <a:pt x="5406" y="3440"/>
                      <a:pt x="5046" y="3108"/>
                    </a:cubicBezTo>
                    <a:cubicBezTo>
                      <a:pt x="4686" y="2775"/>
                      <a:pt x="4679" y="2227"/>
                      <a:pt x="5023" y="1879"/>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53" name="Shape 10365">
                <a:extLst>
                  <a:ext uri="{FF2B5EF4-FFF2-40B4-BE49-F238E27FC236}">
                    <a16:creationId xmlns:a16="http://schemas.microsoft.com/office/drawing/2014/main" xmlns="" id="{8FC5C75F-B60C-433D-B43F-B194C76DF864}"/>
                  </a:ext>
                </a:extLst>
              </p:cNvPr>
              <p:cNvSpPr/>
              <p:nvPr/>
            </p:nvSpPr>
            <p:spPr>
              <a:xfrm>
                <a:off x="20885060" y="8052611"/>
                <a:ext cx="644759" cy="457021"/>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54" name="Shape 10366">
                <a:extLst>
                  <a:ext uri="{FF2B5EF4-FFF2-40B4-BE49-F238E27FC236}">
                    <a16:creationId xmlns:a16="http://schemas.microsoft.com/office/drawing/2014/main" xmlns="" id="{0F251256-D0A4-45EE-A82D-7DA1E07F9B48}"/>
                  </a:ext>
                </a:extLst>
              </p:cNvPr>
              <p:cNvSpPr/>
              <p:nvPr/>
            </p:nvSpPr>
            <p:spPr>
              <a:xfrm>
                <a:off x="20024899" y="5668217"/>
                <a:ext cx="715284" cy="79181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55" name="Shape 10367">
                <a:extLst>
                  <a:ext uri="{FF2B5EF4-FFF2-40B4-BE49-F238E27FC236}">
                    <a16:creationId xmlns:a16="http://schemas.microsoft.com/office/drawing/2014/main" xmlns="" id="{A26EC353-F87F-4DF3-B444-1608AB536ED8}"/>
                  </a:ext>
                </a:extLst>
              </p:cNvPr>
              <p:cNvSpPr/>
              <p:nvPr/>
            </p:nvSpPr>
            <p:spPr>
              <a:xfrm>
                <a:off x="19982185" y="8448802"/>
                <a:ext cx="979707" cy="1152638"/>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56" name="Shape 10368">
                <a:extLst>
                  <a:ext uri="{FF2B5EF4-FFF2-40B4-BE49-F238E27FC236}">
                    <a16:creationId xmlns:a16="http://schemas.microsoft.com/office/drawing/2014/main" xmlns="" id="{BBA0CF5B-8B78-45A8-BF52-69199BE145FD}"/>
                  </a:ext>
                </a:extLst>
              </p:cNvPr>
              <p:cNvSpPr/>
              <p:nvPr/>
            </p:nvSpPr>
            <p:spPr>
              <a:xfrm>
                <a:off x="18752837" y="6832028"/>
                <a:ext cx="466519" cy="5390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69" name="Shape 10369">
                <a:extLst>
                  <a:ext uri="{FF2B5EF4-FFF2-40B4-BE49-F238E27FC236}">
                    <a16:creationId xmlns:a16="http://schemas.microsoft.com/office/drawing/2014/main" xmlns="" id="{51434DA1-6CD8-435E-96EB-091C24943FA0}"/>
                  </a:ext>
                </a:extLst>
              </p:cNvPr>
              <p:cNvSpPr/>
              <p:nvPr/>
            </p:nvSpPr>
            <p:spPr>
              <a:xfrm>
                <a:off x="20044216" y="7525006"/>
                <a:ext cx="501644" cy="700166"/>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0" name="Shape 10370">
                <a:extLst>
                  <a:ext uri="{FF2B5EF4-FFF2-40B4-BE49-F238E27FC236}">
                    <a16:creationId xmlns:a16="http://schemas.microsoft.com/office/drawing/2014/main" xmlns="" id="{8448EB90-7CEE-4664-9B71-F7334895E778}"/>
                  </a:ext>
                </a:extLst>
              </p:cNvPr>
              <p:cNvSpPr/>
              <p:nvPr/>
            </p:nvSpPr>
            <p:spPr>
              <a:xfrm>
                <a:off x="17425326" y="6394173"/>
                <a:ext cx="534330" cy="591503"/>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1" name="Shape 10371">
                <a:extLst>
                  <a:ext uri="{FF2B5EF4-FFF2-40B4-BE49-F238E27FC236}">
                    <a16:creationId xmlns:a16="http://schemas.microsoft.com/office/drawing/2014/main" xmlns="" id="{F9F31C67-6A85-417B-BFA3-0284361162FA}"/>
                  </a:ext>
                </a:extLst>
              </p:cNvPr>
              <p:cNvSpPr/>
              <p:nvPr/>
            </p:nvSpPr>
            <p:spPr>
              <a:xfrm>
                <a:off x="17176647" y="7642531"/>
                <a:ext cx="745364" cy="625836"/>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2" name="Shape 10372">
                <a:extLst>
                  <a:ext uri="{FF2B5EF4-FFF2-40B4-BE49-F238E27FC236}">
                    <a16:creationId xmlns:a16="http://schemas.microsoft.com/office/drawing/2014/main" xmlns="" id="{0380CFF4-A9FE-4056-B761-9FA3B9B9E1D4}"/>
                  </a:ext>
                </a:extLst>
              </p:cNvPr>
              <p:cNvSpPr/>
              <p:nvPr/>
            </p:nvSpPr>
            <p:spPr>
              <a:xfrm>
                <a:off x="18332165" y="5376385"/>
                <a:ext cx="863655" cy="789239"/>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3" name="Shape 10373">
                <a:extLst>
                  <a:ext uri="{FF2B5EF4-FFF2-40B4-BE49-F238E27FC236}">
                    <a16:creationId xmlns:a16="http://schemas.microsoft.com/office/drawing/2014/main" xmlns="" id="{368168F2-0358-45B7-9D30-928E650AD8A9}"/>
                  </a:ext>
                </a:extLst>
              </p:cNvPr>
              <p:cNvSpPr/>
              <p:nvPr/>
            </p:nvSpPr>
            <p:spPr>
              <a:xfrm>
                <a:off x="16553265" y="7552802"/>
                <a:ext cx="513456" cy="632805"/>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4" name="Shape 10374">
                <a:extLst>
                  <a:ext uri="{FF2B5EF4-FFF2-40B4-BE49-F238E27FC236}">
                    <a16:creationId xmlns:a16="http://schemas.microsoft.com/office/drawing/2014/main" xmlns="" id="{C0B1DD00-B654-481B-97E4-CCD67408DEE7}"/>
                  </a:ext>
                </a:extLst>
              </p:cNvPr>
              <p:cNvSpPr/>
              <p:nvPr/>
            </p:nvSpPr>
            <p:spPr>
              <a:xfrm>
                <a:off x="16997010" y="6816987"/>
                <a:ext cx="536497" cy="851591"/>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5" name="Shape 10375">
                <a:extLst>
                  <a:ext uri="{FF2B5EF4-FFF2-40B4-BE49-F238E27FC236}">
                    <a16:creationId xmlns:a16="http://schemas.microsoft.com/office/drawing/2014/main" xmlns="" id="{F60D608A-260F-45EF-A8C1-88789D6F8E11}"/>
                  </a:ext>
                </a:extLst>
              </p:cNvPr>
              <p:cNvSpPr/>
              <p:nvPr/>
            </p:nvSpPr>
            <p:spPr>
              <a:xfrm>
                <a:off x="17636361" y="4813029"/>
                <a:ext cx="520972" cy="676950"/>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6" name="Shape 10376">
                <a:extLst>
                  <a:ext uri="{FF2B5EF4-FFF2-40B4-BE49-F238E27FC236}">
                    <a16:creationId xmlns:a16="http://schemas.microsoft.com/office/drawing/2014/main" xmlns="" id="{7646CEC1-D0B1-4DFB-94B6-B49FB39BFCB6}"/>
                  </a:ext>
                </a:extLst>
              </p:cNvPr>
              <p:cNvSpPr/>
              <p:nvPr/>
            </p:nvSpPr>
            <p:spPr>
              <a:xfrm>
                <a:off x="16445567" y="5853049"/>
                <a:ext cx="1109876" cy="786703"/>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7" name="Shape 10377">
                <a:extLst>
                  <a:ext uri="{FF2B5EF4-FFF2-40B4-BE49-F238E27FC236}">
                    <a16:creationId xmlns:a16="http://schemas.microsoft.com/office/drawing/2014/main" xmlns="" id="{A71CF20C-FB91-42C9-AB9C-67BDAC8591E4}"/>
                  </a:ext>
                </a:extLst>
              </p:cNvPr>
              <p:cNvSpPr/>
              <p:nvPr/>
            </p:nvSpPr>
            <p:spPr>
              <a:xfrm>
                <a:off x="20790050" y="5991829"/>
                <a:ext cx="864563" cy="744818"/>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8" name="Shape 10378">
                <a:extLst>
                  <a:ext uri="{FF2B5EF4-FFF2-40B4-BE49-F238E27FC236}">
                    <a16:creationId xmlns:a16="http://schemas.microsoft.com/office/drawing/2014/main" xmlns="" id="{B239A0E7-BD8E-47A1-8419-ACCA6EAEE1C5}"/>
                  </a:ext>
                </a:extLst>
              </p:cNvPr>
              <p:cNvSpPr/>
              <p:nvPr/>
            </p:nvSpPr>
            <p:spPr>
              <a:xfrm>
                <a:off x="19313520" y="4966536"/>
                <a:ext cx="524618" cy="75013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9" name="Shape 10379">
                <a:extLst>
                  <a:ext uri="{FF2B5EF4-FFF2-40B4-BE49-F238E27FC236}">
                    <a16:creationId xmlns:a16="http://schemas.microsoft.com/office/drawing/2014/main" xmlns="" id="{0BD59958-5BAA-4F14-9C97-BBBB575E5A56}"/>
                  </a:ext>
                </a:extLst>
              </p:cNvPr>
              <p:cNvSpPr/>
              <p:nvPr/>
            </p:nvSpPr>
            <p:spPr>
              <a:xfrm>
                <a:off x="18944728" y="8112012"/>
                <a:ext cx="642361" cy="720763"/>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80" name="Shape 10380">
                <a:extLst>
                  <a:ext uri="{FF2B5EF4-FFF2-40B4-BE49-F238E27FC236}">
                    <a16:creationId xmlns:a16="http://schemas.microsoft.com/office/drawing/2014/main" xmlns="" id="{8037866A-8C1B-4590-BFD9-D0766F52ED30}"/>
                  </a:ext>
                </a:extLst>
              </p:cNvPr>
              <p:cNvSpPr/>
              <p:nvPr/>
            </p:nvSpPr>
            <p:spPr>
              <a:xfrm>
                <a:off x="15975650" y="5388230"/>
                <a:ext cx="779625" cy="510039"/>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81" name="Shape 10381">
                <a:extLst>
                  <a:ext uri="{FF2B5EF4-FFF2-40B4-BE49-F238E27FC236}">
                    <a16:creationId xmlns:a16="http://schemas.microsoft.com/office/drawing/2014/main" xmlns="" id="{D324E4B5-8316-4059-A3DB-B169FAC991AC}"/>
                  </a:ext>
                </a:extLst>
              </p:cNvPr>
              <p:cNvSpPr/>
              <p:nvPr/>
            </p:nvSpPr>
            <p:spPr>
              <a:xfrm>
                <a:off x="19403402" y="8407653"/>
                <a:ext cx="524618" cy="75013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82" name="Shape 10382">
                <a:extLst>
                  <a:ext uri="{FF2B5EF4-FFF2-40B4-BE49-F238E27FC236}">
                    <a16:creationId xmlns:a16="http://schemas.microsoft.com/office/drawing/2014/main" xmlns="" id="{1E641FFF-B29A-4EEA-AA7B-1BE84BD56387}"/>
                  </a:ext>
                </a:extLst>
              </p:cNvPr>
              <p:cNvSpPr/>
              <p:nvPr/>
            </p:nvSpPr>
            <p:spPr>
              <a:xfrm>
                <a:off x="16734124" y="4497815"/>
                <a:ext cx="706826" cy="831591"/>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83" name="Shape 10383">
                <a:extLst>
                  <a:ext uri="{FF2B5EF4-FFF2-40B4-BE49-F238E27FC236}">
                    <a16:creationId xmlns:a16="http://schemas.microsoft.com/office/drawing/2014/main" xmlns="" id="{6C5CDF0F-A9D4-4AF0-AF47-B30BE81D2E6B}"/>
                  </a:ext>
                </a:extLst>
              </p:cNvPr>
              <p:cNvSpPr/>
              <p:nvPr/>
            </p:nvSpPr>
            <p:spPr>
              <a:xfrm>
                <a:off x="18326107" y="4525802"/>
                <a:ext cx="707797" cy="707801"/>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84" name="Shape 10384">
                <a:extLst>
                  <a:ext uri="{FF2B5EF4-FFF2-40B4-BE49-F238E27FC236}">
                    <a16:creationId xmlns:a16="http://schemas.microsoft.com/office/drawing/2014/main" xmlns="" id="{169D0E97-E32F-42A9-9047-6567367EAA45}"/>
                  </a:ext>
                </a:extLst>
              </p:cNvPr>
              <p:cNvSpPr/>
              <p:nvPr/>
            </p:nvSpPr>
            <p:spPr>
              <a:xfrm>
                <a:off x="21178441" y="7084824"/>
                <a:ext cx="603784" cy="760236"/>
              </a:xfrm>
              <a:custGeom>
                <a:avLst/>
                <a:gdLst/>
                <a:ahLst/>
                <a:cxnLst>
                  <a:cxn ang="0">
                    <a:pos x="wd2" y="hd2"/>
                  </a:cxn>
                  <a:cxn ang="5400000">
                    <a:pos x="wd2" y="hd2"/>
                  </a:cxn>
                  <a:cxn ang="10800000">
                    <a:pos x="wd2" y="hd2"/>
                  </a:cxn>
                  <a:cxn ang="16200000">
                    <a:pos x="wd2" y="hd2"/>
                  </a:cxn>
                </a:cxnLst>
                <a:rect l="0" t="0" r="r" b="b"/>
                <a:pathLst>
                  <a:path w="21600" h="21600" extrusionOk="0">
                    <a:moveTo>
                      <a:pt x="4615" y="0"/>
                    </a:moveTo>
                    <a:lnTo>
                      <a:pt x="0" y="18854"/>
                    </a:lnTo>
                    <a:lnTo>
                      <a:pt x="17786" y="21600"/>
                    </a:lnTo>
                    <a:lnTo>
                      <a:pt x="21600" y="6017"/>
                    </a:lnTo>
                    <a:lnTo>
                      <a:pt x="18300" y="2113"/>
                    </a:lnTo>
                    <a:lnTo>
                      <a:pt x="4615" y="0"/>
                    </a:lnTo>
                    <a:close/>
                    <a:moveTo>
                      <a:pt x="9206" y="5215"/>
                    </a:moveTo>
                    <a:lnTo>
                      <a:pt x="15684" y="6215"/>
                    </a:lnTo>
                    <a:lnTo>
                      <a:pt x="15556" y="6735"/>
                    </a:lnTo>
                    <a:lnTo>
                      <a:pt x="9079" y="5735"/>
                    </a:lnTo>
                    <a:lnTo>
                      <a:pt x="9206" y="5215"/>
                    </a:lnTo>
                    <a:close/>
                    <a:moveTo>
                      <a:pt x="4712" y="9845"/>
                    </a:moveTo>
                    <a:lnTo>
                      <a:pt x="17667" y="11845"/>
                    </a:lnTo>
                    <a:lnTo>
                      <a:pt x="17544" y="12350"/>
                    </a:lnTo>
                    <a:lnTo>
                      <a:pt x="4588" y="10350"/>
                    </a:lnTo>
                    <a:lnTo>
                      <a:pt x="4712" y="9845"/>
                    </a:lnTo>
                    <a:close/>
                    <a:moveTo>
                      <a:pt x="4086" y="12402"/>
                    </a:moveTo>
                    <a:lnTo>
                      <a:pt x="17041" y="14402"/>
                    </a:lnTo>
                    <a:lnTo>
                      <a:pt x="16914" y="14923"/>
                    </a:lnTo>
                    <a:lnTo>
                      <a:pt x="3958" y="12923"/>
                    </a:lnTo>
                    <a:lnTo>
                      <a:pt x="4086" y="12402"/>
                    </a:lnTo>
                    <a:close/>
                    <a:moveTo>
                      <a:pt x="3460" y="14960"/>
                    </a:moveTo>
                    <a:lnTo>
                      <a:pt x="9938" y="15960"/>
                    </a:lnTo>
                    <a:lnTo>
                      <a:pt x="9810" y="16480"/>
                    </a:lnTo>
                    <a:lnTo>
                      <a:pt x="3332" y="15480"/>
                    </a:lnTo>
                    <a:lnTo>
                      <a:pt x="3460" y="14960"/>
                    </a:ln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85" name="Shape 10385">
                <a:extLst>
                  <a:ext uri="{FF2B5EF4-FFF2-40B4-BE49-F238E27FC236}">
                    <a16:creationId xmlns:a16="http://schemas.microsoft.com/office/drawing/2014/main" xmlns="" id="{EF183B7B-80DF-408A-9CED-3FFFEBAC5D27}"/>
                  </a:ext>
                </a:extLst>
              </p:cNvPr>
              <p:cNvSpPr/>
              <p:nvPr/>
            </p:nvSpPr>
            <p:spPr>
              <a:xfrm>
                <a:off x="20665453" y="6815822"/>
                <a:ext cx="608341" cy="1291941"/>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86" name="Shape 10386">
                <a:extLst>
                  <a:ext uri="{FF2B5EF4-FFF2-40B4-BE49-F238E27FC236}">
                    <a16:creationId xmlns:a16="http://schemas.microsoft.com/office/drawing/2014/main" xmlns="" id="{BE508093-EC2F-41C4-B8C9-02A8CA661FAD}"/>
                  </a:ext>
                </a:extLst>
              </p:cNvPr>
              <p:cNvSpPr/>
              <p:nvPr/>
            </p:nvSpPr>
            <p:spPr>
              <a:xfrm>
                <a:off x="19887198" y="8018535"/>
                <a:ext cx="374756" cy="41485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87" name="Shape 10387">
                <a:extLst>
                  <a:ext uri="{FF2B5EF4-FFF2-40B4-BE49-F238E27FC236}">
                    <a16:creationId xmlns:a16="http://schemas.microsoft.com/office/drawing/2014/main" xmlns="" id="{D1127D29-64D5-4A0D-B3EF-75E585D9AF5E}"/>
                  </a:ext>
                </a:extLst>
              </p:cNvPr>
              <p:cNvSpPr/>
              <p:nvPr/>
            </p:nvSpPr>
            <p:spPr>
              <a:xfrm>
                <a:off x="19258042" y="4159750"/>
                <a:ext cx="657992" cy="400025"/>
              </a:xfrm>
              <a:custGeom>
                <a:avLst/>
                <a:gdLst/>
                <a:ahLst/>
                <a:cxnLst>
                  <a:cxn ang="0">
                    <a:pos x="wd2" y="hd2"/>
                  </a:cxn>
                  <a:cxn ang="5400000">
                    <a:pos x="wd2" y="hd2"/>
                  </a:cxn>
                  <a:cxn ang="10800000">
                    <a:pos x="wd2" y="hd2"/>
                  </a:cxn>
                  <a:cxn ang="16200000">
                    <a:pos x="wd2" y="hd2"/>
                  </a:cxn>
                </a:cxnLst>
                <a:rect l="0" t="0" r="r" b="b"/>
                <a:pathLst>
                  <a:path w="21600" h="21600" extrusionOk="0">
                    <a:moveTo>
                      <a:pt x="0" y="14177"/>
                    </a:moveTo>
                    <a:cubicBezTo>
                      <a:pt x="2527" y="15134"/>
                      <a:pt x="4222" y="12910"/>
                      <a:pt x="5702" y="10575"/>
                    </a:cubicBezTo>
                    <a:cubicBezTo>
                      <a:pt x="6408" y="13676"/>
                      <a:pt x="7362" y="16803"/>
                      <a:pt x="9837" y="17741"/>
                    </a:cubicBezTo>
                    <a:cubicBezTo>
                      <a:pt x="12287" y="18668"/>
                      <a:pt x="13976" y="16590"/>
                      <a:pt x="15426" y="14335"/>
                    </a:cubicBezTo>
                    <a:cubicBezTo>
                      <a:pt x="16134" y="17472"/>
                      <a:pt x="17076" y="20652"/>
                      <a:pt x="19580" y="21600"/>
                    </a:cubicBezTo>
                    <a:lnTo>
                      <a:pt x="19844" y="19777"/>
                    </a:lnTo>
                    <a:cubicBezTo>
                      <a:pt x="17724" y="18974"/>
                      <a:pt x="17025" y="16203"/>
                      <a:pt x="16319" y="12948"/>
                    </a:cubicBezTo>
                    <a:cubicBezTo>
                      <a:pt x="17841" y="10489"/>
                      <a:pt x="19206" y="8437"/>
                      <a:pt x="21352" y="9250"/>
                    </a:cubicBezTo>
                    <a:lnTo>
                      <a:pt x="21600" y="7421"/>
                    </a:lnTo>
                    <a:cubicBezTo>
                      <a:pt x="19073" y="6464"/>
                      <a:pt x="17365" y="8691"/>
                      <a:pt x="15886" y="11025"/>
                    </a:cubicBezTo>
                    <a:cubicBezTo>
                      <a:pt x="15180" y="7926"/>
                      <a:pt x="14217" y="4820"/>
                      <a:pt x="11744" y="3883"/>
                    </a:cubicBezTo>
                    <a:cubicBezTo>
                      <a:pt x="9288" y="2954"/>
                      <a:pt x="7622" y="5034"/>
                      <a:pt x="6170" y="7294"/>
                    </a:cubicBezTo>
                    <a:cubicBezTo>
                      <a:pt x="5461" y="4152"/>
                      <a:pt x="4515" y="950"/>
                      <a:pt x="2007" y="0"/>
                    </a:cubicBezTo>
                    <a:cubicBezTo>
                      <a:pt x="2007" y="0"/>
                      <a:pt x="1755" y="1827"/>
                      <a:pt x="1755" y="1827"/>
                    </a:cubicBezTo>
                    <a:cubicBezTo>
                      <a:pt x="3881" y="2632"/>
                      <a:pt x="4569" y="5413"/>
                      <a:pt x="5277" y="8681"/>
                    </a:cubicBezTo>
                    <a:cubicBezTo>
                      <a:pt x="3758" y="11134"/>
                      <a:pt x="2389" y="13165"/>
                      <a:pt x="247" y="12354"/>
                    </a:cubicBezTo>
                    <a:lnTo>
                      <a:pt x="0" y="14177"/>
                    </a:lnTo>
                    <a:close/>
                    <a:moveTo>
                      <a:pt x="608" y="11260"/>
                    </a:moveTo>
                    <a:cubicBezTo>
                      <a:pt x="982" y="11395"/>
                      <a:pt x="1324" y="11420"/>
                      <a:pt x="1648" y="11361"/>
                    </a:cubicBezTo>
                    <a:cubicBezTo>
                      <a:pt x="1648" y="11361"/>
                      <a:pt x="2736" y="3679"/>
                      <a:pt x="2736" y="3679"/>
                    </a:cubicBezTo>
                    <a:cubicBezTo>
                      <a:pt x="2461" y="3396"/>
                      <a:pt x="2144" y="3178"/>
                      <a:pt x="1771" y="3033"/>
                    </a:cubicBezTo>
                    <a:lnTo>
                      <a:pt x="608" y="11260"/>
                    </a:lnTo>
                    <a:close/>
                    <a:moveTo>
                      <a:pt x="2743" y="10793"/>
                    </a:moveTo>
                    <a:cubicBezTo>
                      <a:pt x="3150" y="10493"/>
                      <a:pt x="3533" y="10048"/>
                      <a:pt x="3917" y="9511"/>
                    </a:cubicBezTo>
                    <a:lnTo>
                      <a:pt x="4287" y="6924"/>
                    </a:lnTo>
                    <a:cubicBezTo>
                      <a:pt x="4087" y="6170"/>
                      <a:pt x="3864" y="5496"/>
                      <a:pt x="3579" y="4938"/>
                    </a:cubicBezTo>
                    <a:lnTo>
                      <a:pt x="2743" y="10793"/>
                    </a:lnTo>
                    <a:close/>
                    <a:moveTo>
                      <a:pt x="6595" y="9188"/>
                    </a:moveTo>
                    <a:cubicBezTo>
                      <a:pt x="8063" y="6828"/>
                      <a:pt x="9414" y="4924"/>
                      <a:pt x="11495" y="5712"/>
                    </a:cubicBezTo>
                    <a:cubicBezTo>
                      <a:pt x="13593" y="6506"/>
                      <a:pt x="14292" y="9219"/>
                      <a:pt x="14990" y="12431"/>
                    </a:cubicBezTo>
                    <a:cubicBezTo>
                      <a:pt x="13526" y="14784"/>
                      <a:pt x="12177" y="16704"/>
                      <a:pt x="10101" y="15917"/>
                    </a:cubicBezTo>
                    <a:cubicBezTo>
                      <a:pt x="8003" y="15123"/>
                      <a:pt x="7294" y="12399"/>
                      <a:pt x="6595" y="9188"/>
                    </a:cubicBezTo>
                    <a:close/>
                    <a:moveTo>
                      <a:pt x="7938" y="11422"/>
                    </a:moveTo>
                    <a:cubicBezTo>
                      <a:pt x="8176" y="12303"/>
                      <a:pt x="8447" y="13084"/>
                      <a:pt x="8788" y="13733"/>
                    </a:cubicBezTo>
                    <a:lnTo>
                      <a:pt x="9770" y="6683"/>
                    </a:lnTo>
                    <a:cubicBezTo>
                      <a:pt x="9292" y="7022"/>
                      <a:pt x="8844" y="7536"/>
                      <a:pt x="8395" y="8157"/>
                    </a:cubicBezTo>
                    <a:lnTo>
                      <a:pt x="7938" y="11422"/>
                    </a:lnTo>
                    <a:close/>
                    <a:moveTo>
                      <a:pt x="9753" y="14444"/>
                    </a:moveTo>
                    <a:cubicBezTo>
                      <a:pt x="9947" y="14585"/>
                      <a:pt x="10156" y="14700"/>
                      <a:pt x="10391" y="14785"/>
                    </a:cubicBezTo>
                    <a:cubicBezTo>
                      <a:pt x="10509" y="14829"/>
                      <a:pt x="10624" y="14858"/>
                      <a:pt x="10737" y="14880"/>
                    </a:cubicBezTo>
                    <a:lnTo>
                      <a:pt x="11912" y="6809"/>
                    </a:lnTo>
                    <a:cubicBezTo>
                      <a:pt x="11804" y="6751"/>
                      <a:pt x="11691" y="6700"/>
                      <a:pt x="11572" y="6657"/>
                    </a:cubicBezTo>
                    <a:cubicBezTo>
                      <a:pt x="11338" y="6572"/>
                      <a:pt x="11118" y="6530"/>
                      <a:pt x="10904" y="6522"/>
                    </a:cubicBezTo>
                    <a:lnTo>
                      <a:pt x="9753" y="14444"/>
                    </a:lnTo>
                    <a:close/>
                    <a:moveTo>
                      <a:pt x="11819" y="15088"/>
                    </a:moveTo>
                    <a:cubicBezTo>
                      <a:pt x="12255" y="14876"/>
                      <a:pt x="12659" y="14511"/>
                      <a:pt x="13056" y="14038"/>
                    </a:cubicBezTo>
                    <a:lnTo>
                      <a:pt x="13679" y="9709"/>
                    </a:lnTo>
                    <a:cubicBezTo>
                      <a:pt x="13451" y="9006"/>
                      <a:pt x="13187" y="8394"/>
                      <a:pt x="12852" y="7898"/>
                    </a:cubicBezTo>
                    <a:lnTo>
                      <a:pt x="11819" y="15088"/>
                    </a:lnTo>
                    <a:close/>
                    <a:moveTo>
                      <a:pt x="17315" y="14655"/>
                    </a:moveTo>
                    <a:cubicBezTo>
                      <a:pt x="17522" y="15364"/>
                      <a:pt x="17751" y="15987"/>
                      <a:pt x="18038" y="16501"/>
                    </a:cubicBezTo>
                    <a:lnTo>
                      <a:pt x="18774" y="10835"/>
                    </a:lnTo>
                    <a:cubicBezTo>
                      <a:pt x="18379" y="11153"/>
                      <a:pt x="18008" y="11606"/>
                      <a:pt x="17639" y="12150"/>
                    </a:cubicBezTo>
                    <a:lnTo>
                      <a:pt x="17315" y="14655"/>
                    </a:lnTo>
                    <a:close/>
                    <a:moveTo>
                      <a:pt x="19142" y="17799"/>
                    </a:moveTo>
                    <a:cubicBezTo>
                      <a:pt x="19411" y="18060"/>
                      <a:pt x="19719" y="18258"/>
                      <a:pt x="20080" y="18383"/>
                    </a:cubicBezTo>
                    <a:lnTo>
                      <a:pt x="21155" y="10467"/>
                    </a:lnTo>
                    <a:cubicBezTo>
                      <a:pt x="20792" y="10352"/>
                      <a:pt x="20458" y="10341"/>
                      <a:pt x="20145" y="10409"/>
                    </a:cubicBezTo>
                    <a:cubicBezTo>
                      <a:pt x="20145" y="10409"/>
                      <a:pt x="19142" y="17799"/>
                      <a:pt x="19142" y="17799"/>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88" name="Shape 10388">
                <a:extLst>
                  <a:ext uri="{FF2B5EF4-FFF2-40B4-BE49-F238E27FC236}">
                    <a16:creationId xmlns:a16="http://schemas.microsoft.com/office/drawing/2014/main" xmlns="" id="{F7437897-92CC-4924-9926-8138E07339C1}"/>
                  </a:ext>
                </a:extLst>
              </p:cNvPr>
              <p:cNvSpPr/>
              <p:nvPr/>
            </p:nvSpPr>
            <p:spPr>
              <a:xfrm>
                <a:off x="18647199" y="4108806"/>
                <a:ext cx="356298" cy="370280"/>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89" name="Shape 10389">
                <a:extLst>
                  <a:ext uri="{FF2B5EF4-FFF2-40B4-BE49-F238E27FC236}">
                    <a16:creationId xmlns:a16="http://schemas.microsoft.com/office/drawing/2014/main" xmlns="" id="{D5194F4D-FD93-4387-9ECB-54641999778F}"/>
                  </a:ext>
                </a:extLst>
              </p:cNvPr>
              <p:cNvSpPr/>
              <p:nvPr/>
            </p:nvSpPr>
            <p:spPr>
              <a:xfrm>
                <a:off x="17493485" y="4180654"/>
                <a:ext cx="832625" cy="547837"/>
              </a:xfrm>
              <a:custGeom>
                <a:avLst/>
                <a:gdLst/>
                <a:ahLst/>
                <a:cxnLst>
                  <a:cxn ang="0">
                    <a:pos x="wd2" y="hd2"/>
                  </a:cxn>
                  <a:cxn ang="5400000">
                    <a:pos x="wd2" y="hd2"/>
                  </a:cxn>
                  <a:cxn ang="10800000">
                    <a:pos x="wd2" y="hd2"/>
                  </a:cxn>
                  <a:cxn ang="16200000">
                    <a:pos x="wd2" y="hd2"/>
                  </a:cxn>
                </a:cxnLst>
                <a:rect l="0" t="0" r="r" b="b"/>
                <a:pathLst>
                  <a:path w="21340" h="21208" extrusionOk="0">
                    <a:moveTo>
                      <a:pt x="3532" y="6467"/>
                    </a:moveTo>
                    <a:lnTo>
                      <a:pt x="5654" y="19318"/>
                    </a:lnTo>
                    <a:lnTo>
                      <a:pt x="17808" y="14741"/>
                    </a:lnTo>
                    <a:lnTo>
                      <a:pt x="15687" y="1890"/>
                    </a:lnTo>
                    <a:cubicBezTo>
                      <a:pt x="15687" y="1890"/>
                      <a:pt x="3532" y="6467"/>
                      <a:pt x="3532" y="6467"/>
                    </a:cubicBezTo>
                    <a:close/>
                    <a:moveTo>
                      <a:pt x="2391" y="11284"/>
                    </a:moveTo>
                    <a:lnTo>
                      <a:pt x="3148" y="15874"/>
                    </a:lnTo>
                    <a:cubicBezTo>
                      <a:pt x="3190" y="16128"/>
                      <a:pt x="3360" y="16282"/>
                      <a:pt x="3528" y="16218"/>
                    </a:cubicBezTo>
                    <a:cubicBezTo>
                      <a:pt x="3696" y="16155"/>
                      <a:pt x="3798" y="15899"/>
                      <a:pt x="3756" y="15645"/>
                    </a:cubicBezTo>
                    <a:lnTo>
                      <a:pt x="2999" y="11056"/>
                    </a:lnTo>
                    <a:cubicBezTo>
                      <a:pt x="2957" y="10802"/>
                      <a:pt x="2787" y="10648"/>
                      <a:pt x="2619" y="10711"/>
                    </a:cubicBezTo>
                    <a:cubicBezTo>
                      <a:pt x="2451" y="10774"/>
                      <a:pt x="2349" y="11031"/>
                      <a:pt x="2391" y="11284"/>
                    </a:cubicBezTo>
                    <a:close/>
                    <a:moveTo>
                      <a:pt x="19102" y="6941"/>
                    </a:moveTo>
                    <a:cubicBezTo>
                      <a:pt x="18977" y="6181"/>
                      <a:pt x="18467" y="5718"/>
                      <a:pt x="17963" y="5908"/>
                    </a:cubicBezTo>
                    <a:cubicBezTo>
                      <a:pt x="17460" y="6097"/>
                      <a:pt x="17154" y="6868"/>
                      <a:pt x="17279" y="7628"/>
                    </a:cubicBezTo>
                    <a:cubicBezTo>
                      <a:pt x="17405" y="8388"/>
                      <a:pt x="17914" y="8851"/>
                      <a:pt x="18418" y="8661"/>
                    </a:cubicBezTo>
                    <a:cubicBezTo>
                      <a:pt x="18922" y="8472"/>
                      <a:pt x="19228" y="7701"/>
                      <a:pt x="19102" y="6941"/>
                    </a:cubicBezTo>
                    <a:close/>
                    <a:moveTo>
                      <a:pt x="19484" y="1435"/>
                    </a:moveTo>
                    <a:lnTo>
                      <a:pt x="21303" y="12450"/>
                    </a:lnTo>
                    <a:cubicBezTo>
                      <a:pt x="21470" y="13464"/>
                      <a:pt x="21062" y="14490"/>
                      <a:pt x="20390" y="14743"/>
                    </a:cubicBezTo>
                    <a:lnTo>
                      <a:pt x="3374" y="21151"/>
                    </a:lnTo>
                    <a:cubicBezTo>
                      <a:pt x="2703" y="21404"/>
                      <a:pt x="2023" y="20787"/>
                      <a:pt x="1856" y="19773"/>
                    </a:cubicBezTo>
                    <a:lnTo>
                      <a:pt x="37" y="8758"/>
                    </a:lnTo>
                    <a:cubicBezTo>
                      <a:pt x="-130" y="7745"/>
                      <a:pt x="279" y="6718"/>
                      <a:pt x="950" y="6465"/>
                    </a:cubicBezTo>
                    <a:lnTo>
                      <a:pt x="17966" y="57"/>
                    </a:lnTo>
                    <a:cubicBezTo>
                      <a:pt x="18637" y="-196"/>
                      <a:pt x="19317" y="421"/>
                      <a:pt x="19484" y="143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0" name="Shape 10390">
                <a:extLst>
                  <a:ext uri="{FF2B5EF4-FFF2-40B4-BE49-F238E27FC236}">
                    <a16:creationId xmlns:a16="http://schemas.microsoft.com/office/drawing/2014/main" xmlns="" id="{8CFC7FDB-60A6-4F17-8CFF-28DF0534DD22}"/>
                  </a:ext>
                </a:extLst>
              </p:cNvPr>
              <p:cNvSpPr/>
              <p:nvPr/>
            </p:nvSpPr>
            <p:spPr>
              <a:xfrm>
                <a:off x="18126035" y="6224102"/>
                <a:ext cx="1086986" cy="582354"/>
              </a:xfrm>
              <a:custGeom>
                <a:avLst/>
                <a:gdLst/>
                <a:ahLst/>
                <a:cxnLst>
                  <a:cxn ang="0">
                    <a:pos x="wd2" y="hd2"/>
                  </a:cxn>
                  <a:cxn ang="5400000">
                    <a:pos x="wd2" y="hd2"/>
                  </a:cxn>
                  <a:cxn ang="10800000">
                    <a:pos x="wd2" y="hd2"/>
                  </a:cxn>
                  <a:cxn ang="16200000">
                    <a:pos x="wd2" y="hd2"/>
                  </a:cxn>
                </a:cxnLst>
                <a:rect l="0" t="0" r="r" b="b"/>
                <a:pathLst>
                  <a:path w="21600" h="21586" extrusionOk="0">
                    <a:moveTo>
                      <a:pt x="16536" y="15317"/>
                    </a:moveTo>
                    <a:lnTo>
                      <a:pt x="16511" y="12603"/>
                    </a:lnTo>
                    <a:lnTo>
                      <a:pt x="16510" y="12603"/>
                    </a:lnTo>
                    <a:cubicBezTo>
                      <a:pt x="16510" y="12601"/>
                      <a:pt x="16511" y="12598"/>
                      <a:pt x="16511" y="12596"/>
                    </a:cubicBezTo>
                    <a:cubicBezTo>
                      <a:pt x="16497" y="11097"/>
                      <a:pt x="13851" y="9967"/>
                      <a:pt x="10600" y="10073"/>
                    </a:cubicBezTo>
                    <a:cubicBezTo>
                      <a:pt x="7350" y="10179"/>
                      <a:pt x="4727" y="11481"/>
                      <a:pt x="4741" y="12979"/>
                    </a:cubicBezTo>
                    <a:cubicBezTo>
                      <a:pt x="4741" y="12982"/>
                      <a:pt x="4741" y="12984"/>
                      <a:pt x="4741" y="12986"/>
                    </a:cubicBezTo>
                    <a:lnTo>
                      <a:pt x="4741" y="12986"/>
                    </a:lnTo>
                    <a:lnTo>
                      <a:pt x="4744" y="13374"/>
                    </a:lnTo>
                    <a:lnTo>
                      <a:pt x="0" y="9650"/>
                    </a:lnTo>
                    <a:lnTo>
                      <a:pt x="10506" y="0"/>
                    </a:lnTo>
                    <a:lnTo>
                      <a:pt x="21600" y="11274"/>
                    </a:lnTo>
                    <a:cubicBezTo>
                      <a:pt x="21600" y="11274"/>
                      <a:pt x="16536" y="15317"/>
                      <a:pt x="16536" y="15317"/>
                    </a:cubicBezTo>
                    <a:close/>
                    <a:moveTo>
                      <a:pt x="3433" y="20010"/>
                    </a:moveTo>
                    <a:cubicBezTo>
                      <a:pt x="3441" y="20866"/>
                      <a:pt x="3096" y="21572"/>
                      <a:pt x="2663" y="21586"/>
                    </a:cubicBezTo>
                    <a:cubicBezTo>
                      <a:pt x="2229" y="21600"/>
                      <a:pt x="1871" y="20917"/>
                      <a:pt x="1863" y="20061"/>
                    </a:cubicBezTo>
                    <a:cubicBezTo>
                      <a:pt x="1858" y="19488"/>
                      <a:pt x="2012" y="18988"/>
                      <a:pt x="2243" y="18712"/>
                    </a:cubicBezTo>
                    <a:lnTo>
                      <a:pt x="2180" y="11901"/>
                    </a:lnTo>
                    <a:lnTo>
                      <a:pt x="2970" y="12521"/>
                    </a:lnTo>
                    <a:lnTo>
                      <a:pt x="3028" y="18686"/>
                    </a:lnTo>
                    <a:cubicBezTo>
                      <a:pt x="3264" y="18947"/>
                      <a:pt x="3427" y="19437"/>
                      <a:pt x="3433" y="20010"/>
                    </a:cubicBezTo>
                    <a:close/>
                    <a:moveTo>
                      <a:pt x="15799" y="20383"/>
                    </a:moveTo>
                    <a:lnTo>
                      <a:pt x="15729" y="12978"/>
                    </a:lnTo>
                    <a:cubicBezTo>
                      <a:pt x="15274" y="12403"/>
                      <a:pt x="13503" y="11530"/>
                      <a:pt x="10615" y="11624"/>
                    </a:cubicBezTo>
                    <a:cubicBezTo>
                      <a:pt x="7726" y="11718"/>
                      <a:pt x="5972" y="12706"/>
                      <a:pt x="5529" y="13310"/>
                    </a:cubicBezTo>
                    <a:lnTo>
                      <a:pt x="5598" y="20715"/>
                    </a:lnTo>
                    <a:cubicBezTo>
                      <a:pt x="5598" y="20715"/>
                      <a:pt x="15799" y="20383"/>
                      <a:pt x="15799" y="2038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1" name="Shape 10391">
                <a:extLst>
                  <a:ext uri="{FF2B5EF4-FFF2-40B4-BE49-F238E27FC236}">
                    <a16:creationId xmlns:a16="http://schemas.microsoft.com/office/drawing/2014/main" xmlns="" id="{4E614465-0707-4F10-B897-55F150110BBA}"/>
                  </a:ext>
                </a:extLst>
              </p:cNvPr>
              <p:cNvSpPr/>
              <p:nvPr/>
            </p:nvSpPr>
            <p:spPr>
              <a:xfrm>
                <a:off x="15698648" y="7668441"/>
                <a:ext cx="845762" cy="398249"/>
              </a:xfrm>
              <a:custGeom>
                <a:avLst/>
                <a:gdLst/>
                <a:ahLst/>
                <a:cxnLst>
                  <a:cxn ang="0">
                    <a:pos x="wd2" y="hd2"/>
                  </a:cxn>
                  <a:cxn ang="5400000">
                    <a:pos x="wd2" y="hd2"/>
                  </a:cxn>
                  <a:cxn ang="10800000">
                    <a:pos x="wd2" y="hd2"/>
                  </a:cxn>
                  <a:cxn ang="16200000">
                    <a:pos x="wd2" y="hd2"/>
                  </a:cxn>
                </a:cxnLst>
                <a:rect l="0" t="0" r="r" b="b"/>
                <a:pathLst>
                  <a:path w="21600" h="21600" extrusionOk="0">
                    <a:moveTo>
                      <a:pt x="20754" y="0"/>
                    </a:moveTo>
                    <a:lnTo>
                      <a:pt x="19029" y="1406"/>
                    </a:lnTo>
                    <a:cubicBezTo>
                      <a:pt x="19054" y="1548"/>
                      <a:pt x="19310" y="2958"/>
                      <a:pt x="19310" y="2958"/>
                    </a:cubicBezTo>
                    <a:lnTo>
                      <a:pt x="19147" y="3091"/>
                    </a:lnTo>
                    <a:lnTo>
                      <a:pt x="18865" y="1540"/>
                    </a:lnTo>
                    <a:lnTo>
                      <a:pt x="18111" y="2155"/>
                    </a:lnTo>
                    <a:cubicBezTo>
                      <a:pt x="18136" y="2291"/>
                      <a:pt x="18318" y="3295"/>
                      <a:pt x="18318" y="3295"/>
                    </a:cubicBezTo>
                    <a:lnTo>
                      <a:pt x="18155" y="3428"/>
                    </a:lnTo>
                    <a:lnTo>
                      <a:pt x="17947" y="2288"/>
                    </a:lnTo>
                    <a:lnTo>
                      <a:pt x="17193" y="2903"/>
                    </a:lnTo>
                    <a:cubicBezTo>
                      <a:pt x="17219" y="3044"/>
                      <a:pt x="17474" y="4455"/>
                      <a:pt x="17474" y="4455"/>
                    </a:cubicBezTo>
                    <a:lnTo>
                      <a:pt x="17311" y="4587"/>
                    </a:lnTo>
                    <a:lnTo>
                      <a:pt x="17030" y="3036"/>
                    </a:lnTo>
                    <a:lnTo>
                      <a:pt x="16275" y="3652"/>
                    </a:lnTo>
                    <a:cubicBezTo>
                      <a:pt x="16299" y="3788"/>
                      <a:pt x="16482" y="4792"/>
                      <a:pt x="16482" y="4792"/>
                    </a:cubicBezTo>
                    <a:lnTo>
                      <a:pt x="16318" y="4925"/>
                    </a:lnTo>
                    <a:lnTo>
                      <a:pt x="16111" y="3785"/>
                    </a:lnTo>
                    <a:lnTo>
                      <a:pt x="15357" y="4400"/>
                    </a:lnTo>
                    <a:cubicBezTo>
                      <a:pt x="15383" y="4541"/>
                      <a:pt x="15639" y="5951"/>
                      <a:pt x="15639" y="5951"/>
                    </a:cubicBezTo>
                    <a:lnTo>
                      <a:pt x="15475" y="6085"/>
                    </a:lnTo>
                    <a:lnTo>
                      <a:pt x="15193" y="4533"/>
                    </a:lnTo>
                    <a:lnTo>
                      <a:pt x="14439" y="5148"/>
                    </a:lnTo>
                    <a:cubicBezTo>
                      <a:pt x="14464" y="5284"/>
                      <a:pt x="14647" y="6288"/>
                      <a:pt x="14647" y="6288"/>
                    </a:cubicBezTo>
                    <a:lnTo>
                      <a:pt x="14483" y="6421"/>
                    </a:lnTo>
                    <a:lnTo>
                      <a:pt x="14275" y="5281"/>
                    </a:lnTo>
                    <a:lnTo>
                      <a:pt x="13522" y="5896"/>
                    </a:lnTo>
                    <a:cubicBezTo>
                      <a:pt x="13547" y="6037"/>
                      <a:pt x="13802" y="7448"/>
                      <a:pt x="13802" y="7448"/>
                    </a:cubicBezTo>
                    <a:lnTo>
                      <a:pt x="13638" y="7582"/>
                    </a:lnTo>
                    <a:lnTo>
                      <a:pt x="13358" y="6029"/>
                    </a:lnTo>
                    <a:lnTo>
                      <a:pt x="12603" y="6645"/>
                    </a:lnTo>
                    <a:cubicBezTo>
                      <a:pt x="12628" y="6781"/>
                      <a:pt x="12810" y="7785"/>
                      <a:pt x="12810" y="7785"/>
                    </a:cubicBezTo>
                    <a:lnTo>
                      <a:pt x="12646" y="7919"/>
                    </a:lnTo>
                    <a:lnTo>
                      <a:pt x="12439" y="6778"/>
                    </a:lnTo>
                    <a:lnTo>
                      <a:pt x="11685" y="7393"/>
                    </a:lnTo>
                    <a:cubicBezTo>
                      <a:pt x="11711" y="7534"/>
                      <a:pt x="11967" y="8944"/>
                      <a:pt x="11967" y="8944"/>
                    </a:cubicBezTo>
                    <a:lnTo>
                      <a:pt x="11803" y="9078"/>
                    </a:lnTo>
                    <a:lnTo>
                      <a:pt x="11521" y="7527"/>
                    </a:lnTo>
                    <a:lnTo>
                      <a:pt x="10768" y="8141"/>
                    </a:lnTo>
                    <a:cubicBezTo>
                      <a:pt x="10792" y="8277"/>
                      <a:pt x="10974" y="9282"/>
                      <a:pt x="10974" y="9282"/>
                    </a:cubicBezTo>
                    <a:lnTo>
                      <a:pt x="10811" y="9415"/>
                    </a:lnTo>
                    <a:lnTo>
                      <a:pt x="10604" y="8275"/>
                    </a:lnTo>
                    <a:lnTo>
                      <a:pt x="9849" y="8890"/>
                    </a:lnTo>
                    <a:cubicBezTo>
                      <a:pt x="9874" y="9031"/>
                      <a:pt x="10131" y="10441"/>
                      <a:pt x="10131" y="10441"/>
                    </a:cubicBezTo>
                    <a:lnTo>
                      <a:pt x="9967" y="10575"/>
                    </a:lnTo>
                    <a:lnTo>
                      <a:pt x="9686" y="9023"/>
                    </a:lnTo>
                    <a:lnTo>
                      <a:pt x="8931" y="9638"/>
                    </a:lnTo>
                    <a:cubicBezTo>
                      <a:pt x="8956" y="9774"/>
                      <a:pt x="9139" y="10778"/>
                      <a:pt x="9139" y="10778"/>
                    </a:cubicBezTo>
                    <a:lnTo>
                      <a:pt x="8975" y="10912"/>
                    </a:lnTo>
                    <a:lnTo>
                      <a:pt x="8767" y="9772"/>
                    </a:lnTo>
                    <a:lnTo>
                      <a:pt x="8014" y="10386"/>
                    </a:lnTo>
                    <a:cubicBezTo>
                      <a:pt x="8039" y="10527"/>
                      <a:pt x="8295" y="11937"/>
                      <a:pt x="8295" y="11937"/>
                    </a:cubicBezTo>
                    <a:lnTo>
                      <a:pt x="8131" y="12071"/>
                    </a:lnTo>
                    <a:lnTo>
                      <a:pt x="7850" y="10520"/>
                    </a:lnTo>
                    <a:lnTo>
                      <a:pt x="7095" y="11135"/>
                    </a:lnTo>
                    <a:cubicBezTo>
                      <a:pt x="7120" y="11271"/>
                      <a:pt x="7302" y="12275"/>
                      <a:pt x="7302" y="12275"/>
                    </a:cubicBezTo>
                    <a:lnTo>
                      <a:pt x="7138" y="12409"/>
                    </a:lnTo>
                    <a:lnTo>
                      <a:pt x="6932" y="11268"/>
                    </a:lnTo>
                    <a:lnTo>
                      <a:pt x="6177" y="11883"/>
                    </a:lnTo>
                    <a:cubicBezTo>
                      <a:pt x="6203" y="12024"/>
                      <a:pt x="6459" y="13435"/>
                      <a:pt x="6459" y="13435"/>
                    </a:cubicBezTo>
                    <a:lnTo>
                      <a:pt x="6295" y="13568"/>
                    </a:lnTo>
                    <a:lnTo>
                      <a:pt x="6013" y="12017"/>
                    </a:lnTo>
                    <a:lnTo>
                      <a:pt x="5260" y="12631"/>
                    </a:lnTo>
                    <a:cubicBezTo>
                      <a:pt x="5284" y="12768"/>
                      <a:pt x="5467" y="13771"/>
                      <a:pt x="5467" y="13771"/>
                    </a:cubicBezTo>
                    <a:lnTo>
                      <a:pt x="5303" y="13905"/>
                    </a:lnTo>
                    <a:lnTo>
                      <a:pt x="5096" y="12765"/>
                    </a:lnTo>
                    <a:lnTo>
                      <a:pt x="4342" y="13379"/>
                    </a:lnTo>
                    <a:cubicBezTo>
                      <a:pt x="4367" y="13521"/>
                      <a:pt x="4624" y="14931"/>
                      <a:pt x="4624" y="14931"/>
                    </a:cubicBezTo>
                    <a:lnTo>
                      <a:pt x="4460" y="15064"/>
                    </a:lnTo>
                    <a:lnTo>
                      <a:pt x="4178" y="13513"/>
                    </a:lnTo>
                    <a:lnTo>
                      <a:pt x="3423" y="14128"/>
                    </a:lnTo>
                    <a:cubicBezTo>
                      <a:pt x="3448" y="14265"/>
                      <a:pt x="3630" y="15269"/>
                      <a:pt x="3630" y="15269"/>
                    </a:cubicBezTo>
                    <a:lnTo>
                      <a:pt x="3467" y="15402"/>
                    </a:lnTo>
                    <a:lnTo>
                      <a:pt x="3260" y="14261"/>
                    </a:lnTo>
                    <a:lnTo>
                      <a:pt x="2505" y="14876"/>
                    </a:lnTo>
                    <a:cubicBezTo>
                      <a:pt x="2531" y="15018"/>
                      <a:pt x="2787" y="16428"/>
                      <a:pt x="2787" y="16428"/>
                    </a:cubicBezTo>
                    <a:lnTo>
                      <a:pt x="2623" y="16561"/>
                    </a:lnTo>
                    <a:lnTo>
                      <a:pt x="2342" y="15010"/>
                    </a:lnTo>
                    <a:lnTo>
                      <a:pt x="1588" y="15625"/>
                    </a:lnTo>
                    <a:cubicBezTo>
                      <a:pt x="1613" y="15761"/>
                      <a:pt x="1795" y="16765"/>
                      <a:pt x="1795" y="16765"/>
                    </a:cubicBezTo>
                    <a:lnTo>
                      <a:pt x="1631" y="16898"/>
                    </a:lnTo>
                    <a:lnTo>
                      <a:pt x="1424" y="15758"/>
                    </a:lnTo>
                    <a:lnTo>
                      <a:pt x="670" y="16373"/>
                    </a:lnTo>
                    <a:cubicBezTo>
                      <a:pt x="696" y="16514"/>
                      <a:pt x="951" y="17925"/>
                      <a:pt x="951" y="17925"/>
                    </a:cubicBezTo>
                    <a:lnTo>
                      <a:pt x="788" y="18057"/>
                    </a:lnTo>
                    <a:lnTo>
                      <a:pt x="506" y="16506"/>
                    </a:lnTo>
                    <a:lnTo>
                      <a:pt x="0" y="16919"/>
                    </a:lnTo>
                    <a:lnTo>
                      <a:pt x="846" y="21600"/>
                    </a:lnTo>
                    <a:lnTo>
                      <a:pt x="21600" y="4681"/>
                    </a:lnTo>
                    <a:lnTo>
                      <a:pt x="20754" y="0"/>
                    </a:lnTo>
                    <a:close/>
                    <a:moveTo>
                      <a:pt x="20622" y="2793"/>
                    </a:moveTo>
                    <a:cubicBezTo>
                      <a:pt x="20707" y="3260"/>
                      <a:pt x="20598" y="3784"/>
                      <a:pt x="20378" y="3963"/>
                    </a:cubicBezTo>
                    <a:cubicBezTo>
                      <a:pt x="20158" y="4143"/>
                      <a:pt x="19911" y="3909"/>
                      <a:pt x="19826" y="3442"/>
                    </a:cubicBezTo>
                    <a:cubicBezTo>
                      <a:pt x="19742" y="2974"/>
                      <a:pt x="19852" y="2449"/>
                      <a:pt x="20072" y="2270"/>
                    </a:cubicBezTo>
                    <a:cubicBezTo>
                      <a:pt x="20292" y="2091"/>
                      <a:pt x="20538" y="2325"/>
                      <a:pt x="20622" y="279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2" name="Shape 10392">
                <a:extLst>
                  <a:ext uri="{FF2B5EF4-FFF2-40B4-BE49-F238E27FC236}">
                    <a16:creationId xmlns:a16="http://schemas.microsoft.com/office/drawing/2014/main" xmlns="" id="{9235B596-2AE1-429D-9275-38D3AE3BAC70}"/>
                  </a:ext>
                </a:extLst>
              </p:cNvPr>
              <p:cNvSpPr/>
              <p:nvPr/>
            </p:nvSpPr>
            <p:spPr>
              <a:xfrm>
                <a:off x="19920636" y="5193321"/>
                <a:ext cx="339475" cy="405029"/>
              </a:xfrm>
              <a:custGeom>
                <a:avLst/>
                <a:gdLst/>
                <a:ahLst/>
                <a:cxnLst>
                  <a:cxn ang="0">
                    <a:pos x="wd2" y="hd2"/>
                  </a:cxn>
                  <a:cxn ang="5400000">
                    <a:pos x="wd2" y="hd2"/>
                  </a:cxn>
                  <a:cxn ang="10800000">
                    <a:pos x="wd2" y="hd2"/>
                  </a:cxn>
                  <a:cxn ang="16200000">
                    <a:pos x="wd2" y="hd2"/>
                  </a:cxn>
                </a:cxnLst>
                <a:rect l="0" t="0" r="r" b="b"/>
                <a:pathLst>
                  <a:path w="21600" h="21600" extrusionOk="0">
                    <a:moveTo>
                      <a:pt x="0" y="896"/>
                    </a:moveTo>
                    <a:lnTo>
                      <a:pt x="1727" y="21600"/>
                    </a:lnTo>
                    <a:lnTo>
                      <a:pt x="21600" y="20435"/>
                    </a:lnTo>
                    <a:lnTo>
                      <a:pt x="20172" y="3324"/>
                    </a:lnTo>
                    <a:lnTo>
                      <a:pt x="15291" y="0"/>
                    </a:lnTo>
                    <a:lnTo>
                      <a:pt x="0" y="896"/>
                    </a:lnTo>
                    <a:close/>
                    <a:moveTo>
                      <a:pt x="6715" y="5294"/>
                    </a:moveTo>
                    <a:lnTo>
                      <a:pt x="13953" y="4870"/>
                    </a:lnTo>
                    <a:lnTo>
                      <a:pt x="14001" y="5441"/>
                    </a:lnTo>
                    <a:lnTo>
                      <a:pt x="6763" y="5865"/>
                    </a:lnTo>
                    <a:lnTo>
                      <a:pt x="6715" y="5294"/>
                    </a:lnTo>
                    <a:close/>
                    <a:moveTo>
                      <a:pt x="3566" y="11139"/>
                    </a:moveTo>
                    <a:lnTo>
                      <a:pt x="18042" y="10291"/>
                    </a:lnTo>
                    <a:lnTo>
                      <a:pt x="18088" y="10846"/>
                    </a:lnTo>
                    <a:lnTo>
                      <a:pt x="3613" y="11694"/>
                    </a:lnTo>
                    <a:lnTo>
                      <a:pt x="3566" y="11139"/>
                    </a:lnTo>
                    <a:close/>
                    <a:moveTo>
                      <a:pt x="3801" y="13947"/>
                    </a:moveTo>
                    <a:lnTo>
                      <a:pt x="18276" y="13099"/>
                    </a:lnTo>
                    <a:lnTo>
                      <a:pt x="18324" y="13670"/>
                    </a:lnTo>
                    <a:lnTo>
                      <a:pt x="3848" y="14519"/>
                    </a:lnTo>
                    <a:lnTo>
                      <a:pt x="3801" y="13947"/>
                    </a:lnTo>
                    <a:close/>
                    <a:moveTo>
                      <a:pt x="4035" y="16756"/>
                    </a:moveTo>
                    <a:lnTo>
                      <a:pt x="11273" y="16332"/>
                    </a:lnTo>
                    <a:lnTo>
                      <a:pt x="11320" y="16903"/>
                    </a:lnTo>
                    <a:lnTo>
                      <a:pt x="4083" y="17327"/>
                    </a:lnTo>
                    <a:lnTo>
                      <a:pt x="4035" y="16756"/>
                    </a:ln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3" name="Shape 10393">
                <a:extLst>
                  <a:ext uri="{FF2B5EF4-FFF2-40B4-BE49-F238E27FC236}">
                    <a16:creationId xmlns:a16="http://schemas.microsoft.com/office/drawing/2014/main" xmlns="" id="{05E844E9-BCF2-44D8-B059-1CACD6CC50D1}"/>
                  </a:ext>
                </a:extLst>
              </p:cNvPr>
              <p:cNvSpPr/>
              <p:nvPr/>
            </p:nvSpPr>
            <p:spPr>
              <a:xfrm>
                <a:off x="18570310" y="9049783"/>
                <a:ext cx="924785" cy="885971"/>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4" name="Shape 10394">
                <a:extLst>
                  <a:ext uri="{FF2B5EF4-FFF2-40B4-BE49-F238E27FC236}">
                    <a16:creationId xmlns:a16="http://schemas.microsoft.com/office/drawing/2014/main" xmlns="" id="{86BC4C18-3838-47F4-A466-B534EC55DE56}"/>
                  </a:ext>
                </a:extLst>
              </p:cNvPr>
              <p:cNvSpPr/>
              <p:nvPr/>
            </p:nvSpPr>
            <p:spPr>
              <a:xfrm>
                <a:off x="15885971" y="8065597"/>
                <a:ext cx="555246" cy="544273"/>
              </a:xfrm>
              <a:custGeom>
                <a:avLst/>
                <a:gdLst/>
                <a:ahLst/>
                <a:cxnLst>
                  <a:cxn ang="0">
                    <a:pos x="wd2" y="hd2"/>
                  </a:cxn>
                  <a:cxn ang="5400000">
                    <a:pos x="wd2" y="hd2"/>
                  </a:cxn>
                  <a:cxn ang="10800000">
                    <a:pos x="wd2" y="hd2"/>
                  </a:cxn>
                  <a:cxn ang="16200000">
                    <a:pos x="wd2" y="hd2"/>
                  </a:cxn>
                </a:cxnLst>
                <a:rect l="0" t="0" r="r" b="b"/>
                <a:pathLst>
                  <a:path w="20991" h="21600" extrusionOk="0">
                    <a:moveTo>
                      <a:pt x="0" y="6005"/>
                    </a:moveTo>
                    <a:lnTo>
                      <a:pt x="2577" y="11807"/>
                    </a:lnTo>
                    <a:cubicBezTo>
                      <a:pt x="2577" y="11807"/>
                      <a:pt x="3706" y="12286"/>
                      <a:pt x="4255" y="11343"/>
                    </a:cubicBezTo>
                    <a:cubicBezTo>
                      <a:pt x="4860" y="10297"/>
                      <a:pt x="7052" y="9212"/>
                      <a:pt x="8001" y="11472"/>
                    </a:cubicBezTo>
                    <a:cubicBezTo>
                      <a:pt x="8949" y="13731"/>
                      <a:pt x="7204" y="14700"/>
                      <a:pt x="5987" y="14655"/>
                    </a:cubicBezTo>
                    <a:cubicBezTo>
                      <a:pt x="4886" y="14615"/>
                      <a:pt x="4270" y="15618"/>
                      <a:pt x="4270" y="15618"/>
                    </a:cubicBezTo>
                    <a:lnTo>
                      <a:pt x="6927" y="21600"/>
                    </a:lnTo>
                    <a:lnTo>
                      <a:pt x="11852" y="19189"/>
                    </a:lnTo>
                    <a:cubicBezTo>
                      <a:pt x="11852" y="19189"/>
                      <a:pt x="11984" y="18276"/>
                      <a:pt x="11207" y="17738"/>
                    </a:cubicBezTo>
                    <a:cubicBezTo>
                      <a:pt x="10263" y="17087"/>
                      <a:pt x="9280" y="15038"/>
                      <a:pt x="11605" y="13899"/>
                    </a:cubicBezTo>
                    <a:cubicBezTo>
                      <a:pt x="13931" y="12761"/>
                      <a:pt x="14808" y="14792"/>
                      <a:pt x="14617" y="16180"/>
                    </a:cubicBezTo>
                    <a:cubicBezTo>
                      <a:pt x="14474" y="17220"/>
                      <a:pt x="15221" y="17540"/>
                      <a:pt x="15221" y="17540"/>
                    </a:cubicBezTo>
                    <a:lnTo>
                      <a:pt x="19368" y="15510"/>
                    </a:lnTo>
                    <a:cubicBezTo>
                      <a:pt x="19368" y="15510"/>
                      <a:pt x="17338" y="11290"/>
                      <a:pt x="17019" y="10076"/>
                    </a:cubicBezTo>
                    <a:cubicBezTo>
                      <a:pt x="16676" y="8775"/>
                      <a:pt x="18369" y="8955"/>
                      <a:pt x="18673" y="8964"/>
                    </a:cubicBezTo>
                    <a:cubicBezTo>
                      <a:pt x="20424" y="9020"/>
                      <a:pt x="21600" y="7510"/>
                      <a:pt x="20656" y="5385"/>
                    </a:cubicBezTo>
                    <a:cubicBezTo>
                      <a:pt x="19712" y="3260"/>
                      <a:pt x="17321" y="3778"/>
                      <a:pt x="16643" y="5120"/>
                    </a:cubicBezTo>
                    <a:cubicBezTo>
                      <a:pt x="16139" y="6117"/>
                      <a:pt x="15546" y="6529"/>
                      <a:pt x="15164" y="5995"/>
                    </a:cubicBezTo>
                    <a:cubicBezTo>
                      <a:pt x="14272" y="4748"/>
                      <a:pt x="12268" y="0"/>
                      <a:pt x="12268" y="0"/>
                    </a:cubicBezTo>
                    <a:lnTo>
                      <a:pt x="8380" y="1903"/>
                    </a:lnTo>
                    <a:cubicBezTo>
                      <a:pt x="8380" y="1903"/>
                      <a:pt x="8041" y="3203"/>
                      <a:pt x="8973" y="3711"/>
                    </a:cubicBezTo>
                    <a:cubicBezTo>
                      <a:pt x="10375" y="4474"/>
                      <a:pt x="10679" y="6519"/>
                      <a:pt x="8834" y="7423"/>
                    </a:cubicBezTo>
                    <a:cubicBezTo>
                      <a:pt x="6988" y="8326"/>
                      <a:pt x="5715" y="6969"/>
                      <a:pt x="5997" y="5295"/>
                    </a:cubicBezTo>
                    <a:cubicBezTo>
                      <a:pt x="6154" y="4357"/>
                      <a:pt x="5083" y="3527"/>
                      <a:pt x="5083" y="3527"/>
                    </a:cubicBezTo>
                    <a:cubicBezTo>
                      <a:pt x="5083" y="3527"/>
                      <a:pt x="0" y="6005"/>
                      <a:pt x="0" y="600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5" name="Shape 10395">
                <a:extLst>
                  <a:ext uri="{FF2B5EF4-FFF2-40B4-BE49-F238E27FC236}">
                    <a16:creationId xmlns:a16="http://schemas.microsoft.com/office/drawing/2014/main" xmlns="" id="{CAA51D4E-116E-4DC9-AD2F-BE8F8C9C965E}"/>
                  </a:ext>
                </a:extLst>
              </p:cNvPr>
              <p:cNvSpPr/>
              <p:nvPr/>
            </p:nvSpPr>
            <p:spPr>
              <a:xfrm>
                <a:off x="19111157" y="4676603"/>
                <a:ext cx="447511" cy="478914"/>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6" name="Shape 10396">
                <a:extLst>
                  <a:ext uri="{FF2B5EF4-FFF2-40B4-BE49-F238E27FC236}">
                    <a16:creationId xmlns:a16="http://schemas.microsoft.com/office/drawing/2014/main" xmlns="" id="{D9E1F859-73B6-4EA9-9174-14D14E0C29B8}"/>
                  </a:ext>
                </a:extLst>
              </p:cNvPr>
              <p:cNvSpPr/>
              <p:nvPr/>
            </p:nvSpPr>
            <p:spPr>
              <a:xfrm>
                <a:off x="17914980" y="5805200"/>
                <a:ext cx="454601" cy="423168"/>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7" name="Shape 10397">
                <a:extLst>
                  <a:ext uri="{FF2B5EF4-FFF2-40B4-BE49-F238E27FC236}">
                    <a16:creationId xmlns:a16="http://schemas.microsoft.com/office/drawing/2014/main" xmlns="" id="{5DC91A4A-8CB1-4845-9061-8190FF9B655D}"/>
                  </a:ext>
                </a:extLst>
              </p:cNvPr>
              <p:cNvSpPr/>
              <p:nvPr/>
            </p:nvSpPr>
            <p:spPr>
              <a:xfrm>
                <a:off x="21365329" y="6512100"/>
                <a:ext cx="416894" cy="446146"/>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8" name="Shape 10398">
                <a:extLst>
                  <a:ext uri="{FF2B5EF4-FFF2-40B4-BE49-F238E27FC236}">
                    <a16:creationId xmlns:a16="http://schemas.microsoft.com/office/drawing/2014/main" xmlns="" id="{C7C9862C-5A09-4895-90C1-BFAC9D570A51}"/>
                  </a:ext>
                </a:extLst>
              </p:cNvPr>
              <p:cNvSpPr/>
              <p:nvPr/>
            </p:nvSpPr>
            <p:spPr>
              <a:xfrm>
                <a:off x="18043556" y="10579615"/>
                <a:ext cx="978355" cy="64004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9" name="Shape 10399">
                <a:extLst>
                  <a:ext uri="{FF2B5EF4-FFF2-40B4-BE49-F238E27FC236}">
                    <a16:creationId xmlns:a16="http://schemas.microsoft.com/office/drawing/2014/main" xmlns="" id="{C4722E1F-FF18-46B5-8972-A16FACA2E262}"/>
                  </a:ext>
                </a:extLst>
              </p:cNvPr>
              <p:cNvSpPr/>
              <p:nvPr/>
            </p:nvSpPr>
            <p:spPr>
              <a:xfrm>
                <a:off x="15648477" y="6834651"/>
                <a:ext cx="742676" cy="776271"/>
              </a:xfrm>
              <a:custGeom>
                <a:avLst/>
                <a:gdLst/>
                <a:ahLst/>
                <a:cxnLst>
                  <a:cxn ang="0">
                    <a:pos x="wd2" y="hd2"/>
                  </a:cxn>
                  <a:cxn ang="5400000">
                    <a:pos x="wd2" y="hd2"/>
                  </a:cxn>
                  <a:cxn ang="10800000">
                    <a:pos x="wd2" y="hd2"/>
                  </a:cxn>
                  <a:cxn ang="16200000">
                    <a:pos x="wd2" y="hd2"/>
                  </a:cxn>
                </a:cxnLst>
                <a:rect l="0" t="0" r="r" b="b"/>
                <a:pathLst>
                  <a:path w="21600" h="21600" extrusionOk="0">
                    <a:moveTo>
                      <a:pt x="5147" y="16723"/>
                    </a:moveTo>
                    <a:lnTo>
                      <a:pt x="0" y="16809"/>
                    </a:lnTo>
                    <a:lnTo>
                      <a:pt x="2774" y="12622"/>
                    </a:lnTo>
                    <a:cubicBezTo>
                      <a:pt x="2774" y="12622"/>
                      <a:pt x="5147" y="16723"/>
                      <a:pt x="5147" y="16723"/>
                    </a:cubicBezTo>
                    <a:close/>
                    <a:moveTo>
                      <a:pt x="14076" y="11989"/>
                    </a:moveTo>
                    <a:cubicBezTo>
                      <a:pt x="14302" y="12788"/>
                      <a:pt x="14417" y="13471"/>
                      <a:pt x="14416" y="13825"/>
                    </a:cubicBezTo>
                    <a:cubicBezTo>
                      <a:pt x="15694" y="13667"/>
                      <a:pt x="17017" y="14276"/>
                      <a:pt x="17811" y="15648"/>
                    </a:cubicBezTo>
                    <a:cubicBezTo>
                      <a:pt x="18851" y="17445"/>
                      <a:pt x="17597" y="21598"/>
                      <a:pt x="17597" y="21598"/>
                    </a:cubicBezTo>
                    <a:cubicBezTo>
                      <a:pt x="17597" y="21598"/>
                      <a:pt x="17595" y="21596"/>
                      <a:pt x="17592" y="21593"/>
                    </a:cubicBezTo>
                    <a:cubicBezTo>
                      <a:pt x="17594" y="21598"/>
                      <a:pt x="17594" y="21600"/>
                      <a:pt x="17594" y="21600"/>
                    </a:cubicBezTo>
                    <a:cubicBezTo>
                      <a:pt x="17594" y="21600"/>
                      <a:pt x="13250" y="20419"/>
                      <a:pt x="12210" y="18622"/>
                    </a:cubicBezTo>
                    <a:cubicBezTo>
                      <a:pt x="11424" y="17264"/>
                      <a:pt x="11576" y="15881"/>
                      <a:pt x="12373" y="14927"/>
                    </a:cubicBezTo>
                    <a:cubicBezTo>
                      <a:pt x="12061" y="14746"/>
                      <a:pt x="11508" y="14286"/>
                      <a:pt x="10910" y="13667"/>
                    </a:cubicBezTo>
                    <a:lnTo>
                      <a:pt x="5848" y="16352"/>
                    </a:lnTo>
                    <a:lnTo>
                      <a:pt x="3475" y="12249"/>
                    </a:lnTo>
                    <a:lnTo>
                      <a:pt x="8299" y="9692"/>
                    </a:lnTo>
                    <a:cubicBezTo>
                      <a:pt x="7229" y="7299"/>
                      <a:pt x="5819" y="3586"/>
                      <a:pt x="5332" y="2032"/>
                    </a:cubicBezTo>
                    <a:cubicBezTo>
                      <a:pt x="4875" y="574"/>
                      <a:pt x="5000" y="148"/>
                      <a:pt x="5066" y="36"/>
                    </a:cubicBezTo>
                    <a:cubicBezTo>
                      <a:pt x="5058" y="23"/>
                      <a:pt x="5065" y="20"/>
                      <a:pt x="5078" y="19"/>
                    </a:cubicBezTo>
                    <a:cubicBezTo>
                      <a:pt x="5088" y="6"/>
                      <a:pt x="5095" y="0"/>
                      <a:pt x="5095" y="0"/>
                    </a:cubicBezTo>
                    <a:cubicBezTo>
                      <a:pt x="5240" y="24"/>
                      <a:pt x="5683" y="148"/>
                      <a:pt x="6732" y="1292"/>
                    </a:cubicBezTo>
                    <a:cubicBezTo>
                      <a:pt x="7850" y="2510"/>
                      <a:pt x="10390" y="5624"/>
                      <a:pt x="11941" y="7761"/>
                    </a:cubicBezTo>
                    <a:lnTo>
                      <a:pt x="15980" y="5619"/>
                    </a:lnTo>
                    <a:lnTo>
                      <a:pt x="18355" y="9720"/>
                    </a:lnTo>
                    <a:cubicBezTo>
                      <a:pt x="18355" y="9720"/>
                      <a:pt x="14076" y="11989"/>
                      <a:pt x="14076" y="11989"/>
                    </a:cubicBezTo>
                    <a:close/>
                    <a:moveTo>
                      <a:pt x="16695" y="5238"/>
                    </a:moveTo>
                    <a:lnTo>
                      <a:pt x="19224" y="3898"/>
                    </a:lnTo>
                    <a:lnTo>
                      <a:pt x="21600" y="7999"/>
                    </a:lnTo>
                    <a:lnTo>
                      <a:pt x="19071" y="9339"/>
                    </a:lnTo>
                    <a:cubicBezTo>
                      <a:pt x="19071" y="9339"/>
                      <a:pt x="16695" y="5238"/>
                      <a:pt x="16695" y="5238"/>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00" name="Shape 10400">
                <a:extLst>
                  <a:ext uri="{FF2B5EF4-FFF2-40B4-BE49-F238E27FC236}">
                    <a16:creationId xmlns:a16="http://schemas.microsoft.com/office/drawing/2014/main" xmlns="" id="{4D7756B6-1C9B-4679-94D1-E5387F34F473}"/>
                  </a:ext>
                </a:extLst>
              </p:cNvPr>
              <p:cNvSpPr/>
              <p:nvPr/>
            </p:nvSpPr>
            <p:spPr>
              <a:xfrm>
                <a:off x="19723614" y="10276672"/>
                <a:ext cx="536497" cy="851591"/>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01" name="Shape 10401">
                <a:extLst>
                  <a:ext uri="{FF2B5EF4-FFF2-40B4-BE49-F238E27FC236}">
                    <a16:creationId xmlns:a16="http://schemas.microsoft.com/office/drawing/2014/main" xmlns="" id="{A7A427A4-00EC-44E4-8539-64E37D3FFCC3}"/>
                  </a:ext>
                </a:extLst>
              </p:cNvPr>
              <p:cNvSpPr/>
              <p:nvPr/>
            </p:nvSpPr>
            <p:spPr>
              <a:xfrm>
                <a:off x="15572271" y="10142149"/>
                <a:ext cx="479514" cy="339891"/>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02" name="Shape 10402">
                <a:extLst>
                  <a:ext uri="{FF2B5EF4-FFF2-40B4-BE49-F238E27FC236}">
                    <a16:creationId xmlns:a16="http://schemas.microsoft.com/office/drawing/2014/main" xmlns="" id="{413659BF-1173-47DD-AAB0-99B9FC67C94B}"/>
                  </a:ext>
                </a:extLst>
              </p:cNvPr>
              <p:cNvSpPr/>
              <p:nvPr/>
            </p:nvSpPr>
            <p:spPr>
              <a:xfrm>
                <a:off x="17794274" y="9180928"/>
                <a:ext cx="602582" cy="644865"/>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03" name="Shape 10403">
                <a:extLst>
                  <a:ext uri="{FF2B5EF4-FFF2-40B4-BE49-F238E27FC236}">
                    <a16:creationId xmlns:a16="http://schemas.microsoft.com/office/drawing/2014/main" xmlns="" id="{79AF826E-F694-4337-B0B6-86E8F5852991}"/>
                  </a:ext>
                </a:extLst>
              </p:cNvPr>
              <p:cNvSpPr/>
              <p:nvPr/>
            </p:nvSpPr>
            <p:spPr>
              <a:xfrm>
                <a:off x="17048183" y="9717435"/>
                <a:ext cx="707906" cy="707908"/>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04" name="Shape 10404">
                <a:extLst>
                  <a:ext uri="{FF2B5EF4-FFF2-40B4-BE49-F238E27FC236}">
                    <a16:creationId xmlns:a16="http://schemas.microsoft.com/office/drawing/2014/main" xmlns="" id="{692E3E33-849C-4BAB-9729-E015F107587A}"/>
                  </a:ext>
                </a:extLst>
              </p:cNvPr>
              <p:cNvSpPr/>
              <p:nvPr/>
            </p:nvSpPr>
            <p:spPr>
              <a:xfrm>
                <a:off x="18977022" y="9915682"/>
                <a:ext cx="660489" cy="686412"/>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05" name="Shape 10405">
                <a:extLst>
                  <a:ext uri="{FF2B5EF4-FFF2-40B4-BE49-F238E27FC236}">
                    <a16:creationId xmlns:a16="http://schemas.microsoft.com/office/drawing/2014/main" xmlns="" id="{BFADD582-2910-4F76-868B-DD3FFDAE2114}"/>
                  </a:ext>
                </a:extLst>
              </p:cNvPr>
              <p:cNvSpPr/>
              <p:nvPr/>
            </p:nvSpPr>
            <p:spPr>
              <a:xfrm>
                <a:off x="17273289" y="10887461"/>
                <a:ext cx="673803" cy="406559"/>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06" name="Shape 10406">
                <a:extLst>
                  <a:ext uri="{FF2B5EF4-FFF2-40B4-BE49-F238E27FC236}">
                    <a16:creationId xmlns:a16="http://schemas.microsoft.com/office/drawing/2014/main" xmlns="" id="{5480B24F-F695-48DF-B7DC-D9FEDBA5FB50}"/>
                  </a:ext>
                </a:extLst>
              </p:cNvPr>
              <p:cNvSpPr/>
              <p:nvPr/>
            </p:nvSpPr>
            <p:spPr>
              <a:xfrm>
                <a:off x="19982182" y="9778750"/>
                <a:ext cx="656775" cy="603423"/>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07" name="Shape 10407">
                <a:extLst>
                  <a:ext uri="{FF2B5EF4-FFF2-40B4-BE49-F238E27FC236}">
                    <a16:creationId xmlns:a16="http://schemas.microsoft.com/office/drawing/2014/main" xmlns="" id="{C360DCE7-7797-4081-8A88-E7144A7322C1}"/>
                  </a:ext>
                </a:extLst>
              </p:cNvPr>
              <p:cNvSpPr/>
              <p:nvPr/>
            </p:nvSpPr>
            <p:spPr>
              <a:xfrm>
                <a:off x="18095563" y="9920142"/>
                <a:ext cx="474749" cy="52554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08" name="Shape 10408">
                <a:extLst>
                  <a:ext uri="{FF2B5EF4-FFF2-40B4-BE49-F238E27FC236}">
                    <a16:creationId xmlns:a16="http://schemas.microsoft.com/office/drawing/2014/main" xmlns="" id="{D4928CAF-C213-4F0F-BBB1-15D14EC5F50B}"/>
                  </a:ext>
                </a:extLst>
              </p:cNvPr>
              <p:cNvSpPr/>
              <p:nvPr/>
            </p:nvSpPr>
            <p:spPr>
              <a:xfrm>
                <a:off x="19553067" y="9077475"/>
                <a:ext cx="359033" cy="41485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09" name="Shape 10409">
                <a:extLst>
                  <a:ext uri="{FF2B5EF4-FFF2-40B4-BE49-F238E27FC236}">
                    <a16:creationId xmlns:a16="http://schemas.microsoft.com/office/drawing/2014/main" xmlns="" id="{78674EC2-AA69-4F40-A069-FC7B8719545E}"/>
                  </a:ext>
                </a:extLst>
              </p:cNvPr>
              <p:cNvSpPr/>
              <p:nvPr/>
            </p:nvSpPr>
            <p:spPr>
              <a:xfrm>
                <a:off x="19907356" y="4497815"/>
                <a:ext cx="422982" cy="474608"/>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10" name="Shape 10410">
                <a:extLst>
                  <a:ext uri="{FF2B5EF4-FFF2-40B4-BE49-F238E27FC236}">
                    <a16:creationId xmlns:a16="http://schemas.microsoft.com/office/drawing/2014/main" xmlns="" id="{DF609B09-40C4-4D7E-B541-A3710DB64A69}"/>
                  </a:ext>
                </a:extLst>
              </p:cNvPr>
              <p:cNvSpPr/>
              <p:nvPr/>
            </p:nvSpPr>
            <p:spPr>
              <a:xfrm>
                <a:off x="16605917" y="7050910"/>
                <a:ext cx="326231"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11" name="Shape 10411">
                <a:extLst>
                  <a:ext uri="{FF2B5EF4-FFF2-40B4-BE49-F238E27FC236}">
                    <a16:creationId xmlns:a16="http://schemas.microsoft.com/office/drawing/2014/main" xmlns="" id="{A256B78C-3407-4810-8328-1F2A32FCBA51}"/>
                  </a:ext>
                </a:extLst>
              </p:cNvPr>
              <p:cNvSpPr/>
              <p:nvPr/>
            </p:nvSpPr>
            <p:spPr>
              <a:xfrm>
                <a:off x="17109017" y="5013818"/>
                <a:ext cx="413678" cy="591503"/>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12" name="Shape 10412">
                <a:extLst>
                  <a:ext uri="{FF2B5EF4-FFF2-40B4-BE49-F238E27FC236}">
                    <a16:creationId xmlns:a16="http://schemas.microsoft.com/office/drawing/2014/main" xmlns="" id="{7BC65008-3653-4146-8C06-866466170CE0}"/>
                  </a:ext>
                </a:extLst>
              </p:cNvPr>
              <p:cNvSpPr/>
              <p:nvPr/>
            </p:nvSpPr>
            <p:spPr>
              <a:xfrm>
                <a:off x="16082438" y="4790089"/>
                <a:ext cx="583512" cy="4136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13" name="Shape 10413">
                <a:extLst>
                  <a:ext uri="{FF2B5EF4-FFF2-40B4-BE49-F238E27FC236}">
                    <a16:creationId xmlns:a16="http://schemas.microsoft.com/office/drawing/2014/main" xmlns="" id="{6745755E-8941-4EEE-BDF7-AE4BBF60665B}"/>
                  </a:ext>
                </a:extLst>
              </p:cNvPr>
              <p:cNvSpPr/>
              <p:nvPr/>
            </p:nvSpPr>
            <p:spPr>
              <a:xfrm>
                <a:off x="21000326" y="5616849"/>
                <a:ext cx="437119" cy="309840"/>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14" name="Shape 10414">
                <a:extLst>
                  <a:ext uri="{FF2B5EF4-FFF2-40B4-BE49-F238E27FC236}">
                    <a16:creationId xmlns:a16="http://schemas.microsoft.com/office/drawing/2014/main" xmlns="" id="{47908B61-9BCB-430D-8847-247640ABFC95}"/>
                  </a:ext>
                </a:extLst>
              </p:cNvPr>
              <p:cNvSpPr/>
              <p:nvPr/>
            </p:nvSpPr>
            <p:spPr>
              <a:xfrm>
                <a:off x="14548061" y="8927519"/>
                <a:ext cx="446854" cy="494667"/>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15" name="Shape 10415">
                <a:extLst>
                  <a:ext uri="{FF2B5EF4-FFF2-40B4-BE49-F238E27FC236}">
                    <a16:creationId xmlns:a16="http://schemas.microsoft.com/office/drawing/2014/main" xmlns="" id="{095224B8-BD68-4FDC-8968-F4DB6192C9E8}"/>
                  </a:ext>
                </a:extLst>
              </p:cNvPr>
              <p:cNvSpPr/>
              <p:nvPr/>
            </p:nvSpPr>
            <p:spPr>
              <a:xfrm>
                <a:off x="19258842" y="11958755"/>
                <a:ext cx="567698" cy="676948"/>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16" name="Shape 10416">
                <a:extLst>
                  <a:ext uri="{FF2B5EF4-FFF2-40B4-BE49-F238E27FC236}">
                    <a16:creationId xmlns:a16="http://schemas.microsoft.com/office/drawing/2014/main" xmlns="" id="{FE06478D-69B5-49A6-A422-43C8089205C4}"/>
                  </a:ext>
                </a:extLst>
              </p:cNvPr>
              <p:cNvSpPr/>
              <p:nvPr/>
            </p:nvSpPr>
            <p:spPr>
              <a:xfrm>
                <a:off x="20512936" y="11955430"/>
                <a:ext cx="678677" cy="598413"/>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17" name="Shape 10417">
                <a:extLst>
                  <a:ext uri="{FF2B5EF4-FFF2-40B4-BE49-F238E27FC236}">
                    <a16:creationId xmlns:a16="http://schemas.microsoft.com/office/drawing/2014/main" xmlns="" id="{DFDB1C41-16EA-48E0-89C9-0B7CA91B5252}"/>
                  </a:ext>
                </a:extLst>
              </p:cNvPr>
              <p:cNvSpPr/>
              <p:nvPr/>
            </p:nvSpPr>
            <p:spPr>
              <a:xfrm>
                <a:off x="19308426" y="13173084"/>
                <a:ext cx="779625" cy="510039"/>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18" name="Shape 10418">
                <a:extLst>
                  <a:ext uri="{FF2B5EF4-FFF2-40B4-BE49-F238E27FC236}">
                    <a16:creationId xmlns:a16="http://schemas.microsoft.com/office/drawing/2014/main" xmlns="" id="{5E29D775-623F-40D2-B911-47543E881DFB}"/>
                  </a:ext>
                </a:extLst>
              </p:cNvPr>
              <p:cNvSpPr/>
              <p:nvPr/>
            </p:nvSpPr>
            <p:spPr>
              <a:xfrm>
                <a:off x="19278050" y="12757751"/>
                <a:ext cx="364917" cy="364935"/>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19" name="Shape 10419">
                <a:extLst>
                  <a:ext uri="{FF2B5EF4-FFF2-40B4-BE49-F238E27FC236}">
                    <a16:creationId xmlns:a16="http://schemas.microsoft.com/office/drawing/2014/main" xmlns="" id="{42E05379-619A-4ACE-B712-DF7EFCDE034C}"/>
                  </a:ext>
                </a:extLst>
              </p:cNvPr>
              <p:cNvSpPr/>
              <p:nvPr/>
            </p:nvSpPr>
            <p:spPr>
              <a:xfrm>
                <a:off x="18249838" y="13272775"/>
                <a:ext cx="957660" cy="434144"/>
              </a:xfrm>
              <a:custGeom>
                <a:avLst/>
                <a:gdLst/>
                <a:ahLst/>
                <a:cxnLst>
                  <a:cxn ang="0">
                    <a:pos x="wd2" y="hd2"/>
                  </a:cxn>
                  <a:cxn ang="5400000">
                    <a:pos x="wd2" y="hd2"/>
                  </a:cxn>
                  <a:cxn ang="10800000">
                    <a:pos x="wd2" y="hd2"/>
                  </a:cxn>
                  <a:cxn ang="16200000">
                    <a:pos x="wd2" y="hd2"/>
                  </a:cxn>
                </a:cxnLst>
                <a:rect l="0" t="0" r="r" b="b"/>
                <a:pathLst>
                  <a:path w="21600" h="21600" extrusionOk="0">
                    <a:moveTo>
                      <a:pt x="0" y="20793"/>
                    </a:moveTo>
                    <a:cubicBezTo>
                      <a:pt x="2762" y="20896"/>
                      <a:pt x="4229" y="16959"/>
                      <a:pt x="5457" y="12973"/>
                    </a:cubicBezTo>
                    <a:cubicBezTo>
                      <a:pt x="6611" y="16963"/>
                      <a:pt x="8026" y="20867"/>
                      <a:pt x="10731" y="20967"/>
                    </a:cubicBezTo>
                    <a:cubicBezTo>
                      <a:pt x="13410" y="21066"/>
                      <a:pt x="14890" y="17337"/>
                      <a:pt x="16097" y="13477"/>
                    </a:cubicBezTo>
                    <a:cubicBezTo>
                      <a:pt x="17258" y="17515"/>
                      <a:pt x="18668" y="21499"/>
                      <a:pt x="21405" y="21600"/>
                    </a:cubicBezTo>
                    <a:lnTo>
                      <a:pt x="21434" y="18923"/>
                    </a:lnTo>
                    <a:cubicBezTo>
                      <a:pt x="19117" y="18837"/>
                      <a:pt x="18015" y="15307"/>
                      <a:pt x="16841" y="11103"/>
                    </a:cubicBezTo>
                    <a:cubicBezTo>
                      <a:pt x="18096" y="6922"/>
                      <a:pt x="19242" y="3387"/>
                      <a:pt x="21588" y="3475"/>
                    </a:cubicBezTo>
                    <a:lnTo>
                      <a:pt x="21600" y="798"/>
                    </a:lnTo>
                    <a:cubicBezTo>
                      <a:pt x="18838" y="695"/>
                      <a:pt x="17358" y="4641"/>
                      <a:pt x="16130" y="8627"/>
                    </a:cubicBezTo>
                    <a:cubicBezTo>
                      <a:pt x="14977" y="4640"/>
                      <a:pt x="13556" y="770"/>
                      <a:pt x="10852" y="669"/>
                    </a:cubicBezTo>
                    <a:cubicBezTo>
                      <a:pt x="8168" y="570"/>
                      <a:pt x="6711" y="4292"/>
                      <a:pt x="5503" y="8160"/>
                    </a:cubicBezTo>
                    <a:cubicBezTo>
                      <a:pt x="4341" y="4115"/>
                      <a:pt x="2924" y="102"/>
                      <a:pt x="183" y="0"/>
                    </a:cubicBezTo>
                    <a:cubicBezTo>
                      <a:pt x="183" y="0"/>
                      <a:pt x="166" y="2677"/>
                      <a:pt x="166" y="2677"/>
                    </a:cubicBezTo>
                    <a:cubicBezTo>
                      <a:pt x="2490" y="2763"/>
                      <a:pt x="3581" y="6313"/>
                      <a:pt x="4759" y="10534"/>
                    </a:cubicBezTo>
                    <a:cubicBezTo>
                      <a:pt x="3507" y="14705"/>
                      <a:pt x="2353" y="18212"/>
                      <a:pt x="12" y="18125"/>
                    </a:cubicBezTo>
                    <a:lnTo>
                      <a:pt x="0" y="20793"/>
                    </a:lnTo>
                    <a:close/>
                    <a:moveTo>
                      <a:pt x="241" y="16420"/>
                    </a:moveTo>
                    <a:cubicBezTo>
                      <a:pt x="649" y="16425"/>
                      <a:pt x="1008" y="16293"/>
                      <a:pt x="1338" y="16053"/>
                    </a:cubicBezTo>
                    <a:cubicBezTo>
                      <a:pt x="1338" y="16053"/>
                      <a:pt x="1438" y="4786"/>
                      <a:pt x="1438" y="4786"/>
                    </a:cubicBezTo>
                    <a:cubicBezTo>
                      <a:pt x="1113" y="4525"/>
                      <a:pt x="753" y="4374"/>
                      <a:pt x="345" y="4355"/>
                    </a:cubicBezTo>
                    <a:lnTo>
                      <a:pt x="241" y="16420"/>
                    </a:lnTo>
                    <a:close/>
                    <a:moveTo>
                      <a:pt x="2402" y="14724"/>
                    </a:moveTo>
                    <a:cubicBezTo>
                      <a:pt x="2787" y="14105"/>
                      <a:pt x="3126" y="13297"/>
                      <a:pt x="3454" y="12359"/>
                    </a:cubicBezTo>
                    <a:lnTo>
                      <a:pt x="3491" y="8563"/>
                    </a:lnTo>
                    <a:cubicBezTo>
                      <a:pt x="3181" y="7606"/>
                      <a:pt x="2858" y="6774"/>
                      <a:pt x="2485" y="6133"/>
                    </a:cubicBezTo>
                    <a:lnTo>
                      <a:pt x="2402" y="14724"/>
                    </a:lnTo>
                    <a:close/>
                    <a:moveTo>
                      <a:pt x="6201" y="10598"/>
                    </a:moveTo>
                    <a:cubicBezTo>
                      <a:pt x="7413" y="6583"/>
                      <a:pt x="8564" y="3262"/>
                      <a:pt x="10839" y="3346"/>
                    </a:cubicBezTo>
                    <a:cubicBezTo>
                      <a:pt x="13133" y="3431"/>
                      <a:pt x="14226" y="6882"/>
                      <a:pt x="15386" y="11029"/>
                    </a:cubicBezTo>
                    <a:cubicBezTo>
                      <a:pt x="14178" y="15032"/>
                      <a:pt x="13031" y="18375"/>
                      <a:pt x="10761" y="18290"/>
                    </a:cubicBezTo>
                    <a:cubicBezTo>
                      <a:pt x="8467" y="18206"/>
                      <a:pt x="7361" y="14745"/>
                      <a:pt x="6201" y="10598"/>
                    </a:cubicBezTo>
                    <a:close/>
                    <a:moveTo>
                      <a:pt x="7901" y="13065"/>
                    </a:moveTo>
                    <a:cubicBezTo>
                      <a:pt x="8268" y="14180"/>
                      <a:pt x="8656" y="15139"/>
                      <a:pt x="9098" y="15879"/>
                    </a:cubicBezTo>
                    <a:lnTo>
                      <a:pt x="9173" y="5547"/>
                    </a:lnTo>
                    <a:cubicBezTo>
                      <a:pt x="8720" y="6254"/>
                      <a:pt x="8323" y="7192"/>
                      <a:pt x="7938" y="8279"/>
                    </a:cubicBezTo>
                    <a:lnTo>
                      <a:pt x="7901" y="13065"/>
                    </a:lnTo>
                    <a:close/>
                    <a:moveTo>
                      <a:pt x="10199" y="16402"/>
                    </a:moveTo>
                    <a:cubicBezTo>
                      <a:pt x="10421" y="16504"/>
                      <a:pt x="10654" y="16562"/>
                      <a:pt x="10910" y="16567"/>
                    </a:cubicBezTo>
                    <a:cubicBezTo>
                      <a:pt x="11039" y="16569"/>
                      <a:pt x="11163" y="16554"/>
                      <a:pt x="11284" y="16530"/>
                    </a:cubicBezTo>
                    <a:lnTo>
                      <a:pt x="11421" y="4676"/>
                    </a:lnTo>
                    <a:cubicBezTo>
                      <a:pt x="11301" y="4648"/>
                      <a:pt x="11177" y="4632"/>
                      <a:pt x="11047" y="4630"/>
                    </a:cubicBezTo>
                    <a:cubicBezTo>
                      <a:pt x="10792" y="4625"/>
                      <a:pt x="10556" y="4674"/>
                      <a:pt x="10332" y="4767"/>
                    </a:cubicBezTo>
                    <a:lnTo>
                      <a:pt x="10199" y="16402"/>
                    </a:lnTo>
                    <a:close/>
                    <a:moveTo>
                      <a:pt x="12440" y="16292"/>
                    </a:moveTo>
                    <a:cubicBezTo>
                      <a:pt x="12866" y="15783"/>
                      <a:pt x="13237" y="15074"/>
                      <a:pt x="13587" y="14220"/>
                    </a:cubicBezTo>
                    <a:lnTo>
                      <a:pt x="13653" y="7866"/>
                    </a:lnTo>
                    <a:cubicBezTo>
                      <a:pt x="13321" y="6994"/>
                      <a:pt x="12964" y="6269"/>
                      <a:pt x="12548" y="5739"/>
                    </a:cubicBezTo>
                    <a:lnTo>
                      <a:pt x="12440" y="16292"/>
                    </a:lnTo>
                    <a:close/>
                    <a:moveTo>
                      <a:pt x="18109" y="13000"/>
                    </a:moveTo>
                    <a:cubicBezTo>
                      <a:pt x="18420" y="13890"/>
                      <a:pt x="18742" y="14650"/>
                      <a:pt x="19110" y="15228"/>
                    </a:cubicBezTo>
                    <a:lnTo>
                      <a:pt x="19115" y="6949"/>
                    </a:lnTo>
                    <a:cubicBezTo>
                      <a:pt x="18746" y="7587"/>
                      <a:pt x="18420" y="8402"/>
                      <a:pt x="18109" y="9342"/>
                    </a:cubicBezTo>
                    <a:lnTo>
                      <a:pt x="18109" y="13000"/>
                    </a:lnTo>
                    <a:close/>
                    <a:moveTo>
                      <a:pt x="20436" y="16503"/>
                    </a:moveTo>
                    <a:cubicBezTo>
                      <a:pt x="20751" y="16735"/>
                      <a:pt x="21099" y="16863"/>
                      <a:pt x="21492" y="16860"/>
                    </a:cubicBezTo>
                    <a:lnTo>
                      <a:pt x="21546" y="5272"/>
                    </a:lnTo>
                    <a:cubicBezTo>
                      <a:pt x="21153" y="5289"/>
                      <a:pt x="20803" y="5437"/>
                      <a:pt x="20486" y="5684"/>
                    </a:cubicBezTo>
                    <a:cubicBezTo>
                      <a:pt x="20486" y="5684"/>
                      <a:pt x="20436" y="16503"/>
                      <a:pt x="20436" y="1650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0" name="Shape 10420">
                <a:extLst>
                  <a:ext uri="{FF2B5EF4-FFF2-40B4-BE49-F238E27FC236}">
                    <a16:creationId xmlns:a16="http://schemas.microsoft.com/office/drawing/2014/main" xmlns="" id="{4F99C960-1388-40D4-BB73-AB3DED44889C}"/>
                  </a:ext>
                </a:extLst>
              </p:cNvPr>
              <p:cNvSpPr/>
              <p:nvPr/>
            </p:nvSpPr>
            <p:spPr>
              <a:xfrm>
                <a:off x="20962865" y="13425325"/>
                <a:ext cx="410125" cy="29070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1" name="Shape 10421">
                <a:extLst>
                  <a:ext uri="{FF2B5EF4-FFF2-40B4-BE49-F238E27FC236}">
                    <a16:creationId xmlns:a16="http://schemas.microsoft.com/office/drawing/2014/main" xmlns="" id="{D54AD302-B220-4A63-8629-A0BC9BABB184}"/>
                  </a:ext>
                </a:extLst>
              </p:cNvPr>
              <p:cNvSpPr/>
              <p:nvPr/>
            </p:nvSpPr>
            <p:spPr>
              <a:xfrm>
                <a:off x="17299515" y="11350051"/>
                <a:ext cx="844727" cy="1120380"/>
              </a:xfrm>
              <a:custGeom>
                <a:avLst/>
                <a:gdLst/>
                <a:ahLst/>
                <a:cxnLst>
                  <a:cxn ang="0">
                    <a:pos x="wd2" y="hd2"/>
                  </a:cxn>
                  <a:cxn ang="5400000">
                    <a:pos x="wd2" y="hd2"/>
                  </a:cxn>
                  <a:cxn ang="10800000">
                    <a:pos x="wd2" y="hd2"/>
                  </a:cxn>
                  <a:cxn ang="16200000">
                    <a:pos x="wd2" y="hd2"/>
                  </a:cxn>
                </a:cxnLst>
                <a:rect l="0" t="0" r="r" b="b"/>
                <a:pathLst>
                  <a:path w="20983" h="21600" extrusionOk="0">
                    <a:moveTo>
                      <a:pt x="4487" y="2661"/>
                    </a:moveTo>
                    <a:cubicBezTo>
                      <a:pt x="6041" y="1951"/>
                      <a:pt x="7888" y="1570"/>
                      <a:pt x="9828" y="1650"/>
                    </a:cubicBezTo>
                    <a:cubicBezTo>
                      <a:pt x="12550" y="1762"/>
                      <a:pt x="15032" y="2810"/>
                      <a:pt x="16637" y="4507"/>
                    </a:cubicBezTo>
                    <a:cubicBezTo>
                      <a:pt x="17954" y="5855"/>
                      <a:pt x="18616" y="7507"/>
                      <a:pt x="18498" y="9204"/>
                    </a:cubicBezTo>
                    <a:cubicBezTo>
                      <a:pt x="18319" y="11771"/>
                      <a:pt x="16441" y="14049"/>
                      <a:pt x="13531" y="15243"/>
                    </a:cubicBezTo>
                    <a:cubicBezTo>
                      <a:pt x="7170" y="17652"/>
                      <a:pt x="-219" y="13941"/>
                      <a:pt x="5" y="8450"/>
                    </a:cubicBezTo>
                    <a:cubicBezTo>
                      <a:pt x="107" y="5959"/>
                      <a:pt x="1897" y="3846"/>
                      <a:pt x="4487" y="2661"/>
                    </a:cubicBezTo>
                    <a:close/>
                    <a:moveTo>
                      <a:pt x="11927" y="0"/>
                    </a:moveTo>
                    <a:cubicBezTo>
                      <a:pt x="14972" y="550"/>
                      <a:pt x="17565" y="1989"/>
                      <a:pt x="19217" y="4049"/>
                    </a:cubicBezTo>
                    <a:cubicBezTo>
                      <a:pt x="20869" y="6108"/>
                      <a:pt x="21381" y="8545"/>
                      <a:pt x="20673" y="10908"/>
                    </a:cubicBezTo>
                    <a:cubicBezTo>
                      <a:pt x="19872" y="13581"/>
                      <a:pt x="17567" y="15755"/>
                      <a:pt x="14558" y="16945"/>
                    </a:cubicBezTo>
                    <a:cubicBezTo>
                      <a:pt x="13956" y="17183"/>
                      <a:pt x="13322" y="17384"/>
                      <a:pt x="12670" y="17539"/>
                    </a:cubicBezTo>
                    <a:lnTo>
                      <a:pt x="13689" y="19091"/>
                    </a:lnTo>
                    <a:lnTo>
                      <a:pt x="16552" y="17959"/>
                    </a:lnTo>
                    <a:lnTo>
                      <a:pt x="17260" y="19038"/>
                    </a:lnTo>
                    <a:lnTo>
                      <a:pt x="10780" y="21600"/>
                    </a:lnTo>
                    <a:lnTo>
                      <a:pt x="10072" y="20522"/>
                    </a:lnTo>
                    <a:lnTo>
                      <a:pt x="12300" y="19641"/>
                    </a:lnTo>
                    <a:lnTo>
                      <a:pt x="11104" y="17819"/>
                    </a:lnTo>
                    <a:cubicBezTo>
                      <a:pt x="10775" y="17860"/>
                      <a:pt x="10443" y="17889"/>
                      <a:pt x="10107" y="17909"/>
                    </a:cubicBezTo>
                    <a:cubicBezTo>
                      <a:pt x="9771" y="17928"/>
                      <a:pt x="9432" y="17928"/>
                      <a:pt x="9091" y="17924"/>
                    </a:cubicBezTo>
                    <a:lnTo>
                      <a:pt x="9115" y="16720"/>
                    </a:lnTo>
                    <a:cubicBezTo>
                      <a:pt x="13857" y="16783"/>
                      <a:pt x="18085" y="14219"/>
                      <a:pt x="19161" y="10628"/>
                    </a:cubicBezTo>
                    <a:cubicBezTo>
                      <a:pt x="19775" y="8580"/>
                      <a:pt x="19321" y="6477"/>
                      <a:pt x="17889" y="4691"/>
                    </a:cubicBezTo>
                    <a:cubicBezTo>
                      <a:pt x="16457" y="2906"/>
                      <a:pt x="14223" y="1654"/>
                      <a:pt x="11584" y="1178"/>
                    </a:cubicBezTo>
                    <a:lnTo>
                      <a:pt x="11927" y="0"/>
                    </a:lnTo>
                    <a:close/>
                    <a:moveTo>
                      <a:pt x="5394" y="3239"/>
                    </a:moveTo>
                    <a:cubicBezTo>
                      <a:pt x="4971" y="3418"/>
                      <a:pt x="4569" y="3631"/>
                      <a:pt x="4192" y="3867"/>
                    </a:cubicBezTo>
                    <a:cubicBezTo>
                      <a:pt x="4430" y="4003"/>
                      <a:pt x="4673" y="4128"/>
                      <a:pt x="4923" y="4245"/>
                    </a:cubicBezTo>
                    <a:cubicBezTo>
                      <a:pt x="5174" y="4362"/>
                      <a:pt x="5435" y="4472"/>
                      <a:pt x="5696" y="4572"/>
                    </a:cubicBezTo>
                    <a:cubicBezTo>
                      <a:pt x="5840" y="4267"/>
                      <a:pt x="6003" y="3965"/>
                      <a:pt x="6174" y="3669"/>
                    </a:cubicBezTo>
                    <a:cubicBezTo>
                      <a:pt x="6345" y="3372"/>
                      <a:pt x="6521" y="3084"/>
                      <a:pt x="6719" y="2797"/>
                    </a:cubicBezTo>
                    <a:cubicBezTo>
                      <a:pt x="6262" y="2917"/>
                      <a:pt x="5818" y="3060"/>
                      <a:pt x="5394" y="3239"/>
                    </a:cubicBezTo>
                    <a:close/>
                    <a:moveTo>
                      <a:pt x="8111" y="2528"/>
                    </a:moveTo>
                    <a:cubicBezTo>
                      <a:pt x="7815" y="2902"/>
                      <a:pt x="7543" y="3287"/>
                      <a:pt x="7298" y="3681"/>
                    </a:cubicBezTo>
                    <a:cubicBezTo>
                      <a:pt x="7054" y="4074"/>
                      <a:pt x="6836" y="4477"/>
                      <a:pt x="6643" y="4888"/>
                    </a:cubicBezTo>
                    <a:cubicBezTo>
                      <a:pt x="7029" y="4999"/>
                      <a:pt x="7434" y="5094"/>
                      <a:pt x="7836" y="5166"/>
                    </a:cubicBezTo>
                    <a:cubicBezTo>
                      <a:pt x="8238" y="5238"/>
                      <a:pt x="8643" y="5293"/>
                      <a:pt x="9058" y="5327"/>
                    </a:cubicBezTo>
                    <a:lnTo>
                      <a:pt x="9258" y="2461"/>
                    </a:lnTo>
                    <a:cubicBezTo>
                      <a:pt x="9068" y="2462"/>
                      <a:pt x="8871" y="2466"/>
                      <a:pt x="8681" y="2478"/>
                    </a:cubicBezTo>
                    <a:cubicBezTo>
                      <a:pt x="8492" y="2490"/>
                      <a:pt x="8298" y="2506"/>
                      <a:pt x="8111" y="2528"/>
                    </a:cubicBezTo>
                    <a:close/>
                    <a:moveTo>
                      <a:pt x="3332" y="4418"/>
                    </a:moveTo>
                    <a:cubicBezTo>
                      <a:pt x="2706" y="4923"/>
                      <a:pt x="2197" y="5495"/>
                      <a:pt x="1822" y="6116"/>
                    </a:cubicBezTo>
                    <a:cubicBezTo>
                      <a:pt x="1446" y="6736"/>
                      <a:pt x="1199" y="7397"/>
                      <a:pt x="1096" y="8089"/>
                    </a:cubicBezTo>
                    <a:lnTo>
                      <a:pt x="4650" y="8241"/>
                    </a:lnTo>
                    <a:cubicBezTo>
                      <a:pt x="4701" y="7753"/>
                      <a:pt x="4783" y="7263"/>
                      <a:pt x="4900" y="6783"/>
                    </a:cubicBezTo>
                    <a:cubicBezTo>
                      <a:pt x="5017" y="6305"/>
                      <a:pt x="5162" y="5834"/>
                      <a:pt x="5343" y="5367"/>
                    </a:cubicBezTo>
                    <a:cubicBezTo>
                      <a:pt x="4988" y="5238"/>
                      <a:pt x="4643" y="5093"/>
                      <a:pt x="4305" y="4935"/>
                    </a:cubicBezTo>
                    <a:cubicBezTo>
                      <a:pt x="3967" y="4776"/>
                      <a:pt x="3650" y="4606"/>
                      <a:pt x="3332" y="4418"/>
                    </a:cubicBezTo>
                    <a:close/>
                    <a:moveTo>
                      <a:pt x="10293" y="2496"/>
                    </a:moveTo>
                    <a:lnTo>
                      <a:pt x="10092" y="5362"/>
                    </a:lnTo>
                    <a:cubicBezTo>
                      <a:pt x="10477" y="5359"/>
                      <a:pt x="10864" y="5342"/>
                      <a:pt x="11246" y="5304"/>
                    </a:cubicBezTo>
                    <a:cubicBezTo>
                      <a:pt x="11627" y="5267"/>
                      <a:pt x="12001" y="5211"/>
                      <a:pt x="12374" y="5139"/>
                    </a:cubicBezTo>
                    <a:cubicBezTo>
                      <a:pt x="12236" y="4706"/>
                      <a:pt x="12076" y="4278"/>
                      <a:pt x="11881" y="3859"/>
                    </a:cubicBezTo>
                    <a:cubicBezTo>
                      <a:pt x="11686" y="3439"/>
                      <a:pt x="11470" y="3025"/>
                      <a:pt x="11220" y="2622"/>
                    </a:cubicBezTo>
                    <a:cubicBezTo>
                      <a:pt x="11069" y="2594"/>
                      <a:pt x="10904" y="2570"/>
                      <a:pt x="10750" y="2550"/>
                    </a:cubicBezTo>
                    <a:cubicBezTo>
                      <a:pt x="10596" y="2530"/>
                      <a:pt x="10449" y="2511"/>
                      <a:pt x="10293" y="2496"/>
                    </a:cubicBezTo>
                    <a:close/>
                    <a:moveTo>
                      <a:pt x="12546" y="2964"/>
                    </a:moveTo>
                    <a:cubicBezTo>
                      <a:pt x="12714" y="3280"/>
                      <a:pt x="12868" y="3593"/>
                      <a:pt x="13006" y="3918"/>
                    </a:cubicBezTo>
                    <a:cubicBezTo>
                      <a:pt x="13143" y="4242"/>
                      <a:pt x="13264" y="4578"/>
                      <a:pt x="13370" y="4909"/>
                    </a:cubicBezTo>
                    <a:cubicBezTo>
                      <a:pt x="13667" y="4827"/>
                      <a:pt x="13966" y="4724"/>
                      <a:pt x="14251" y="4619"/>
                    </a:cubicBezTo>
                    <a:cubicBezTo>
                      <a:pt x="14537" y="4515"/>
                      <a:pt x="14810" y="4404"/>
                      <a:pt x="15083" y="4279"/>
                    </a:cubicBezTo>
                    <a:cubicBezTo>
                      <a:pt x="14713" y="3995"/>
                      <a:pt x="14316" y="3740"/>
                      <a:pt x="13892" y="3520"/>
                    </a:cubicBezTo>
                    <a:cubicBezTo>
                      <a:pt x="13467" y="3300"/>
                      <a:pt x="13014" y="3118"/>
                      <a:pt x="12546" y="2964"/>
                    </a:cubicBezTo>
                    <a:close/>
                    <a:moveTo>
                      <a:pt x="6314" y="5674"/>
                    </a:moveTo>
                    <a:cubicBezTo>
                      <a:pt x="6153" y="6098"/>
                      <a:pt x="6029" y="6530"/>
                      <a:pt x="5924" y="6964"/>
                    </a:cubicBezTo>
                    <a:cubicBezTo>
                      <a:pt x="5819" y="7399"/>
                      <a:pt x="5732" y="7834"/>
                      <a:pt x="5684" y="8277"/>
                    </a:cubicBezTo>
                    <a:lnTo>
                      <a:pt x="8848" y="8407"/>
                    </a:lnTo>
                    <a:lnTo>
                      <a:pt x="9000" y="6134"/>
                    </a:lnTo>
                    <a:cubicBezTo>
                      <a:pt x="8537" y="6101"/>
                      <a:pt x="8088" y="6045"/>
                      <a:pt x="7639" y="5969"/>
                    </a:cubicBezTo>
                    <a:cubicBezTo>
                      <a:pt x="7191" y="5894"/>
                      <a:pt x="6744" y="5793"/>
                      <a:pt x="6314" y="5674"/>
                    </a:cubicBezTo>
                    <a:close/>
                    <a:moveTo>
                      <a:pt x="1037" y="8896"/>
                    </a:moveTo>
                    <a:cubicBezTo>
                      <a:pt x="1047" y="9594"/>
                      <a:pt x="1206" y="10280"/>
                      <a:pt x="1496" y="10928"/>
                    </a:cubicBezTo>
                    <a:cubicBezTo>
                      <a:pt x="1786" y="11576"/>
                      <a:pt x="2210" y="12192"/>
                      <a:pt x="2764" y="12745"/>
                    </a:cubicBezTo>
                    <a:cubicBezTo>
                      <a:pt x="3007" y="12630"/>
                      <a:pt x="3260" y="12514"/>
                      <a:pt x="3512" y="12414"/>
                    </a:cubicBezTo>
                    <a:cubicBezTo>
                      <a:pt x="3964" y="12235"/>
                      <a:pt x="4426" y="12086"/>
                      <a:pt x="4903" y="11958"/>
                    </a:cubicBezTo>
                    <a:cubicBezTo>
                      <a:pt x="4786" y="11479"/>
                      <a:pt x="4700" y="10999"/>
                      <a:pt x="4648" y="10513"/>
                    </a:cubicBezTo>
                    <a:cubicBezTo>
                      <a:pt x="4597" y="10027"/>
                      <a:pt x="4589" y="9533"/>
                      <a:pt x="4604" y="9043"/>
                    </a:cubicBezTo>
                    <a:lnTo>
                      <a:pt x="1037" y="8896"/>
                    </a:lnTo>
                    <a:close/>
                    <a:moveTo>
                      <a:pt x="10034" y="6170"/>
                    </a:moveTo>
                    <a:lnTo>
                      <a:pt x="9888" y="8452"/>
                    </a:lnTo>
                    <a:lnTo>
                      <a:pt x="12877" y="8570"/>
                    </a:lnTo>
                    <a:cubicBezTo>
                      <a:pt x="12889" y="8129"/>
                      <a:pt x="12873" y="7693"/>
                      <a:pt x="12828" y="7255"/>
                    </a:cubicBezTo>
                    <a:cubicBezTo>
                      <a:pt x="12783" y="6817"/>
                      <a:pt x="12706" y="6382"/>
                      <a:pt x="12605" y="5950"/>
                    </a:cubicBezTo>
                    <a:cubicBezTo>
                      <a:pt x="12185" y="6026"/>
                      <a:pt x="11754" y="6078"/>
                      <a:pt x="11326" y="6116"/>
                    </a:cubicBezTo>
                    <a:cubicBezTo>
                      <a:pt x="10897" y="6154"/>
                      <a:pt x="10465" y="6172"/>
                      <a:pt x="10034" y="6170"/>
                    </a:cubicBezTo>
                    <a:close/>
                    <a:moveTo>
                      <a:pt x="13607" y="5729"/>
                    </a:moveTo>
                    <a:cubicBezTo>
                      <a:pt x="13722" y="6204"/>
                      <a:pt x="13804" y="6683"/>
                      <a:pt x="13855" y="7165"/>
                    </a:cubicBezTo>
                    <a:cubicBezTo>
                      <a:pt x="13906" y="7647"/>
                      <a:pt x="13932" y="8129"/>
                      <a:pt x="13917" y="8615"/>
                    </a:cubicBezTo>
                    <a:lnTo>
                      <a:pt x="17466" y="8758"/>
                    </a:lnTo>
                    <a:cubicBezTo>
                      <a:pt x="17456" y="8067"/>
                      <a:pt x="17305" y="7387"/>
                      <a:pt x="17019" y="6745"/>
                    </a:cubicBezTo>
                    <a:cubicBezTo>
                      <a:pt x="16733" y="6102"/>
                      <a:pt x="16308" y="5496"/>
                      <a:pt x="15763" y="4946"/>
                    </a:cubicBezTo>
                    <a:cubicBezTo>
                      <a:pt x="15538" y="5052"/>
                      <a:pt x="15319" y="5157"/>
                      <a:pt x="15087" y="5249"/>
                    </a:cubicBezTo>
                    <a:cubicBezTo>
                      <a:pt x="14848" y="5343"/>
                      <a:pt x="14597" y="5425"/>
                      <a:pt x="14350" y="5505"/>
                    </a:cubicBezTo>
                    <a:cubicBezTo>
                      <a:pt x="14104" y="5585"/>
                      <a:pt x="13859" y="5663"/>
                      <a:pt x="13607" y="5729"/>
                    </a:cubicBezTo>
                    <a:close/>
                    <a:moveTo>
                      <a:pt x="5626" y="9084"/>
                    </a:moveTo>
                    <a:cubicBezTo>
                      <a:pt x="5614" y="9529"/>
                      <a:pt x="5641" y="9977"/>
                      <a:pt x="5687" y="10418"/>
                    </a:cubicBezTo>
                    <a:cubicBezTo>
                      <a:pt x="5733" y="10859"/>
                      <a:pt x="5801" y="11302"/>
                      <a:pt x="5904" y="11737"/>
                    </a:cubicBezTo>
                    <a:cubicBezTo>
                      <a:pt x="6351" y="11653"/>
                      <a:pt x="6799" y="11583"/>
                      <a:pt x="7255" y="11543"/>
                    </a:cubicBezTo>
                    <a:cubicBezTo>
                      <a:pt x="7711" y="11502"/>
                      <a:pt x="8176" y="11483"/>
                      <a:pt x="8637" y="11488"/>
                    </a:cubicBezTo>
                    <a:lnTo>
                      <a:pt x="8789" y="9215"/>
                    </a:lnTo>
                    <a:lnTo>
                      <a:pt x="5626" y="9084"/>
                    </a:lnTo>
                    <a:close/>
                    <a:moveTo>
                      <a:pt x="9830" y="9260"/>
                    </a:moveTo>
                    <a:lnTo>
                      <a:pt x="9678" y="11533"/>
                    </a:lnTo>
                    <a:cubicBezTo>
                      <a:pt x="10111" y="11566"/>
                      <a:pt x="10539" y="11622"/>
                      <a:pt x="10960" y="11693"/>
                    </a:cubicBezTo>
                    <a:cubicBezTo>
                      <a:pt x="11380" y="11765"/>
                      <a:pt x="11789" y="11857"/>
                      <a:pt x="12195" y="11966"/>
                    </a:cubicBezTo>
                    <a:cubicBezTo>
                      <a:pt x="12354" y="11544"/>
                      <a:pt x="12487" y="11117"/>
                      <a:pt x="12591" y="10685"/>
                    </a:cubicBezTo>
                    <a:cubicBezTo>
                      <a:pt x="12695" y="10253"/>
                      <a:pt x="12771" y="9818"/>
                      <a:pt x="12819" y="9378"/>
                    </a:cubicBezTo>
                    <a:lnTo>
                      <a:pt x="9830" y="9260"/>
                    </a:lnTo>
                    <a:close/>
                    <a:moveTo>
                      <a:pt x="4330" y="13039"/>
                    </a:moveTo>
                    <a:cubicBezTo>
                      <a:pt x="4065" y="13135"/>
                      <a:pt x="3812" y="13241"/>
                      <a:pt x="3558" y="13356"/>
                    </a:cubicBezTo>
                    <a:cubicBezTo>
                      <a:pt x="3906" y="13626"/>
                      <a:pt x="4274" y="13873"/>
                      <a:pt x="4671" y="14087"/>
                    </a:cubicBezTo>
                    <a:cubicBezTo>
                      <a:pt x="5068" y="14300"/>
                      <a:pt x="5484" y="14479"/>
                      <a:pt x="5921" y="14635"/>
                    </a:cubicBezTo>
                    <a:cubicBezTo>
                      <a:pt x="5762" y="14333"/>
                      <a:pt x="5616" y="14028"/>
                      <a:pt x="5485" y="13718"/>
                    </a:cubicBezTo>
                    <a:cubicBezTo>
                      <a:pt x="5354" y="13409"/>
                      <a:pt x="5242" y="13093"/>
                      <a:pt x="5139" y="12778"/>
                    </a:cubicBezTo>
                    <a:cubicBezTo>
                      <a:pt x="4865" y="12856"/>
                      <a:pt x="4595" y="12943"/>
                      <a:pt x="4330" y="13039"/>
                    </a:cubicBezTo>
                    <a:close/>
                    <a:moveTo>
                      <a:pt x="13859" y="9423"/>
                    </a:moveTo>
                    <a:cubicBezTo>
                      <a:pt x="13808" y="9907"/>
                      <a:pt x="13724" y="10381"/>
                      <a:pt x="13609" y="10857"/>
                    </a:cubicBezTo>
                    <a:cubicBezTo>
                      <a:pt x="13493" y="11332"/>
                      <a:pt x="13344" y="11810"/>
                      <a:pt x="13166" y="12273"/>
                    </a:cubicBezTo>
                    <a:cubicBezTo>
                      <a:pt x="13524" y="12401"/>
                      <a:pt x="13875" y="12542"/>
                      <a:pt x="14216" y="12701"/>
                    </a:cubicBezTo>
                    <a:cubicBezTo>
                      <a:pt x="14556" y="12859"/>
                      <a:pt x="14886" y="13034"/>
                      <a:pt x="15207" y="13222"/>
                    </a:cubicBezTo>
                    <a:cubicBezTo>
                      <a:pt x="15824" y="12719"/>
                      <a:pt x="16322" y="12150"/>
                      <a:pt x="16693" y="11534"/>
                    </a:cubicBezTo>
                    <a:cubicBezTo>
                      <a:pt x="17065" y="10917"/>
                      <a:pt x="17305" y="10252"/>
                      <a:pt x="17407" y="9565"/>
                    </a:cubicBezTo>
                    <a:lnTo>
                      <a:pt x="13859" y="9423"/>
                    </a:lnTo>
                    <a:close/>
                    <a:moveTo>
                      <a:pt x="6129" y="12538"/>
                    </a:moveTo>
                    <a:cubicBezTo>
                      <a:pt x="6265" y="12963"/>
                      <a:pt x="6431" y="13384"/>
                      <a:pt x="6622" y="13795"/>
                    </a:cubicBezTo>
                    <a:cubicBezTo>
                      <a:pt x="6812" y="14207"/>
                      <a:pt x="7039" y="14613"/>
                      <a:pt x="7283" y="15009"/>
                    </a:cubicBezTo>
                    <a:cubicBezTo>
                      <a:pt x="7466" y="15045"/>
                      <a:pt x="7639" y="15073"/>
                      <a:pt x="7825" y="15099"/>
                    </a:cubicBezTo>
                    <a:cubicBezTo>
                      <a:pt x="8012" y="15126"/>
                      <a:pt x="8207" y="15149"/>
                      <a:pt x="8397" y="15166"/>
                    </a:cubicBezTo>
                    <a:lnTo>
                      <a:pt x="8585" y="12305"/>
                    </a:lnTo>
                    <a:cubicBezTo>
                      <a:pt x="8171" y="12305"/>
                      <a:pt x="7764" y="12319"/>
                      <a:pt x="7353" y="12359"/>
                    </a:cubicBezTo>
                    <a:cubicBezTo>
                      <a:pt x="6944" y="12398"/>
                      <a:pt x="6529" y="12460"/>
                      <a:pt x="6129" y="12538"/>
                    </a:cubicBezTo>
                    <a:close/>
                    <a:moveTo>
                      <a:pt x="9626" y="12350"/>
                    </a:moveTo>
                    <a:lnTo>
                      <a:pt x="9425" y="15216"/>
                    </a:lnTo>
                    <a:cubicBezTo>
                      <a:pt x="9582" y="15214"/>
                      <a:pt x="9737" y="15203"/>
                      <a:pt x="9894" y="15194"/>
                    </a:cubicBezTo>
                    <a:cubicBezTo>
                      <a:pt x="10050" y="15186"/>
                      <a:pt x="10213" y="15175"/>
                      <a:pt x="10368" y="15159"/>
                    </a:cubicBezTo>
                    <a:cubicBezTo>
                      <a:pt x="10671" y="14778"/>
                      <a:pt x="10949" y="14389"/>
                      <a:pt x="11199" y="13988"/>
                    </a:cubicBezTo>
                    <a:cubicBezTo>
                      <a:pt x="11449" y="13586"/>
                      <a:pt x="11670" y="13171"/>
                      <a:pt x="11866" y="12752"/>
                    </a:cubicBezTo>
                    <a:cubicBezTo>
                      <a:pt x="11505" y="12651"/>
                      <a:pt x="11137" y="12565"/>
                      <a:pt x="10763" y="12497"/>
                    </a:cubicBezTo>
                    <a:cubicBezTo>
                      <a:pt x="10389" y="12429"/>
                      <a:pt x="10011" y="12384"/>
                      <a:pt x="9626" y="12350"/>
                    </a:cubicBezTo>
                    <a:close/>
                    <a:moveTo>
                      <a:pt x="12825" y="13064"/>
                    </a:moveTo>
                    <a:cubicBezTo>
                      <a:pt x="12674" y="13385"/>
                      <a:pt x="12510" y="13697"/>
                      <a:pt x="12329" y="14009"/>
                    </a:cubicBezTo>
                    <a:cubicBezTo>
                      <a:pt x="12148" y="14321"/>
                      <a:pt x="11954" y="14631"/>
                      <a:pt x="11743" y="14932"/>
                    </a:cubicBezTo>
                    <a:cubicBezTo>
                      <a:pt x="12192" y="14825"/>
                      <a:pt x="12634" y="14684"/>
                      <a:pt x="13055" y="14518"/>
                    </a:cubicBezTo>
                    <a:cubicBezTo>
                      <a:pt x="13547" y="14324"/>
                      <a:pt x="14011" y="14095"/>
                      <a:pt x="14443" y="13829"/>
                    </a:cubicBezTo>
                    <a:cubicBezTo>
                      <a:pt x="14187" y="13681"/>
                      <a:pt x="13927" y="13541"/>
                      <a:pt x="13658" y="13413"/>
                    </a:cubicBezTo>
                    <a:cubicBezTo>
                      <a:pt x="13389" y="13285"/>
                      <a:pt x="13107" y="13170"/>
                      <a:pt x="12825" y="13064"/>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22" name="Shape 10422">
                <a:extLst>
                  <a:ext uri="{FF2B5EF4-FFF2-40B4-BE49-F238E27FC236}">
                    <a16:creationId xmlns:a16="http://schemas.microsoft.com/office/drawing/2014/main" xmlns="" id="{DAF767C4-DB33-4BAA-A51B-C465B3AEF4D8}"/>
                  </a:ext>
                </a:extLst>
              </p:cNvPr>
              <p:cNvSpPr/>
              <p:nvPr/>
            </p:nvSpPr>
            <p:spPr>
              <a:xfrm>
                <a:off x="20005517" y="11848690"/>
                <a:ext cx="466519" cy="5390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3" name="Shape 10423">
                <a:extLst>
                  <a:ext uri="{FF2B5EF4-FFF2-40B4-BE49-F238E27FC236}">
                    <a16:creationId xmlns:a16="http://schemas.microsoft.com/office/drawing/2014/main" xmlns="" id="{3D1E45A0-CE2C-4EE0-8E50-741FC4C5AF4A}"/>
                  </a:ext>
                </a:extLst>
              </p:cNvPr>
              <p:cNvSpPr/>
              <p:nvPr/>
            </p:nvSpPr>
            <p:spPr>
              <a:xfrm>
                <a:off x="20278369" y="10951900"/>
                <a:ext cx="600732" cy="838469"/>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4" name="Shape 10424">
                <a:extLst>
                  <a:ext uri="{FF2B5EF4-FFF2-40B4-BE49-F238E27FC236}">
                    <a16:creationId xmlns:a16="http://schemas.microsoft.com/office/drawing/2014/main" xmlns="" id="{D09BD1D6-E997-49D8-9B4D-C3B949482434}"/>
                  </a:ext>
                </a:extLst>
              </p:cNvPr>
              <p:cNvSpPr/>
              <p:nvPr/>
            </p:nvSpPr>
            <p:spPr>
              <a:xfrm>
                <a:off x="18922351" y="11328144"/>
                <a:ext cx="534330" cy="591503"/>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5" name="Shape 10425">
                <a:extLst>
                  <a:ext uri="{FF2B5EF4-FFF2-40B4-BE49-F238E27FC236}">
                    <a16:creationId xmlns:a16="http://schemas.microsoft.com/office/drawing/2014/main" xmlns="" id="{2D8F9993-9455-4C0A-8DB7-974287B414D9}"/>
                  </a:ext>
                </a:extLst>
              </p:cNvPr>
              <p:cNvSpPr/>
              <p:nvPr/>
            </p:nvSpPr>
            <p:spPr>
              <a:xfrm>
                <a:off x="18412454" y="12553844"/>
                <a:ext cx="745367" cy="625838"/>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6" name="Shape 10426">
                <a:extLst>
                  <a:ext uri="{FF2B5EF4-FFF2-40B4-BE49-F238E27FC236}">
                    <a16:creationId xmlns:a16="http://schemas.microsoft.com/office/drawing/2014/main" xmlns="" id="{1702EE25-B3F0-44CD-9558-1FF32CC88E95}"/>
                  </a:ext>
                </a:extLst>
              </p:cNvPr>
              <p:cNvSpPr/>
              <p:nvPr/>
            </p:nvSpPr>
            <p:spPr>
              <a:xfrm>
                <a:off x="17735949" y="12437879"/>
                <a:ext cx="513456" cy="632805"/>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7" name="Shape 10427">
                <a:extLst>
                  <a:ext uri="{FF2B5EF4-FFF2-40B4-BE49-F238E27FC236}">
                    <a16:creationId xmlns:a16="http://schemas.microsoft.com/office/drawing/2014/main" xmlns="" id="{91A376BF-029A-4DB2-8794-8D3960E500E8}"/>
                  </a:ext>
                </a:extLst>
              </p:cNvPr>
              <p:cNvSpPr/>
              <p:nvPr/>
            </p:nvSpPr>
            <p:spPr>
              <a:xfrm>
                <a:off x="18227292" y="11702064"/>
                <a:ext cx="536497" cy="851591"/>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8" name="Shape 10428">
                <a:extLst>
                  <a:ext uri="{FF2B5EF4-FFF2-40B4-BE49-F238E27FC236}">
                    <a16:creationId xmlns:a16="http://schemas.microsoft.com/office/drawing/2014/main" xmlns="" id="{683A341C-F216-4BED-B14F-0DCE25CB4A81}"/>
                  </a:ext>
                </a:extLst>
              </p:cNvPr>
              <p:cNvSpPr/>
              <p:nvPr/>
            </p:nvSpPr>
            <p:spPr>
              <a:xfrm>
                <a:off x="20222349" y="13054005"/>
                <a:ext cx="570428" cy="640048"/>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9" name="Shape 10429">
                <a:extLst>
                  <a:ext uri="{FF2B5EF4-FFF2-40B4-BE49-F238E27FC236}">
                    <a16:creationId xmlns:a16="http://schemas.microsoft.com/office/drawing/2014/main" xmlns="" id="{9D74C192-81B4-473E-8950-656D26247952}"/>
                  </a:ext>
                </a:extLst>
              </p:cNvPr>
              <p:cNvSpPr/>
              <p:nvPr/>
            </p:nvSpPr>
            <p:spPr>
              <a:xfrm>
                <a:off x="20917828" y="12545752"/>
                <a:ext cx="387029" cy="55339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30" name="Shape 10430">
                <a:extLst>
                  <a:ext uri="{FF2B5EF4-FFF2-40B4-BE49-F238E27FC236}">
                    <a16:creationId xmlns:a16="http://schemas.microsoft.com/office/drawing/2014/main" xmlns="" id="{42169CE2-149C-4D01-BA05-F9BBF24F58A9}"/>
                  </a:ext>
                </a:extLst>
              </p:cNvPr>
              <p:cNvSpPr/>
              <p:nvPr/>
            </p:nvSpPr>
            <p:spPr>
              <a:xfrm>
                <a:off x="15503347" y="5283855"/>
                <a:ext cx="387478" cy="449473"/>
              </a:xfrm>
              <a:custGeom>
                <a:avLst/>
                <a:gdLst/>
                <a:ahLst/>
                <a:cxnLst>
                  <a:cxn ang="0">
                    <a:pos x="wd2" y="hd2"/>
                  </a:cxn>
                  <a:cxn ang="5400000">
                    <a:pos x="wd2" y="hd2"/>
                  </a:cxn>
                  <a:cxn ang="10800000">
                    <a:pos x="wd2" y="hd2"/>
                  </a:cxn>
                  <a:cxn ang="16200000">
                    <a:pos x="wd2" y="hd2"/>
                  </a:cxn>
                </a:cxnLst>
                <a:rect l="0" t="0" r="r" b="b"/>
                <a:pathLst>
                  <a:path w="21600" h="21600" extrusionOk="0">
                    <a:moveTo>
                      <a:pt x="10664" y="0"/>
                    </a:moveTo>
                    <a:lnTo>
                      <a:pt x="0" y="14712"/>
                    </a:lnTo>
                    <a:lnTo>
                      <a:pt x="12786" y="21600"/>
                    </a:lnTo>
                    <a:lnTo>
                      <a:pt x="21600" y="9440"/>
                    </a:lnTo>
                    <a:lnTo>
                      <a:pt x="20503" y="5300"/>
                    </a:lnTo>
                    <a:lnTo>
                      <a:pt x="10664" y="0"/>
                    </a:lnTo>
                    <a:close/>
                    <a:moveTo>
                      <a:pt x="12273" y="5578"/>
                    </a:moveTo>
                    <a:lnTo>
                      <a:pt x="16930" y="8086"/>
                    </a:lnTo>
                    <a:lnTo>
                      <a:pt x="16635" y="8492"/>
                    </a:lnTo>
                    <a:lnTo>
                      <a:pt x="11979" y="5984"/>
                    </a:lnTo>
                    <a:lnTo>
                      <a:pt x="12273" y="5578"/>
                    </a:lnTo>
                    <a:close/>
                    <a:moveTo>
                      <a:pt x="7043" y="8326"/>
                    </a:moveTo>
                    <a:lnTo>
                      <a:pt x="16357" y="13343"/>
                    </a:lnTo>
                    <a:lnTo>
                      <a:pt x="16071" y="13738"/>
                    </a:lnTo>
                    <a:lnTo>
                      <a:pt x="6757" y="8721"/>
                    </a:lnTo>
                    <a:lnTo>
                      <a:pt x="7043" y="8326"/>
                    </a:lnTo>
                    <a:close/>
                    <a:moveTo>
                      <a:pt x="5596" y="10322"/>
                    </a:moveTo>
                    <a:lnTo>
                      <a:pt x="14910" y="15339"/>
                    </a:lnTo>
                    <a:lnTo>
                      <a:pt x="14616" y="15745"/>
                    </a:lnTo>
                    <a:lnTo>
                      <a:pt x="5302" y="10728"/>
                    </a:lnTo>
                    <a:lnTo>
                      <a:pt x="5596" y="10322"/>
                    </a:lnTo>
                    <a:close/>
                    <a:moveTo>
                      <a:pt x="4150" y="12318"/>
                    </a:moveTo>
                    <a:lnTo>
                      <a:pt x="8807" y="14826"/>
                    </a:lnTo>
                    <a:lnTo>
                      <a:pt x="8512" y="15232"/>
                    </a:lnTo>
                    <a:lnTo>
                      <a:pt x="3856" y="12724"/>
                    </a:lnTo>
                    <a:lnTo>
                      <a:pt x="4150" y="12318"/>
                    </a:ln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31" name="Shape 10431">
                <a:extLst>
                  <a:ext uri="{FF2B5EF4-FFF2-40B4-BE49-F238E27FC236}">
                    <a16:creationId xmlns:a16="http://schemas.microsoft.com/office/drawing/2014/main" xmlns="" id="{CED6993C-F35B-42FF-AB98-91586A8A41C5}"/>
                  </a:ext>
                </a:extLst>
              </p:cNvPr>
              <p:cNvSpPr/>
              <p:nvPr/>
            </p:nvSpPr>
            <p:spPr>
              <a:xfrm>
                <a:off x="15809856" y="8962294"/>
                <a:ext cx="461009" cy="979054"/>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32" name="Shape 10432">
                <a:extLst>
                  <a:ext uri="{FF2B5EF4-FFF2-40B4-BE49-F238E27FC236}">
                    <a16:creationId xmlns:a16="http://schemas.microsoft.com/office/drawing/2014/main" xmlns="" id="{40970629-AEF1-42AC-A61C-123CF513C95C}"/>
                  </a:ext>
                </a:extLst>
              </p:cNvPr>
              <p:cNvSpPr/>
              <p:nvPr/>
            </p:nvSpPr>
            <p:spPr>
              <a:xfrm>
                <a:off x="21191610" y="12910856"/>
                <a:ext cx="410125" cy="45400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33" name="Shape 10433">
                <a:extLst>
                  <a:ext uri="{FF2B5EF4-FFF2-40B4-BE49-F238E27FC236}">
                    <a16:creationId xmlns:a16="http://schemas.microsoft.com/office/drawing/2014/main" xmlns="" id="{4880B4D0-63DC-4D5D-B439-DB194DBC57ED}"/>
                  </a:ext>
                </a:extLst>
              </p:cNvPr>
              <p:cNvSpPr/>
              <p:nvPr/>
            </p:nvSpPr>
            <p:spPr>
              <a:xfrm>
                <a:off x="19604395" y="11273252"/>
                <a:ext cx="550221" cy="527130"/>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34" name="Shape 10434">
                <a:extLst>
                  <a:ext uri="{FF2B5EF4-FFF2-40B4-BE49-F238E27FC236}">
                    <a16:creationId xmlns:a16="http://schemas.microsoft.com/office/drawing/2014/main" xmlns="" id="{B8008B51-3C9A-49F8-AC63-41DBCA11FE16}"/>
                  </a:ext>
                </a:extLst>
              </p:cNvPr>
              <p:cNvSpPr/>
              <p:nvPr/>
            </p:nvSpPr>
            <p:spPr>
              <a:xfrm>
                <a:off x="17735949" y="13251101"/>
                <a:ext cx="392648" cy="420201"/>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35" name="Shape 10435">
                <a:extLst>
                  <a:ext uri="{FF2B5EF4-FFF2-40B4-BE49-F238E27FC236}">
                    <a16:creationId xmlns:a16="http://schemas.microsoft.com/office/drawing/2014/main" xmlns="" id="{66C8748C-CC33-4366-831D-08FCD7945999}"/>
                  </a:ext>
                </a:extLst>
              </p:cNvPr>
              <p:cNvSpPr/>
              <p:nvPr/>
            </p:nvSpPr>
            <p:spPr>
              <a:xfrm>
                <a:off x="17721877" y="12822449"/>
                <a:ext cx="359033" cy="4148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0293" y="15970"/>
                    </a:lnTo>
                    <a:lnTo>
                      <a:pt x="15488" y="19464"/>
                    </a:lnTo>
                    <a:cubicBezTo>
                      <a:pt x="15488" y="19464"/>
                      <a:pt x="21600" y="21600"/>
                      <a:pt x="21600" y="21600"/>
                    </a:cubicBezTo>
                    <a:close/>
                    <a:moveTo>
                      <a:pt x="14827" y="18782"/>
                    </a:moveTo>
                    <a:lnTo>
                      <a:pt x="19632" y="15288"/>
                    </a:lnTo>
                    <a:lnTo>
                      <a:pt x="7863" y="3150"/>
                    </a:lnTo>
                    <a:lnTo>
                      <a:pt x="3055" y="6642"/>
                    </a:lnTo>
                    <a:cubicBezTo>
                      <a:pt x="3055" y="6642"/>
                      <a:pt x="14827" y="18782"/>
                      <a:pt x="14827" y="18782"/>
                    </a:cubicBezTo>
                    <a:close/>
                    <a:moveTo>
                      <a:pt x="2382" y="5946"/>
                    </a:moveTo>
                    <a:lnTo>
                      <a:pt x="7189" y="2455"/>
                    </a:lnTo>
                    <a:lnTo>
                      <a:pt x="4808" y="0"/>
                    </a:lnTo>
                    <a:lnTo>
                      <a:pt x="0" y="3492"/>
                    </a:lnTo>
                    <a:cubicBezTo>
                      <a:pt x="0" y="3492"/>
                      <a:pt x="2382" y="5946"/>
                      <a:pt x="2382" y="59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36" name="Shape 10436">
                <a:extLst>
                  <a:ext uri="{FF2B5EF4-FFF2-40B4-BE49-F238E27FC236}">
                    <a16:creationId xmlns:a16="http://schemas.microsoft.com/office/drawing/2014/main" xmlns="" id="{00AFF37C-7FF6-4789-B6F2-9D18190F5859}"/>
                  </a:ext>
                </a:extLst>
              </p:cNvPr>
              <p:cNvSpPr/>
              <p:nvPr/>
            </p:nvSpPr>
            <p:spPr>
              <a:xfrm>
                <a:off x="18877040" y="12145395"/>
                <a:ext cx="326231"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37" name="Shape 10437">
                <a:extLst>
                  <a:ext uri="{FF2B5EF4-FFF2-40B4-BE49-F238E27FC236}">
                    <a16:creationId xmlns:a16="http://schemas.microsoft.com/office/drawing/2014/main" xmlns="" id="{DB147C83-C857-48AB-AB77-FD02B0223A5B}"/>
                  </a:ext>
                </a:extLst>
              </p:cNvPr>
              <p:cNvSpPr/>
              <p:nvPr/>
            </p:nvSpPr>
            <p:spPr>
              <a:xfrm>
                <a:off x="21489025" y="13379449"/>
                <a:ext cx="326231"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38" name="Shape 10438">
                <a:extLst>
                  <a:ext uri="{FF2B5EF4-FFF2-40B4-BE49-F238E27FC236}">
                    <a16:creationId xmlns:a16="http://schemas.microsoft.com/office/drawing/2014/main" xmlns="" id="{FE81FF99-B589-4743-BC9E-375FE1D2C44B}"/>
                  </a:ext>
                </a:extLst>
              </p:cNvPr>
              <p:cNvSpPr/>
              <p:nvPr/>
            </p:nvSpPr>
            <p:spPr>
              <a:xfrm>
                <a:off x="15223809" y="10656400"/>
                <a:ext cx="1231112" cy="1023301"/>
              </a:xfrm>
              <a:custGeom>
                <a:avLst/>
                <a:gdLst/>
                <a:ahLst/>
                <a:cxnLst>
                  <a:cxn ang="0">
                    <a:pos x="wd2" y="hd2"/>
                  </a:cxn>
                  <a:cxn ang="5400000">
                    <a:pos x="wd2" y="hd2"/>
                  </a:cxn>
                  <a:cxn ang="10800000">
                    <a:pos x="wd2" y="hd2"/>
                  </a:cxn>
                  <a:cxn ang="16200000">
                    <a:pos x="wd2" y="hd2"/>
                  </a:cxn>
                </a:cxnLst>
                <a:rect l="0" t="0" r="r" b="b"/>
                <a:pathLst>
                  <a:path w="21307" h="21059" extrusionOk="0">
                    <a:moveTo>
                      <a:pt x="5067" y="1749"/>
                    </a:moveTo>
                    <a:cubicBezTo>
                      <a:pt x="3889" y="2785"/>
                      <a:pt x="2937" y="4241"/>
                      <a:pt x="2399" y="6003"/>
                    </a:cubicBezTo>
                    <a:cubicBezTo>
                      <a:pt x="1643" y="8477"/>
                      <a:pt x="1865" y="11193"/>
                      <a:pt x="2990" y="13443"/>
                    </a:cubicBezTo>
                    <a:cubicBezTo>
                      <a:pt x="3870" y="15269"/>
                      <a:pt x="5250" y="16660"/>
                      <a:pt x="6922" y="17380"/>
                    </a:cubicBezTo>
                    <a:cubicBezTo>
                      <a:pt x="9451" y="18469"/>
                      <a:pt x="12240" y="17907"/>
                      <a:pt x="14313" y="15902"/>
                    </a:cubicBezTo>
                    <a:cubicBezTo>
                      <a:pt x="18651" y="11419"/>
                      <a:pt x="17421" y="3049"/>
                      <a:pt x="12063" y="579"/>
                    </a:cubicBezTo>
                    <a:cubicBezTo>
                      <a:pt x="9632" y="-541"/>
                      <a:pt x="7029" y="23"/>
                      <a:pt x="5067" y="1749"/>
                    </a:cubicBezTo>
                    <a:close/>
                    <a:moveTo>
                      <a:pt x="144" y="7068"/>
                    </a:moveTo>
                    <a:cubicBezTo>
                      <a:pt x="-293" y="10041"/>
                      <a:pt x="271" y="13044"/>
                      <a:pt x="1730" y="15514"/>
                    </a:cubicBezTo>
                    <a:cubicBezTo>
                      <a:pt x="3189" y="17983"/>
                      <a:pt x="5373" y="19622"/>
                      <a:pt x="7873" y="20141"/>
                    </a:cubicBezTo>
                    <a:cubicBezTo>
                      <a:pt x="10701" y="20728"/>
                      <a:pt x="13525" y="19736"/>
                      <a:pt x="15626" y="17641"/>
                    </a:cubicBezTo>
                    <a:cubicBezTo>
                      <a:pt x="16046" y="17222"/>
                      <a:pt x="16441" y="16756"/>
                      <a:pt x="16797" y="16252"/>
                    </a:cubicBezTo>
                    <a:lnTo>
                      <a:pt x="17968" y="17912"/>
                    </a:lnTo>
                    <a:lnTo>
                      <a:pt x="15970" y="19906"/>
                    </a:lnTo>
                    <a:lnTo>
                      <a:pt x="16784" y="21059"/>
                    </a:lnTo>
                    <a:lnTo>
                      <a:pt x="21307" y="16546"/>
                    </a:lnTo>
                    <a:lnTo>
                      <a:pt x="20493" y="15393"/>
                    </a:lnTo>
                    <a:lnTo>
                      <a:pt x="18938" y="16945"/>
                    </a:lnTo>
                    <a:lnTo>
                      <a:pt x="17563" y="14996"/>
                    </a:lnTo>
                    <a:cubicBezTo>
                      <a:pt x="17707" y="14724"/>
                      <a:pt x="17841" y="14443"/>
                      <a:pt x="17966" y="14154"/>
                    </a:cubicBezTo>
                    <a:cubicBezTo>
                      <a:pt x="18091" y="13865"/>
                      <a:pt x="18199" y="13564"/>
                      <a:pt x="18303" y="13258"/>
                    </a:cubicBezTo>
                    <a:lnTo>
                      <a:pt x="17136" y="12695"/>
                    </a:lnTo>
                    <a:cubicBezTo>
                      <a:pt x="15692" y="16940"/>
                      <a:pt x="11882" y="19451"/>
                      <a:pt x="8083" y="18662"/>
                    </a:cubicBezTo>
                    <a:cubicBezTo>
                      <a:pt x="5916" y="18212"/>
                      <a:pt x="4035" y="16786"/>
                      <a:pt x="2770" y="14645"/>
                    </a:cubicBezTo>
                    <a:cubicBezTo>
                      <a:pt x="1505" y="12505"/>
                      <a:pt x="1009" y="9912"/>
                      <a:pt x="1387" y="7335"/>
                    </a:cubicBezTo>
                    <a:lnTo>
                      <a:pt x="144" y="7068"/>
                    </a:lnTo>
                    <a:close/>
                    <a:moveTo>
                      <a:pt x="5335" y="2836"/>
                    </a:moveTo>
                    <a:cubicBezTo>
                      <a:pt x="5642" y="2547"/>
                      <a:pt x="5974" y="2293"/>
                      <a:pt x="6321" y="2073"/>
                    </a:cubicBezTo>
                    <a:cubicBezTo>
                      <a:pt x="6377" y="2351"/>
                      <a:pt x="6420" y="2627"/>
                      <a:pt x="6454" y="2907"/>
                    </a:cubicBezTo>
                    <a:cubicBezTo>
                      <a:pt x="6487" y="3186"/>
                      <a:pt x="6509" y="3472"/>
                      <a:pt x="6523" y="3752"/>
                    </a:cubicBezTo>
                    <a:cubicBezTo>
                      <a:pt x="6184" y="3732"/>
                      <a:pt x="5841" y="3730"/>
                      <a:pt x="5502" y="3738"/>
                    </a:cubicBezTo>
                    <a:cubicBezTo>
                      <a:pt x="5162" y="3746"/>
                      <a:pt x="4828" y="3762"/>
                      <a:pt x="4490" y="3798"/>
                    </a:cubicBezTo>
                    <a:cubicBezTo>
                      <a:pt x="4750" y="3451"/>
                      <a:pt x="5029" y="3125"/>
                      <a:pt x="5335" y="2836"/>
                    </a:cubicBezTo>
                    <a:close/>
                    <a:moveTo>
                      <a:pt x="3789" y="4905"/>
                    </a:moveTo>
                    <a:cubicBezTo>
                      <a:pt x="4243" y="4824"/>
                      <a:pt x="4700" y="4769"/>
                      <a:pt x="5156" y="4743"/>
                    </a:cubicBezTo>
                    <a:cubicBezTo>
                      <a:pt x="5613" y="4717"/>
                      <a:pt x="6071" y="4719"/>
                      <a:pt x="6527" y="4747"/>
                    </a:cubicBezTo>
                    <a:cubicBezTo>
                      <a:pt x="6511" y="5144"/>
                      <a:pt x="6474" y="5550"/>
                      <a:pt x="6416" y="5942"/>
                    </a:cubicBezTo>
                    <a:cubicBezTo>
                      <a:pt x="6358" y="6335"/>
                      <a:pt x="6283" y="6721"/>
                      <a:pt x="6183" y="7106"/>
                    </a:cubicBezTo>
                    <a:lnTo>
                      <a:pt x="3360" y="5892"/>
                    </a:lnTo>
                    <a:cubicBezTo>
                      <a:pt x="3422" y="5724"/>
                      <a:pt x="3488" y="5550"/>
                      <a:pt x="3560" y="5387"/>
                    </a:cubicBezTo>
                    <a:cubicBezTo>
                      <a:pt x="3631" y="5225"/>
                      <a:pt x="3708" y="5061"/>
                      <a:pt x="3789" y="4905"/>
                    </a:cubicBezTo>
                    <a:close/>
                    <a:moveTo>
                      <a:pt x="7125" y="1576"/>
                    </a:moveTo>
                    <a:cubicBezTo>
                      <a:pt x="7809" y="1266"/>
                      <a:pt x="8522" y="1092"/>
                      <a:pt x="9239" y="1059"/>
                    </a:cubicBezTo>
                    <a:cubicBezTo>
                      <a:pt x="9955" y="1027"/>
                      <a:pt x="10670" y="1128"/>
                      <a:pt x="11369" y="1373"/>
                    </a:cubicBezTo>
                    <a:lnTo>
                      <a:pt x="10388" y="4605"/>
                    </a:lnTo>
                    <a:cubicBezTo>
                      <a:pt x="9901" y="4414"/>
                      <a:pt x="9404" y="4249"/>
                      <a:pt x="8905" y="4120"/>
                    </a:cubicBezTo>
                    <a:cubicBezTo>
                      <a:pt x="8407" y="3990"/>
                      <a:pt x="7907" y="3891"/>
                      <a:pt x="7401" y="3825"/>
                    </a:cubicBezTo>
                    <a:cubicBezTo>
                      <a:pt x="7389" y="3447"/>
                      <a:pt x="7359" y="3069"/>
                      <a:pt x="7314" y="2692"/>
                    </a:cubicBezTo>
                    <a:cubicBezTo>
                      <a:pt x="7268" y="2315"/>
                      <a:pt x="7205" y="1950"/>
                      <a:pt x="7125" y="1576"/>
                    </a:cubicBezTo>
                    <a:close/>
                    <a:moveTo>
                      <a:pt x="3066" y="6828"/>
                    </a:moveTo>
                    <a:lnTo>
                      <a:pt x="5890" y="8043"/>
                    </a:lnTo>
                    <a:cubicBezTo>
                      <a:pt x="5764" y="8384"/>
                      <a:pt x="5625" y="8719"/>
                      <a:pt x="5468" y="9040"/>
                    </a:cubicBezTo>
                    <a:cubicBezTo>
                      <a:pt x="5310" y="9361"/>
                      <a:pt x="5138" y="9666"/>
                      <a:pt x="4951" y="9963"/>
                    </a:cubicBezTo>
                    <a:cubicBezTo>
                      <a:pt x="4578" y="9629"/>
                      <a:pt x="4217" y="9279"/>
                      <a:pt x="3874" y="8902"/>
                    </a:cubicBezTo>
                    <a:cubicBezTo>
                      <a:pt x="3532" y="8525"/>
                      <a:pt x="3202" y="8131"/>
                      <a:pt x="2893" y="7713"/>
                    </a:cubicBezTo>
                    <a:cubicBezTo>
                      <a:pt x="2915" y="7565"/>
                      <a:pt x="2943" y="7407"/>
                      <a:pt x="2973" y="7261"/>
                    </a:cubicBezTo>
                    <a:cubicBezTo>
                      <a:pt x="3002" y="7114"/>
                      <a:pt x="3030" y="6974"/>
                      <a:pt x="3066" y="6828"/>
                    </a:cubicBezTo>
                    <a:close/>
                    <a:moveTo>
                      <a:pt x="2802" y="9057"/>
                    </a:moveTo>
                    <a:cubicBezTo>
                      <a:pt x="3052" y="9361"/>
                      <a:pt x="3305" y="9650"/>
                      <a:pt x="3574" y="9930"/>
                    </a:cubicBezTo>
                    <a:cubicBezTo>
                      <a:pt x="3843" y="10210"/>
                      <a:pt x="4128" y="10480"/>
                      <a:pt x="4413" y="10736"/>
                    </a:cubicBezTo>
                    <a:cubicBezTo>
                      <a:pt x="4240" y="10959"/>
                      <a:pt x="4046" y="11175"/>
                      <a:pt x="3855" y="11378"/>
                    </a:cubicBezTo>
                    <a:cubicBezTo>
                      <a:pt x="3663" y="11581"/>
                      <a:pt x="3470" y="11770"/>
                      <a:pt x="3263" y="11952"/>
                    </a:cubicBezTo>
                    <a:cubicBezTo>
                      <a:pt x="3107" y="11485"/>
                      <a:pt x="2988" y="11008"/>
                      <a:pt x="2911" y="10524"/>
                    </a:cubicBezTo>
                    <a:cubicBezTo>
                      <a:pt x="2833" y="10040"/>
                      <a:pt x="2802" y="9549"/>
                      <a:pt x="2802" y="9057"/>
                    </a:cubicBezTo>
                    <a:close/>
                    <a:moveTo>
                      <a:pt x="7388" y="4837"/>
                    </a:moveTo>
                    <a:cubicBezTo>
                      <a:pt x="7847" y="4900"/>
                      <a:pt x="8303" y="4999"/>
                      <a:pt x="8754" y="5117"/>
                    </a:cubicBezTo>
                    <a:cubicBezTo>
                      <a:pt x="9206" y="5235"/>
                      <a:pt x="9653" y="5369"/>
                      <a:pt x="10094" y="5542"/>
                    </a:cubicBezTo>
                    <a:lnTo>
                      <a:pt x="9216" y="8417"/>
                    </a:lnTo>
                    <a:lnTo>
                      <a:pt x="6979" y="7447"/>
                    </a:lnTo>
                    <a:cubicBezTo>
                      <a:pt x="7094" y="7020"/>
                      <a:pt x="7183" y="6594"/>
                      <a:pt x="7252" y="6158"/>
                    </a:cubicBezTo>
                    <a:cubicBezTo>
                      <a:pt x="7322" y="5723"/>
                      <a:pt x="7367" y="5277"/>
                      <a:pt x="7388" y="4837"/>
                    </a:cubicBezTo>
                    <a:close/>
                    <a:moveTo>
                      <a:pt x="12165" y="1714"/>
                    </a:moveTo>
                    <a:cubicBezTo>
                      <a:pt x="12833" y="2061"/>
                      <a:pt x="13444" y="2536"/>
                      <a:pt x="13976" y="3109"/>
                    </a:cubicBezTo>
                    <a:cubicBezTo>
                      <a:pt x="14508" y="3681"/>
                      <a:pt x="14966" y="4358"/>
                      <a:pt x="15323" y="5119"/>
                    </a:cubicBezTo>
                    <a:cubicBezTo>
                      <a:pt x="15135" y="5279"/>
                      <a:pt x="14943" y="5447"/>
                      <a:pt x="14767" y="5623"/>
                    </a:cubicBezTo>
                    <a:cubicBezTo>
                      <a:pt x="14452" y="5937"/>
                      <a:pt x="14161" y="6275"/>
                      <a:pt x="13887" y="6637"/>
                    </a:cubicBezTo>
                    <a:cubicBezTo>
                      <a:pt x="13463" y="6300"/>
                      <a:pt x="13028" y="5990"/>
                      <a:pt x="12576" y="5708"/>
                    </a:cubicBezTo>
                    <a:cubicBezTo>
                      <a:pt x="12124" y="5426"/>
                      <a:pt x="11652" y="5180"/>
                      <a:pt x="11175" y="4955"/>
                    </a:cubicBezTo>
                    <a:lnTo>
                      <a:pt x="12165" y="1714"/>
                    </a:lnTo>
                    <a:close/>
                    <a:moveTo>
                      <a:pt x="6686" y="8384"/>
                    </a:moveTo>
                    <a:lnTo>
                      <a:pt x="8930" y="9363"/>
                    </a:lnTo>
                    <a:lnTo>
                      <a:pt x="8095" y="12077"/>
                    </a:lnTo>
                    <a:cubicBezTo>
                      <a:pt x="7666" y="11873"/>
                      <a:pt x="7252" y="11647"/>
                      <a:pt x="6844" y="11394"/>
                    </a:cubicBezTo>
                    <a:cubicBezTo>
                      <a:pt x="6436" y="11141"/>
                      <a:pt x="6042" y="10862"/>
                      <a:pt x="5658" y="10561"/>
                    </a:cubicBezTo>
                    <a:cubicBezTo>
                      <a:pt x="5865" y="10226"/>
                      <a:pt x="6051" y="9868"/>
                      <a:pt x="6224" y="9506"/>
                    </a:cubicBezTo>
                    <a:cubicBezTo>
                      <a:pt x="6396" y="9143"/>
                      <a:pt x="6550" y="8768"/>
                      <a:pt x="6686" y="8384"/>
                    </a:cubicBezTo>
                    <a:close/>
                    <a:moveTo>
                      <a:pt x="5128" y="11344"/>
                    </a:moveTo>
                    <a:cubicBezTo>
                      <a:pt x="5549" y="11678"/>
                      <a:pt x="5983" y="11984"/>
                      <a:pt x="6431" y="12263"/>
                    </a:cubicBezTo>
                    <a:cubicBezTo>
                      <a:pt x="6880" y="12542"/>
                      <a:pt x="7336" y="12800"/>
                      <a:pt x="7808" y="13023"/>
                    </a:cubicBezTo>
                    <a:lnTo>
                      <a:pt x="6820" y="16246"/>
                    </a:lnTo>
                    <a:cubicBezTo>
                      <a:pt x="6157" y="15901"/>
                      <a:pt x="5551" y="15437"/>
                      <a:pt x="5023" y="14871"/>
                    </a:cubicBezTo>
                    <a:cubicBezTo>
                      <a:pt x="4495" y="14304"/>
                      <a:pt x="4047" y="13632"/>
                      <a:pt x="3690" y="12880"/>
                    </a:cubicBezTo>
                    <a:cubicBezTo>
                      <a:pt x="3863" y="12732"/>
                      <a:pt x="4034" y="12588"/>
                      <a:pt x="4196" y="12426"/>
                    </a:cubicBezTo>
                    <a:cubicBezTo>
                      <a:pt x="4362" y="12260"/>
                      <a:pt x="4521" y="12077"/>
                      <a:pt x="4677" y="11896"/>
                    </a:cubicBezTo>
                    <a:cubicBezTo>
                      <a:pt x="4831" y="11716"/>
                      <a:pt x="4984" y="11536"/>
                      <a:pt x="5128" y="11344"/>
                    </a:cubicBezTo>
                    <a:close/>
                    <a:moveTo>
                      <a:pt x="10890" y="5883"/>
                    </a:moveTo>
                    <a:cubicBezTo>
                      <a:pt x="11322" y="6088"/>
                      <a:pt x="11745" y="6330"/>
                      <a:pt x="12155" y="6586"/>
                    </a:cubicBezTo>
                    <a:cubicBezTo>
                      <a:pt x="12566" y="6841"/>
                      <a:pt x="12970" y="7117"/>
                      <a:pt x="13357" y="7420"/>
                    </a:cubicBezTo>
                    <a:cubicBezTo>
                      <a:pt x="13134" y="7775"/>
                      <a:pt x="12924" y="8140"/>
                      <a:pt x="12741" y="8526"/>
                    </a:cubicBezTo>
                    <a:cubicBezTo>
                      <a:pt x="12557" y="8911"/>
                      <a:pt x="12392" y="9315"/>
                      <a:pt x="12250" y="9727"/>
                    </a:cubicBezTo>
                    <a:lnTo>
                      <a:pt x="10012" y="8758"/>
                    </a:lnTo>
                    <a:lnTo>
                      <a:pt x="10890" y="5883"/>
                    </a:lnTo>
                    <a:close/>
                    <a:moveTo>
                      <a:pt x="9726" y="9704"/>
                    </a:moveTo>
                    <a:lnTo>
                      <a:pt x="11963" y="10674"/>
                    </a:lnTo>
                    <a:cubicBezTo>
                      <a:pt x="11858" y="11075"/>
                      <a:pt x="11775" y="11483"/>
                      <a:pt x="11711" y="11891"/>
                    </a:cubicBezTo>
                    <a:cubicBezTo>
                      <a:pt x="11647" y="12299"/>
                      <a:pt x="11605" y="12707"/>
                      <a:pt x="11582" y="13121"/>
                    </a:cubicBezTo>
                    <a:cubicBezTo>
                      <a:pt x="11125" y="13057"/>
                      <a:pt x="10671" y="12969"/>
                      <a:pt x="10223" y="12851"/>
                    </a:cubicBezTo>
                    <a:cubicBezTo>
                      <a:pt x="9773" y="12733"/>
                      <a:pt x="9330" y="12589"/>
                      <a:pt x="8891" y="12417"/>
                    </a:cubicBezTo>
                    <a:lnTo>
                      <a:pt x="9726" y="9704"/>
                    </a:lnTo>
                    <a:close/>
                    <a:moveTo>
                      <a:pt x="15110" y="6653"/>
                    </a:moveTo>
                    <a:cubicBezTo>
                      <a:pt x="15286" y="6465"/>
                      <a:pt x="15468" y="6291"/>
                      <a:pt x="15660" y="6121"/>
                    </a:cubicBezTo>
                    <a:cubicBezTo>
                      <a:pt x="15809" y="6562"/>
                      <a:pt x="15931" y="7009"/>
                      <a:pt x="16010" y="7466"/>
                    </a:cubicBezTo>
                    <a:cubicBezTo>
                      <a:pt x="16090" y="7922"/>
                      <a:pt x="16131" y="8379"/>
                      <a:pt x="16141" y="8842"/>
                    </a:cubicBezTo>
                    <a:cubicBezTo>
                      <a:pt x="15901" y="8554"/>
                      <a:pt x="15654" y="8277"/>
                      <a:pt x="15397" y="8010"/>
                    </a:cubicBezTo>
                    <a:cubicBezTo>
                      <a:pt x="15141" y="7743"/>
                      <a:pt x="14873" y="7490"/>
                      <a:pt x="14601" y="7245"/>
                    </a:cubicBezTo>
                    <a:cubicBezTo>
                      <a:pt x="14764" y="7040"/>
                      <a:pt x="14933" y="6842"/>
                      <a:pt x="15110" y="6653"/>
                    </a:cubicBezTo>
                    <a:close/>
                    <a:moveTo>
                      <a:pt x="8605" y="13364"/>
                    </a:moveTo>
                    <a:cubicBezTo>
                      <a:pt x="9087" y="13554"/>
                      <a:pt x="9570" y="13710"/>
                      <a:pt x="10065" y="13838"/>
                    </a:cubicBezTo>
                    <a:cubicBezTo>
                      <a:pt x="10559" y="13967"/>
                      <a:pt x="11066" y="14066"/>
                      <a:pt x="11569" y="14133"/>
                    </a:cubicBezTo>
                    <a:cubicBezTo>
                      <a:pt x="11579" y="14514"/>
                      <a:pt x="11603" y="14895"/>
                      <a:pt x="11648" y="15274"/>
                    </a:cubicBezTo>
                    <a:cubicBezTo>
                      <a:pt x="11692" y="15654"/>
                      <a:pt x="11756" y="16032"/>
                      <a:pt x="11835" y="16408"/>
                    </a:cubicBezTo>
                    <a:cubicBezTo>
                      <a:pt x="11155" y="16713"/>
                      <a:pt x="10449" y="16878"/>
                      <a:pt x="9738" y="16909"/>
                    </a:cubicBezTo>
                    <a:cubicBezTo>
                      <a:pt x="9027" y="16939"/>
                      <a:pt x="8310" y="16829"/>
                      <a:pt x="7616" y="16587"/>
                    </a:cubicBezTo>
                    <a:lnTo>
                      <a:pt x="8605" y="13364"/>
                    </a:lnTo>
                    <a:close/>
                    <a:moveTo>
                      <a:pt x="14057" y="8008"/>
                    </a:moveTo>
                    <a:cubicBezTo>
                      <a:pt x="14422" y="8336"/>
                      <a:pt x="14775" y="8688"/>
                      <a:pt x="15111" y="9058"/>
                    </a:cubicBezTo>
                    <a:cubicBezTo>
                      <a:pt x="15447" y="9427"/>
                      <a:pt x="15766" y="9826"/>
                      <a:pt x="16070" y="10235"/>
                    </a:cubicBezTo>
                    <a:cubicBezTo>
                      <a:pt x="16047" y="10415"/>
                      <a:pt x="16018" y="10583"/>
                      <a:pt x="15985" y="10761"/>
                    </a:cubicBezTo>
                    <a:cubicBezTo>
                      <a:pt x="15951" y="10940"/>
                      <a:pt x="15911" y="11124"/>
                      <a:pt x="15868" y="11301"/>
                    </a:cubicBezTo>
                    <a:lnTo>
                      <a:pt x="13053" y="10078"/>
                    </a:lnTo>
                    <a:cubicBezTo>
                      <a:pt x="13184" y="9710"/>
                      <a:pt x="13327" y="9355"/>
                      <a:pt x="13495" y="9009"/>
                    </a:cubicBezTo>
                    <a:cubicBezTo>
                      <a:pt x="13664" y="8665"/>
                      <a:pt x="13854" y="8326"/>
                      <a:pt x="14057" y="8008"/>
                    </a:cubicBezTo>
                    <a:close/>
                    <a:moveTo>
                      <a:pt x="12766" y="11024"/>
                    </a:moveTo>
                    <a:lnTo>
                      <a:pt x="15589" y="12239"/>
                    </a:lnTo>
                    <a:cubicBezTo>
                      <a:pt x="15538" y="12378"/>
                      <a:pt x="15478" y="12511"/>
                      <a:pt x="15420" y="12645"/>
                    </a:cubicBezTo>
                    <a:cubicBezTo>
                      <a:pt x="15362" y="12780"/>
                      <a:pt x="15300" y="12919"/>
                      <a:pt x="15235" y="13050"/>
                    </a:cubicBezTo>
                    <a:cubicBezTo>
                      <a:pt x="14772" y="13134"/>
                      <a:pt x="14310" y="13191"/>
                      <a:pt x="13844" y="13218"/>
                    </a:cubicBezTo>
                    <a:cubicBezTo>
                      <a:pt x="13378" y="13245"/>
                      <a:pt x="12908" y="13241"/>
                      <a:pt x="12443" y="13211"/>
                    </a:cubicBezTo>
                    <a:cubicBezTo>
                      <a:pt x="12460" y="12841"/>
                      <a:pt x="12494" y="12472"/>
                      <a:pt x="12547" y="12107"/>
                    </a:cubicBezTo>
                    <a:cubicBezTo>
                      <a:pt x="12600" y="11742"/>
                      <a:pt x="12676" y="11384"/>
                      <a:pt x="12766" y="11024"/>
                    </a:cubicBezTo>
                    <a:close/>
                    <a:moveTo>
                      <a:pt x="12438" y="14214"/>
                    </a:moveTo>
                    <a:cubicBezTo>
                      <a:pt x="12795" y="14237"/>
                      <a:pt x="13149" y="14242"/>
                      <a:pt x="13506" y="14233"/>
                    </a:cubicBezTo>
                    <a:cubicBezTo>
                      <a:pt x="13864" y="14224"/>
                      <a:pt x="14224" y="14202"/>
                      <a:pt x="14580" y="14161"/>
                    </a:cubicBezTo>
                    <a:cubicBezTo>
                      <a:pt x="14335" y="14508"/>
                      <a:pt x="14059" y="14833"/>
                      <a:pt x="13766" y="15126"/>
                    </a:cubicBezTo>
                    <a:cubicBezTo>
                      <a:pt x="13423" y="15468"/>
                      <a:pt x="13055" y="15770"/>
                      <a:pt x="12662" y="16024"/>
                    </a:cubicBezTo>
                    <a:cubicBezTo>
                      <a:pt x="12600" y="15725"/>
                      <a:pt x="12549" y="15426"/>
                      <a:pt x="12511" y="15125"/>
                    </a:cubicBezTo>
                    <a:cubicBezTo>
                      <a:pt x="12473" y="14823"/>
                      <a:pt x="12451" y="14517"/>
                      <a:pt x="12438" y="14214"/>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39" name="Shape 10439">
                <a:extLst>
                  <a:ext uri="{FF2B5EF4-FFF2-40B4-BE49-F238E27FC236}">
                    <a16:creationId xmlns:a16="http://schemas.microsoft.com/office/drawing/2014/main" xmlns="" id="{FFECED18-C2D8-4C37-BE07-96FC1DCC8C9C}"/>
                  </a:ext>
                </a:extLst>
              </p:cNvPr>
              <p:cNvSpPr/>
              <p:nvPr/>
            </p:nvSpPr>
            <p:spPr>
              <a:xfrm>
                <a:off x="15028525" y="10196698"/>
                <a:ext cx="417299" cy="446578"/>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40" name="Shape 10440">
                <a:extLst>
                  <a:ext uri="{FF2B5EF4-FFF2-40B4-BE49-F238E27FC236}">
                    <a16:creationId xmlns:a16="http://schemas.microsoft.com/office/drawing/2014/main" xmlns="" id="{C673BD65-EFAD-41DD-9E00-6B92B7B72A83}"/>
                  </a:ext>
                </a:extLst>
              </p:cNvPr>
              <p:cNvSpPr/>
              <p:nvPr/>
            </p:nvSpPr>
            <p:spPr>
              <a:xfrm>
                <a:off x="16217788" y="9944091"/>
                <a:ext cx="446854" cy="494667"/>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41" name="Shape 10441">
                <a:extLst>
                  <a:ext uri="{FF2B5EF4-FFF2-40B4-BE49-F238E27FC236}">
                    <a16:creationId xmlns:a16="http://schemas.microsoft.com/office/drawing/2014/main" xmlns="" id="{310CD4A4-B22D-41CA-BD9F-B3D52930781C}"/>
                  </a:ext>
                </a:extLst>
              </p:cNvPr>
              <p:cNvSpPr/>
              <p:nvPr/>
            </p:nvSpPr>
            <p:spPr>
              <a:xfrm>
                <a:off x="14782485" y="8405905"/>
                <a:ext cx="501644" cy="700166"/>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42" name="Shape 10442">
                <a:extLst>
                  <a:ext uri="{FF2B5EF4-FFF2-40B4-BE49-F238E27FC236}">
                    <a16:creationId xmlns:a16="http://schemas.microsoft.com/office/drawing/2014/main" xmlns="" id="{674F5CC5-34A4-4CFC-9945-9216DB9FC3DC}"/>
                  </a:ext>
                </a:extLst>
              </p:cNvPr>
              <p:cNvSpPr/>
              <p:nvPr/>
            </p:nvSpPr>
            <p:spPr>
              <a:xfrm>
                <a:off x="16163592" y="9475921"/>
                <a:ext cx="425669" cy="396236"/>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43" name="Shape 10443">
                <a:extLst>
                  <a:ext uri="{FF2B5EF4-FFF2-40B4-BE49-F238E27FC236}">
                    <a16:creationId xmlns:a16="http://schemas.microsoft.com/office/drawing/2014/main" xmlns="" id="{317556D6-01EF-4519-8214-ECBBB2A60EBB}"/>
                  </a:ext>
                </a:extLst>
              </p:cNvPr>
              <p:cNvSpPr/>
              <p:nvPr/>
            </p:nvSpPr>
            <p:spPr>
              <a:xfrm>
                <a:off x="14923515" y="9401127"/>
                <a:ext cx="530063" cy="653239"/>
              </a:xfrm>
              <a:custGeom>
                <a:avLst/>
                <a:gdLst/>
                <a:ahLst/>
                <a:cxnLst>
                  <a:cxn ang="0">
                    <a:pos x="wd2" y="hd2"/>
                  </a:cxn>
                  <a:cxn ang="5400000">
                    <a:pos x="wd2" y="hd2"/>
                  </a:cxn>
                  <a:cxn ang="10800000">
                    <a:pos x="wd2" y="hd2"/>
                  </a:cxn>
                  <a:cxn ang="16200000">
                    <a:pos x="wd2" y="hd2"/>
                  </a:cxn>
                </a:cxnLst>
                <a:rect l="0" t="0" r="r" b="b"/>
                <a:pathLst>
                  <a:path w="21339" h="21341" extrusionOk="0">
                    <a:moveTo>
                      <a:pt x="19725" y="4962"/>
                    </a:moveTo>
                    <a:cubicBezTo>
                      <a:pt x="19481" y="4621"/>
                      <a:pt x="18944" y="4504"/>
                      <a:pt x="18524" y="4700"/>
                    </a:cubicBezTo>
                    <a:lnTo>
                      <a:pt x="16276" y="5753"/>
                    </a:lnTo>
                    <a:cubicBezTo>
                      <a:pt x="16665" y="6156"/>
                      <a:pt x="16967" y="6565"/>
                      <a:pt x="17201" y="6965"/>
                    </a:cubicBezTo>
                    <a:lnTo>
                      <a:pt x="19403" y="5935"/>
                    </a:lnTo>
                    <a:cubicBezTo>
                      <a:pt x="19823" y="5739"/>
                      <a:pt x="19967" y="5303"/>
                      <a:pt x="19725" y="4962"/>
                    </a:cubicBezTo>
                    <a:close/>
                    <a:moveTo>
                      <a:pt x="21339" y="9898"/>
                    </a:moveTo>
                    <a:cubicBezTo>
                      <a:pt x="21338" y="9504"/>
                      <a:pt x="20944" y="9185"/>
                      <a:pt x="20459" y="9185"/>
                    </a:cubicBezTo>
                    <a:lnTo>
                      <a:pt x="17939" y="9183"/>
                    </a:lnTo>
                    <a:cubicBezTo>
                      <a:pt x="17998" y="9688"/>
                      <a:pt x="17984" y="10167"/>
                      <a:pt x="17927" y="10609"/>
                    </a:cubicBezTo>
                    <a:lnTo>
                      <a:pt x="20460" y="10610"/>
                    </a:lnTo>
                    <a:cubicBezTo>
                      <a:pt x="20946" y="10610"/>
                      <a:pt x="21338" y="10292"/>
                      <a:pt x="21339" y="9898"/>
                    </a:cubicBezTo>
                    <a:close/>
                    <a:moveTo>
                      <a:pt x="4324" y="1565"/>
                    </a:moveTo>
                    <a:cubicBezTo>
                      <a:pt x="4080" y="1224"/>
                      <a:pt x="3543" y="1107"/>
                      <a:pt x="3123" y="1304"/>
                    </a:cubicBezTo>
                    <a:cubicBezTo>
                      <a:pt x="2703" y="1501"/>
                      <a:pt x="2559" y="1936"/>
                      <a:pt x="2802" y="2278"/>
                    </a:cubicBezTo>
                    <a:lnTo>
                      <a:pt x="4065" y="4052"/>
                    </a:lnTo>
                    <a:cubicBezTo>
                      <a:pt x="4512" y="3793"/>
                      <a:pt x="5019" y="3548"/>
                      <a:pt x="5588" y="3340"/>
                    </a:cubicBezTo>
                    <a:cubicBezTo>
                      <a:pt x="5588" y="3340"/>
                      <a:pt x="4324" y="1565"/>
                      <a:pt x="4324" y="1565"/>
                    </a:cubicBezTo>
                    <a:close/>
                    <a:moveTo>
                      <a:pt x="10086" y="713"/>
                    </a:moveTo>
                    <a:cubicBezTo>
                      <a:pt x="10086" y="319"/>
                      <a:pt x="9693" y="0"/>
                      <a:pt x="9207" y="0"/>
                    </a:cubicBezTo>
                    <a:cubicBezTo>
                      <a:pt x="8723" y="0"/>
                      <a:pt x="8330" y="319"/>
                      <a:pt x="8330" y="713"/>
                    </a:cubicBezTo>
                    <a:lnTo>
                      <a:pt x="8331" y="2772"/>
                    </a:lnTo>
                    <a:cubicBezTo>
                      <a:pt x="8876" y="2739"/>
                      <a:pt x="9464" y="2751"/>
                      <a:pt x="10088" y="2828"/>
                    </a:cubicBezTo>
                    <a:cubicBezTo>
                      <a:pt x="10088" y="2828"/>
                      <a:pt x="10086" y="713"/>
                      <a:pt x="10086" y="713"/>
                    </a:cubicBezTo>
                    <a:close/>
                    <a:moveTo>
                      <a:pt x="15284" y="1339"/>
                    </a:moveTo>
                    <a:cubicBezTo>
                      <a:pt x="14864" y="1142"/>
                      <a:pt x="14326" y="1258"/>
                      <a:pt x="14084" y="1599"/>
                    </a:cubicBezTo>
                    <a:lnTo>
                      <a:pt x="12730" y="3502"/>
                    </a:lnTo>
                    <a:cubicBezTo>
                      <a:pt x="12923" y="3577"/>
                      <a:pt x="14063" y="4115"/>
                      <a:pt x="14249" y="4220"/>
                    </a:cubicBezTo>
                    <a:lnTo>
                      <a:pt x="15606" y="2312"/>
                    </a:lnTo>
                    <a:cubicBezTo>
                      <a:pt x="15849" y="1971"/>
                      <a:pt x="15704" y="1536"/>
                      <a:pt x="15284" y="1339"/>
                    </a:cubicBezTo>
                    <a:close/>
                    <a:moveTo>
                      <a:pt x="16063" y="12771"/>
                    </a:moveTo>
                    <a:cubicBezTo>
                      <a:pt x="17178" y="10880"/>
                      <a:pt x="17910" y="6928"/>
                      <a:pt x="12930" y="4595"/>
                    </a:cubicBezTo>
                    <a:cubicBezTo>
                      <a:pt x="12930" y="4595"/>
                      <a:pt x="12929" y="4595"/>
                      <a:pt x="12928" y="4595"/>
                    </a:cubicBezTo>
                    <a:cubicBezTo>
                      <a:pt x="12928" y="4594"/>
                      <a:pt x="12927" y="4594"/>
                      <a:pt x="12926" y="4594"/>
                    </a:cubicBezTo>
                    <a:cubicBezTo>
                      <a:pt x="12926" y="4593"/>
                      <a:pt x="12925" y="4593"/>
                      <a:pt x="12924" y="4593"/>
                    </a:cubicBezTo>
                    <a:cubicBezTo>
                      <a:pt x="12924" y="4592"/>
                      <a:pt x="12923" y="4592"/>
                      <a:pt x="12922" y="4592"/>
                    </a:cubicBezTo>
                    <a:cubicBezTo>
                      <a:pt x="7943" y="2259"/>
                      <a:pt x="4092" y="4749"/>
                      <a:pt x="2631" y="6478"/>
                    </a:cubicBezTo>
                    <a:cubicBezTo>
                      <a:pt x="1322" y="8041"/>
                      <a:pt x="1632" y="10216"/>
                      <a:pt x="1621" y="10529"/>
                    </a:cubicBezTo>
                    <a:cubicBezTo>
                      <a:pt x="1602" y="11040"/>
                      <a:pt x="2174" y="13289"/>
                      <a:pt x="1592" y="14216"/>
                    </a:cubicBezTo>
                    <a:cubicBezTo>
                      <a:pt x="792" y="15491"/>
                      <a:pt x="955" y="15611"/>
                      <a:pt x="1594" y="16106"/>
                    </a:cubicBezTo>
                    <a:cubicBezTo>
                      <a:pt x="2244" y="16611"/>
                      <a:pt x="5442" y="18109"/>
                      <a:pt x="6306" y="18314"/>
                    </a:cubicBezTo>
                    <a:cubicBezTo>
                      <a:pt x="7154" y="18515"/>
                      <a:pt x="7364" y="18570"/>
                      <a:pt x="8324" y="17370"/>
                    </a:cubicBezTo>
                    <a:cubicBezTo>
                      <a:pt x="9022" y="16498"/>
                      <a:pt x="11709" y="15775"/>
                      <a:pt x="12245" y="15507"/>
                    </a:cubicBezTo>
                    <a:cubicBezTo>
                      <a:pt x="12574" y="15342"/>
                      <a:pt x="15049" y="14473"/>
                      <a:pt x="16063" y="12771"/>
                    </a:cubicBezTo>
                    <a:close/>
                    <a:moveTo>
                      <a:pt x="5425" y="20157"/>
                    </a:moveTo>
                    <a:cubicBezTo>
                      <a:pt x="5564" y="19962"/>
                      <a:pt x="5481" y="19712"/>
                      <a:pt x="5240" y="19599"/>
                    </a:cubicBezTo>
                    <a:lnTo>
                      <a:pt x="756" y="17498"/>
                    </a:lnTo>
                    <a:cubicBezTo>
                      <a:pt x="515" y="17385"/>
                      <a:pt x="206" y="17452"/>
                      <a:pt x="67" y="17647"/>
                    </a:cubicBezTo>
                    <a:lnTo>
                      <a:pt x="67" y="17647"/>
                    </a:lnTo>
                    <a:cubicBezTo>
                      <a:pt x="-72" y="17843"/>
                      <a:pt x="11" y="18093"/>
                      <a:pt x="252" y="18206"/>
                    </a:cubicBezTo>
                    <a:lnTo>
                      <a:pt x="4736" y="20307"/>
                    </a:lnTo>
                    <a:cubicBezTo>
                      <a:pt x="4977" y="20420"/>
                      <a:pt x="5286" y="20353"/>
                      <a:pt x="5425" y="20157"/>
                    </a:cubicBezTo>
                    <a:cubicBezTo>
                      <a:pt x="5425" y="20157"/>
                      <a:pt x="5425" y="20157"/>
                      <a:pt x="5425" y="20157"/>
                    </a:cubicBezTo>
                    <a:close/>
                    <a:moveTo>
                      <a:pt x="6113" y="19190"/>
                    </a:moveTo>
                    <a:cubicBezTo>
                      <a:pt x="6252" y="18995"/>
                      <a:pt x="6169" y="18745"/>
                      <a:pt x="5928" y="18632"/>
                    </a:cubicBezTo>
                    <a:lnTo>
                      <a:pt x="1444" y="16531"/>
                    </a:lnTo>
                    <a:cubicBezTo>
                      <a:pt x="1203" y="16418"/>
                      <a:pt x="894" y="16485"/>
                      <a:pt x="755" y="16680"/>
                    </a:cubicBezTo>
                    <a:lnTo>
                      <a:pt x="755" y="16680"/>
                    </a:lnTo>
                    <a:cubicBezTo>
                      <a:pt x="616" y="16876"/>
                      <a:pt x="699" y="17126"/>
                      <a:pt x="940" y="17239"/>
                    </a:cubicBezTo>
                    <a:lnTo>
                      <a:pt x="5424" y="19340"/>
                    </a:lnTo>
                    <a:cubicBezTo>
                      <a:pt x="5665" y="19453"/>
                      <a:pt x="5974" y="19386"/>
                      <a:pt x="6113" y="19190"/>
                    </a:cubicBezTo>
                    <a:cubicBezTo>
                      <a:pt x="6113" y="19190"/>
                      <a:pt x="6113" y="19190"/>
                      <a:pt x="6113" y="19190"/>
                    </a:cubicBezTo>
                    <a:close/>
                    <a:moveTo>
                      <a:pt x="360" y="18601"/>
                    </a:moveTo>
                    <a:lnTo>
                      <a:pt x="4260" y="20429"/>
                    </a:lnTo>
                    <a:cubicBezTo>
                      <a:pt x="3639" y="21302"/>
                      <a:pt x="2263" y="21600"/>
                      <a:pt x="1186" y="21095"/>
                    </a:cubicBezTo>
                    <a:cubicBezTo>
                      <a:pt x="109" y="20591"/>
                      <a:pt x="-261" y="19474"/>
                      <a:pt x="360" y="1860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44" name="Shape 10444">
                <a:extLst>
                  <a:ext uri="{FF2B5EF4-FFF2-40B4-BE49-F238E27FC236}">
                    <a16:creationId xmlns:a16="http://schemas.microsoft.com/office/drawing/2014/main" xmlns="" id="{4083E7C0-A64E-4C7E-A675-CD8E96DEAB72}"/>
                  </a:ext>
                </a:extLst>
              </p:cNvPr>
              <p:cNvSpPr/>
              <p:nvPr/>
            </p:nvSpPr>
            <p:spPr>
              <a:xfrm>
                <a:off x="15668537" y="8652569"/>
                <a:ext cx="371823" cy="371843"/>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45" name="Shape 10445">
                <a:extLst>
                  <a:ext uri="{FF2B5EF4-FFF2-40B4-BE49-F238E27FC236}">
                    <a16:creationId xmlns:a16="http://schemas.microsoft.com/office/drawing/2014/main" xmlns="" id="{EE4D277F-648A-4117-8BFE-72DB8E33FCCC}"/>
                  </a:ext>
                </a:extLst>
              </p:cNvPr>
              <p:cNvSpPr/>
              <p:nvPr/>
            </p:nvSpPr>
            <p:spPr>
              <a:xfrm>
                <a:off x="19159248" y="10659016"/>
                <a:ext cx="622763" cy="569104"/>
              </a:xfrm>
              <a:custGeom>
                <a:avLst/>
                <a:gdLst/>
                <a:ahLst/>
                <a:cxnLst>
                  <a:cxn ang="0">
                    <a:pos x="wd2" y="hd2"/>
                  </a:cxn>
                  <a:cxn ang="5400000">
                    <a:pos x="wd2" y="hd2"/>
                  </a:cxn>
                  <a:cxn ang="10800000">
                    <a:pos x="wd2" y="hd2"/>
                  </a:cxn>
                  <a:cxn ang="16200000">
                    <a:pos x="wd2" y="hd2"/>
                  </a:cxn>
                </a:cxnLst>
                <a:rect l="0" t="0" r="r" b="b"/>
                <a:pathLst>
                  <a:path w="20409" h="20716" extrusionOk="0">
                    <a:moveTo>
                      <a:pt x="1339" y="18146"/>
                    </a:moveTo>
                    <a:cubicBezTo>
                      <a:pt x="227" y="16314"/>
                      <a:pt x="661" y="13820"/>
                      <a:pt x="2308" y="12586"/>
                    </a:cubicBezTo>
                    <a:cubicBezTo>
                      <a:pt x="2748" y="12256"/>
                      <a:pt x="3232" y="12053"/>
                      <a:pt x="3725" y="11962"/>
                    </a:cubicBezTo>
                    <a:lnTo>
                      <a:pt x="3738" y="15889"/>
                    </a:lnTo>
                    <a:cubicBezTo>
                      <a:pt x="3739" y="16166"/>
                      <a:pt x="3941" y="16390"/>
                      <a:pt x="4190" y="16389"/>
                    </a:cubicBezTo>
                    <a:cubicBezTo>
                      <a:pt x="4439" y="16388"/>
                      <a:pt x="4640" y="16164"/>
                      <a:pt x="4639" y="15887"/>
                    </a:cubicBezTo>
                    <a:lnTo>
                      <a:pt x="4626" y="11921"/>
                    </a:lnTo>
                    <a:cubicBezTo>
                      <a:pt x="5675" y="12022"/>
                      <a:pt x="6678" y="12627"/>
                      <a:pt x="7312" y="13672"/>
                    </a:cubicBezTo>
                    <a:cubicBezTo>
                      <a:pt x="8425" y="15504"/>
                      <a:pt x="7990" y="17998"/>
                      <a:pt x="6343" y="19232"/>
                    </a:cubicBezTo>
                    <a:cubicBezTo>
                      <a:pt x="4697" y="20465"/>
                      <a:pt x="2452" y="19979"/>
                      <a:pt x="1339" y="18146"/>
                    </a:cubicBezTo>
                    <a:close/>
                    <a:moveTo>
                      <a:pt x="3670" y="7857"/>
                    </a:moveTo>
                    <a:lnTo>
                      <a:pt x="5119" y="6772"/>
                    </a:lnTo>
                    <a:cubicBezTo>
                      <a:pt x="5283" y="6649"/>
                      <a:pt x="5395" y="6369"/>
                      <a:pt x="5367" y="6151"/>
                    </a:cubicBezTo>
                    <a:lnTo>
                      <a:pt x="5135" y="4322"/>
                    </a:lnTo>
                    <a:lnTo>
                      <a:pt x="8435" y="5321"/>
                    </a:lnTo>
                    <a:cubicBezTo>
                      <a:pt x="8435" y="5321"/>
                      <a:pt x="8207" y="5706"/>
                      <a:pt x="7927" y="6179"/>
                    </a:cubicBezTo>
                    <a:lnTo>
                      <a:pt x="4301" y="8895"/>
                    </a:lnTo>
                    <a:cubicBezTo>
                      <a:pt x="4301" y="8895"/>
                      <a:pt x="3670" y="7857"/>
                      <a:pt x="3670" y="7857"/>
                    </a:cubicBezTo>
                    <a:close/>
                    <a:moveTo>
                      <a:pt x="5317" y="9342"/>
                    </a:moveTo>
                    <a:lnTo>
                      <a:pt x="6806" y="8227"/>
                    </a:lnTo>
                    <a:cubicBezTo>
                      <a:pt x="6763" y="8494"/>
                      <a:pt x="6811" y="8776"/>
                      <a:pt x="6952" y="9008"/>
                    </a:cubicBezTo>
                    <a:lnTo>
                      <a:pt x="6951" y="9008"/>
                    </a:lnTo>
                    <a:cubicBezTo>
                      <a:pt x="6951" y="9008"/>
                      <a:pt x="7368" y="9692"/>
                      <a:pt x="7887" y="10542"/>
                    </a:cubicBezTo>
                    <a:cubicBezTo>
                      <a:pt x="7887" y="10542"/>
                      <a:pt x="5317" y="9342"/>
                      <a:pt x="5317" y="9342"/>
                    </a:cubicBezTo>
                    <a:close/>
                    <a:moveTo>
                      <a:pt x="8791" y="8259"/>
                    </a:moveTo>
                    <a:cubicBezTo>
                      <a:pt x="8791" y="8259"/>
                      <a:pt x="10089" y="6315"/>
                      <a:pt x="10706" y="5383"/>
                    </a:cubicBezTo>
                    <a:lnTo>
                      <a:pt x="11903" y="5869"/>
                    </a:lnTo>
                    <a:cubicBezTo>
                      <a:pt x="11641" y="6978"/>
                      <a:pt x="11735" y="8186"/>
                      <a:pt x="12226" y="9262"/>
                    </a:cubicBezTo>
                    <a:lnTo>
                      <a:pt x="10284" y="10718"/>
                    </a:lnTo>
                    <a:cubicBezTo>
                      <a:pt x="10284" y="10718"/>
                      <a:pt x="8791" y="8259"/>
                      <a:pt x="8791" y="8259"/>
                    </a:cubicBezTo>
                    <a:close/>
                    <a:moveTo>
                      <a:pt x="13314" y="9656"/>
                    </a:moveTo>
                    <a:lnTo>
                      <a:pt x="16285" y="7430"/>
                    </a:lnTo>
                    <a:cubicBezTo>
                      <a:pt x="16491" y="7275"/>
                      <a:pt x="16545" y="6964"/>
                      <a:pt x="16406" y="6735"/>
                    </a:cubicBezTo>
                    <a:cubicBezTo>
                      <a:pt x="16343" y="6631"/>
                      <a:pt x="16251" y="6564"/>
                      <a:pt x="16150" y="6533"/>
                    </a:cubicBezTo>
                    <a:lnTo>
                      <a:pt x="16151" y="6531"/>
                    </a:lnTo>
                    <a:lnTo>
                      <a:pt x="12905" y="5212"/>
                    </a:lnTo>
                    <a:cubicBezTo>
                      <a:pt x="13172" y="4652"/>
                      <a:pt x="13562" y="4155"/>
                      <a:pt x="14067" y="3777"/>
                    </a:cubicBezTo>
                    <a:cubicBezTo>
                      <a:pt x="15713" y="2543"/>
                      <a:pt x="17958" y="3030"/>
                      <a:pt x="19071" y="4862"/>
                    </a:cubicBezTo>
                    <a:cubicBezTo>
                      <a:pt x="20183" y="6694"/>
                      <a:pt x="19749" y="9188"/>
                      <a:pt x="18102" y="10422"/>
                    </a:cubicBezTo>
                    <a:cubicBezTo>
                      <a:pt x="16556" y="11580"/>
                      <a:pt x="14482" y="11221"/>
                      <a:pt x="13314" y="9656"/>
                    </a:cubicBezTo>
                    <a:close/>
                    <a:moveTo>
                      <a:pt x="15048" y="7148"/>
                    </a:moveTo>
                    <a:lnTo>
                      <a:pt x="12832" y="8808"/>
                    </a:lnTo>
                    <a:cubicBezTo>
                      <a:pt x="12470" y="7960"/>
                      <a:pt x="12397" y="7021"/>
                      <a:pt x="12588" y="6148"/>
                    </a:cubicBezTo>
                    <a:cubicBezTo>
                      <a:pt x="12588" y="6148"/>
                      <a:pt x="15048" y="7148"/>
                      <a:pt x="15048" y="7148"/>
                    </a:cubicBezTo>
                    <a:close/>
                    <a:moveTo>
                      <a:pt x="742" y="18594"/>
                    </a:moveTo>
                    <a:cubicBezTo>
                      <a:pt x="2079" y="20796"/>
                      <a:pt x="4768" y="21379"/>
                      <a:pt x="6747" y="19896"/>
                    </a:cubicBezTo>
                    <a:cubicBezTo>
                      <a:pt x="8726" y="18413"/>
                      <a:pt x="9246" y="15426"/>
                      <a:pt x="7909" y="13224"/>
                    </a:cubicBezTo>
                    <a:cubicBezTo>
                      <a:pt x="7134" y="11948"/>
                      <a:pt x="5905" y="11216"/>
                      <a:pt x="4623" y="11115"/>
                    </a:cubicBezTo>
                    <a:lnTo>
                      <a:pt x="4619" y="10101"/>
                    </a:lnTo>
                    <a:lnTo>
                      <a:pt x="8815" y="12059"/>
                    </a:lnTo>
                    <a:cubicBezTo>
                      <a:pt x="9382" y="12983"/>
                      <a:pt x="9863" y="13764"/>
                      <a:pt x="9886" y="13787"/>
                    </a:cubicBezTo>
                    <a:cubicBezTo>
                      <a:pt x="10275" y="14180"/>
                      <a:pt x="10877" y="14149"/>
                      <a:pt x="11230" y="13717"/>
                    </a:cubicBezTo>
                    <a:cubicBezTo>
                      <a:pt x="11531" y="13349"/>
                      <a:pt x="11553" y="12810"/>
                      <a:pt x="11313" y="12415"/>
                    </a:cubicBezTo>
                    <a:lnTo>
                      <a:pt x="11314" y="12414"/>
                    </a:lnTo>
                    <a:lnTo>
                      <a:pt x="10788" y="11548"/>
                    </a:lnTo>
                    <a:lnTo>
                      <a:pt x="12715" y="10105"/>
                    </a:lnTo>
                    <a:cubicBezTo>
                      <a:pt x="14109" y="12039"/>
                      <a:pt x="16627" y="12494"/>
                      <a:pt x="18506" y="11086"/>
                    </a:cubicBezTo>
                    <a:cubicBezTo>
                      <a:pt x="20485" y="9603"/>
                      <a:pt x="21005" y="6616"/>
                      <a:pt x="19668" y="4414"/>
                    </a:cubicBezTo>
                    <a:cubicBezTo>
                      <a:pt x="18331" y="2212"/>
                      <a:pt x="15642" y="1629"/>
                      <a:pt x="13663" y="3112"/>
                    </a:cubicBezTo>
                    <a:cubicBezTo>
                      <a:pt x="13027" y="3589"/>
                      <a:pt x="12542" y="4222"/>
                      <a:pt x="12221" y="4933"/>
                    </a:cubicBezTo>
                    <a:lnTo>
                      <a:pt x="11168" y="4506"/>
                    </a:lnTo>
                    <a:cubicBezTo>
                      <a:pt x="11303" y="3945"/>
                      <a:pt x="11158" y="3323"/>
                      <a:pt x="10745" y="2905"/>
                    </a:cubicBezTo>
                    <a:cubicBezTo>
                      <a:pt x="10551" y="2709"/>
                      <a:pt x="10321" y="2584"/>
                      <a:pt x="10082" y="2526"/>
                    </a:cubicBezTo>
                    <a:lnTo>
                      <a:pt x="10082" y="2525"/>
                    </a:lnTo>
                    <a:lnTo>
                      <a:pt x="5355" y="1211"/>
                    </a:lnTo>
                    <a:lnTo>
                      <a:pt x="5355" y="1211"/>
                    </a:lnTo>
                    <a:cubicBezTo>
                      <a:pt x="4823" y="1000"/>
                      <a:pt x="4206" y="1148"/>
                      <a:pt x="3803" y="1641"/>
                    </a:cubicBezTo>
                    <a:cubicBezTo>
                      <a:pt x="3485" y="2031"/>
                      <a:pt x="3373" y="2548"/>
                      <a:pt x="3458" y="3028"/>
                    </a:cubicBezTo>
                    <a:lnTo>
                      <a:pt x="3457" y="3029"/>
                    </a:lnTo>
                    <a:lnTo>
                      <a:pt x="3914" y="5740"/>
                    </a:lnTo>
                    <a:lnTo>
                      <a:pt x="2179" y="7041"/>
                    </a:lnTo>
                    <a:cubicBezTo>
                      <a:pt x="1849" y="7288"/>
                      <a:pt x="1762" y="7786"/>
                      <a:pt x="1985" y="8153"/>
                    </a:cubicBezTo>
                    <a:cubicBezTo>
                      <a:pt x="2193" y="8496"/>
                      <a:pt x="2598" y="8599"/>
                      <a:pt x="2919" y="8409"/>
                    </a:cubicBezTo>
                    <a:lnTo>
                      <a:pt x="3717" y="9723"/>
                    </a:lnTo>
                    <a:lnTo>
                      <a:pt x="3722" y="11148"/>
                    </a:lnTo>
                    <a:cubicBezTo>
                      <a:pt x="3090" y="11245"/>
                      <a:pt x="2469" y="11499"/>
                      <a:pt x="1905" y="11922"/>
                    </a:cubicBezTo>
                    <a:cubicBezTo>
                      <a:pt x="-75" y="13405"/>
                      <a:pt x="-595" y="16392"/>
                      <a:pt x="742" y="18594"/>
                    </a:cubicBezTo>
                    <a:close/>
                    <a:moveTo>
                      <a:pt x="2678" y="707"/>
                    </a:moveTo>
                    <a:cubicBezTo>
                      <a:pt x="2232" y="-27"/>
                      <a:pt x="1336" y="-221"/>
                      <a:pt x="676" y="273"/>
                    </a:cubicBezTo>
                    <a:cubicBezTo>
                      <a:pt x="16" y="767"/>
                      <a:pt x="-157" y="1763"/>
                      <a:pt x="289" y="2497"/>
                    </a:cubicBezTo>
                    <a:cubicBezTo>
                      <a:pt x="734" y="3231"/>
                      <a:pt x="1630" y="3426"/>
                      <a:pt x="2290" y="2931"/>
                    </a:cubicBezTo>
                    <a:cubicBezTo>
                      <a:pt x="2950" y="2437"/>
                      <a:pt x="3123" y="1441"/>
                      <a:pt x="2678" y="70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46" name="Shape 10446">
                <a:extLst>
                  <a:ext uri="{FF2B5EF4-FFF2-40B4-BE49-F238E27FC236}">
                    <a16:creationId xmlns:a16="http://schemas.microsoft.com/office/drawing/2014/main" xmlns="" id="{CA993AD8-28BE-43FE-996F-275059673F16}"/>
                  </a:ext>
                </a:extLst>
              </p:cNvPr>
              <p:cNvSpPr/>
              <p:nvPr/>
            </p:nvSpPr>
            <p:spPr>
              <a:xfrm>
                <a:off x="15268311" y="8005315"/>
                <a:ext cx="498844" cy="55221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4"/>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47" name="Shape 10447">
                <a:extLst>
                  <a:ext uri="{FF2B5EF4-FFF2-40B4-BE49-F238E27FC236}">
                    <a16:creationId xmlns:a16="http://schemas.microsoft.com/office/drawing/2014/main" xmlns="" id="{0E2D16C3-C1E8-4813-8F04-576182AD67DD}"/>
                  </a:ext>
                </a:extLst>
              </p:cNvPr>
              <p:cNvSpPr/>
              <p:nvPr/>
            </p:nvSpPr>
            <p:spPr>
              <a:xfrm>
                <a:off x="15182169" y="7422407"/>
                <a:ext cx="482787" cy="501737"/>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48" name="Shape 10448">
                <a:extLst>
                  <a:ext uri="{FF2B5EF4-FFF2-40B4-BE49-F238E27FC236}">
                    <a16:creationId xmlns:a16="http://schemas.microsoft.com/office/drawing/2014/main" xmlns="" id="{4B889BAC-A3F2-4C91-A5E6-8B4E17C28016}"/>
                  </a:ext>
                </a:extLst>
              </p:cNvPr>
              <p:cNvSpPr/>
              <p:nvPr/>
            </p:nvSpPr>
            <p:spPr>
              <a:xfrm>
                <a:off x="15128417" y="6820077"/>
                <a:ext cx="371717" cy="5983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3" y="16426"/>
                    </a:lnTo>
                    <a:lnTo>
                      <a:pt x="6939" y="18801"/>
                    </a:lnTo>
                    <a:cubicBezTo>
                      <a:pt x="6939" y="18801"/>
                      <a:pt x="0" y="21600"/>
                      <a:pt x="0" y="21600"/>
                    </a:cubicBezTo>
                    <a:close/>
                    <a:moveTo>
                      <a:pt x="7564" y="18101"/>
                    </a:moveTo>
                    <a:lnTo>
                      <a:pt x="678" y="15726"/>
                    </a:lnTo>
                    <a:lnTo>
                      <a:pt x="11819" y="3241"/>
                    </a:lnTo>
                    <a:lnTo>
                      <a:pt x="18708" y="5613"/>
                    </a:lnTo>
                    <a:cubicBezTo>
                      <a:pt x="18708" y="5613"/>
                      <a:pt x="7564" y="18101"/>
                      <a:pt x="7564" y="18101"/>
                    </a:cubicBezTo>
                    <a:close/>
                    <a:moveTo>
                      <a:pt x="19345" y="4898"/>
                    </a:moveTo>
                    <a:lnTo>
                      <a:pt x="12456" y="2525"/>
                    </a:lnTo>
                    <a:lnTo>
                      <a:pt x="14711" y="0"/>
                    </a:lnTo>
                    <a:lnTo>
                      <a:pt x="21600" y="2372"/>
                    </a:lnTo>
                    <a:cubicBezTo>
                      <a:pt x="21600" y="2372"/>
                      <a:pt x="19345" y="4898"/>
                      <a:pt x="19345" y="4898"/>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49" name="Shape 10449">
                <a:extLst>
                  <a:ext uri="{FF2B5EF4-FFF2-40B4-BE49-F238E27FC236}">
                    <a16:creationId xmlns:a16="http://schemas.microsoft.com/office/drawing/2014/main" xmlns="" id="{8AA05A33-9F7D-49D5-94C5-EAB2552B284D}"/>
                  </a:ext>
                </a:extLst>
              </p:cNvPr>
              <p:cNvSpPr/>
              <p:nvPr/>
            </p:nvSpPr>
            <p:spPr>
              <a:xfrm>
                <a:off x="19860243" y="12623212"/>
                <a:ext cx="635104" cy="383208"/>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50" name="Shape 10450">
                <a:extLst>
                  <a:ext uri="{FF2B5EF4-FFF2-40B4-BE49-F238E27FC236}">
                    <a16:creationId xmlns:a16="http://schemas.microsoft.com/office/drawing/2014/main" xmlns="" id="{10EC907F-D16E-47C9-892B-4B38779BD9E0}"/>
                  </a:ext>
                </a:extLst>
              </p:cNvPr>
              <p:cNvSpPr/>
              <p:nvPr/>
            </p:nvSpPr>
            <p:spPr>
              <a:xfrm>
                <a:off x="17597376" y="10224912"/>
                <a:ext cx="387029" cy="55339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51" name="Shape 10451">
                <a:extLst>
                  <a:ext uri="{FF2B5EF4-FFF2-40B4-BE49-F238E27FC236}">
                    <a16:creationId xmlns:a16="http://schemas.microsoft.com/office/drawing/2014/main" xmlns="" id="{0E94F073-06E6-45B0-9FD1-E986BABDEDE0}"/>
                  </a:ext>
                </a:extLst>
              </p:cNvPr>
              <p:cNvSpPr/>
              <p:nvPr/>
            </p:nvSpPr>
            <p:spPr>
              <a:xfrm>
                <a:off x="16686925" y="10342161"/>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52" name="Shape 10452">
                <a:extLst>
                  <a:ext uri="{FF2B5EF4-FFF2-40B4-BE49-F238E27FC236}">
                    <a16:creationId xmlns:a16="http://schemas.microsoft.com/office/drawing/2014/main" xmlns="" id="{0BA01801-91CA-4A98-ACB8-1CD83B30CF94}"/>
                  </a:ext>
                </a:extLst>
              </p:cNvPr>
              <p:cNvSpPr/>
              <p:nvPr/>
            </p:nvSpPr>
            <p:spPr>
              <a:xfrm>
                <a:off x="16291806" y="10573227"/>
                <a:ext cx="326231"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53" name="Shape 10453">
                <a:extLst>
                  <a:ext uri="{FF2B5EF4-FFF2-40B4-BE49-F238E27FC236}">
                    <a16:creationId xmlns:a16="http://schemas.microsoft.com/office/drawing/2014/main" xmlns="" id="{8FBD1775-2084-49B3-B791-DDB334BE9A58}"/>
                  </a:ext>
                </a:extLst>
              </p:cNvPr>
              <p:cNvSpPr/>
              <p:nvPr/>
            </p:nvSpPr>
            <p:spPr>
              <a:xfrm>
                <a:off x="16950896" y="11189814"/>
                <a:ext cx="310646" cy="332439"/>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54" name="Shape 10454">
                <a:extLst>
                  <a:ext uri="{FF2B5EF4-FFF2-40B4-BE49-F238E27FC236}">
                    <a16:creationId xmlns:a16="http://schemas.microsoft.com/office/drawing/2014/main" xmlns="" id="{2D8C75A8-121E-4229-827C-8B45CE7C3F62}"/>
                  </a:ext>
                </a:extLst>
              </p:cNvPr>
              <p:cNvSpPr/>
              <p:nvPr/>
            </p:nvSpPr>
            <p:spPr>
              <a:xfrm>
                <a:off x="18327415" y="11333188"/>
                <a:ext cx="410125" cy="290706"/>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55" name="Shape 10455">
                <a:extLst>
                  <a:ext uri="{FF2B5EF4-FFF2-40B4-BE49-F238E27FC236}">
                    <a16:creationId xmlns:a16="http://schemas.microsoft.com/office/drawing/2014/main" xmlns="" id="{646645CE-2A67-42AA-BF63-C08FBE8A471F}"/>
                  </a:ext>
                </a:extLst>
              </p:cNvPr>
              <p:cNvSpPr/>
              <p:nvPr/>
            </p:nvSpPr>
            <p:spPr>
              <a:xfrm>
                <a:off x="15200816" y="9711583"/>
                <a:ext cx="534281" cy="414613"/>
              </a:xfrm>
              <a:custGeom>
                <a:avLst/>
                <a:gdLst/>
                <a:ahLst/>
                <a:cxnLst>
                  <a:cxn ang="0">
                    <a:pos x="wd2" y="hd2"/>
                  </a:cxn>
                  <a:cxn ang="5400000">
                    <a:pos x="wd2" y="hd2"/>
                  </a:cxn>
                  <a:cxn ang="10800000">
                    <a:pos x="wd2" y="hd2"/>
                  </a:cxn>
                  <a:cxn ang="16200000">
                    <a:pos x="wd2" y="hd2"/>
                  </a:cxn>
                </a:cxnLst>
                <a:rect l="0" t="0" r="r" b="b"/>
                <a:pathLst>
                  <a:path w="21504" h="21459" extrusionOk="0">
                    <a:moveTo>
                      <a:pt x="20046" y="0"/>
                    </a:moveTo>
                    <a:lnTo>
                      <a:pt x="18382" y="1612"/>
                    </a:lnTo>
                    <a:cubicBezTo>
                      <a:pt x="18349" y="1555"/>
                      <a:pt x="18183" y="1271"/>
                      <a:pt x="18183" y="1271"/>
                    </a:cubicBezTo>
                    <a:lnTo>
                      <a:pt x="16876" y="2541"/>
                    </a:lnTo>
                    <a:lnTo>
                      <a:pt x="17075" y="2882"/>
                    </a:lnTo>
                    <a:lnTo>
                      <a:pt x="16682" y="3264"/>
                    </a:lnTo>
                    <a:lnTo>
                      <a:pt x="3502" y="16032"/>
                    </a:lnTo>
                    <a:cubicBezTo>
                      <a:pt x="3033" y="16486"/>
                      <a:pt x="956" y="19168"/>
                      <a:pt x="714" y="20293"/>
                    </a:cubicBezTo>
                    <a:cubicBezTo>
                      <a:pt x="679" y="20454"/>
                      <a:pt x="682" y="20584"/>
                      <a:pt x="733" y="20670"/>
                    </a:cubicBezTo>
                    <a:cubicBezTo>
                      <a:pt x="1136" y="21359"/>
                      <a:pt x="4430" y="19041"/>
                      <a:pt x="4965" y="18523"/>
                    </a:cubicBezTo>
                    <a:lnTo>
                      <a:pt x="18142" y="5753"/>
                    </a:lnTo>
                    <a:lnTo>
                      <a:pt x="18535" y="5371"/>
                    </a:lnTo>
                    <a:lnTo>
                      <a:pt x="18743" y="5727"/>
                    </a:lnTo>
                    <a:lnTo>
                      <a:pt x="13621" y="10688"/>
                    </a:lnTo>
                    <a:lnTo>
                      <a:pt x="13920" y="11200"/>
                    </a:lnTo>
                    <a:lnTo>
                      <a:pt x="20349" y="4970"/>
                    </a:lnTo>
                    <a:cubicBezTo>
                      <a:pt x="20349" y="4970"/>
                      <a:pt x="20022" y="4416"/>
                      <a:pt x="19840" y="4106"/>
                    </a:cubicBezTo>
                    <a:lnTo>
                      <a:pt x="21504" y="2494"/>
                    </a:lnTo>
                    <a:cubicBezTo>
                      <a:pt x="21504" y="2494"/>
                      <a:pt x="20046" y="0"/>
                      <a:pt x="20046" y="0"/>
                    </a:cubicBezTo>
                    <a:close/>
                    <a:moveTo>
                      <a:pt x="714" y="20293"/>
                    </a:moveTo>
                    <a:cubicBezTo>
                      <a:pt x="727" y="20240"/>
                      <a:pt x="731" y="20197"/>
                      <a:pt x="751" y="20139"/>
                    </a:cubicBezTo>
                    <a:lnTo>
                      <a:pt x="480" y="20398"/>
                    </a:lnTo>
                    <a:cubicBezTo>
                      <a:pt x="370" y="20505"/>
                      <a:pt x="-96" y="21209"/>
                      <a:pt x="18" y="21404"/>
                    </a:cubicBezTo>
                    <a:cubicBezTo>
                      <a:pt x="133" y="21600"/>
                      <a:pt x="787" y="21217"/>
                      <a:pt x="897" y="21111"/>
                    </a:cubicBezTo>
                    <a:lnTo>
                      <a:pt x="1169" y="20846"/>
                    </a:lnTo>
                    <a:cubicBezTo>
                      <a:pt x="944" y="20888"/>
                      <a:pt x="778" y="20864"/>
                      <a:pt x="705" y="20740"/>
                    </a:cubicBezTo>
                    <a:cubicBezTo>
                      <a:pt x="649" y="20644"/>
                      <a:pt x="665" y="20481"/>
                      <a:pt x="714" y="2029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56" name="Shape 10456">
                <a:extLst>
                  <a:ext uri="{FF2B5EF4-FFF2-40B4-BE49-F238E27FC236}">
                    <a16:creationId xmlns:a16="http://schemas.microsoft.com/office/drawing/2014/main" xmlns="" id="{6839E73E-7314-41CC-98D8-42FA2E818848}"/>
                  </a:ext>
                </a:extLst>
              </p:cNvPr>
              <p:cNvSpPr/>
              <p:nvPr/>
            </p:nvSpPr>
            <p:spPr>
              <a:xfrm>
                <a:off x="15431053" y="9155015"/>
                <a:ext cx="444363" cy="290706"/>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grpSp>
        <p:grpSp>
          <p:nvGrpSpPr>
            <p:cNvPr id="158" name="Group 135">
              <a:extLst>
                <a:ext uri="{FF2B5EF4-FFF2-40B4-BE49-F238E27FC236}">
                  <a16:creationId xmlns:a16="http://schemas.microsoft.com/office/drawing/2014/main" xmlns="" id="{CBE42807-A20B-4124-AF0C-EBDE107B5846}"/>
                </a:ext>
              </a:extLst>
            </p:cNvPr>
            <p:cNvGrpSpPr/>
            <p:nvPr/>
          </p:nvGrpSpPr>
          <p:grpSpPr>
            <a:xfrm>
              <a:off x="8087234" y="2414958"/>
              <a:ext cx="2866962" cy="3603641"/>
              <a:chOff x="14548061" y="4108806"/>
              <a:chExt cx="7267195" cy="9607228"/>
            </a:xfrm>
            <a:solidFill>
              <a:schemeClr val="accent6"/>
            </a:solidFill>
          </p:grpSpPr>
          <p:sp>
            <p:nvSpPr>
              <p:cNvPr id="159" name="Shape 10355">
                <a:extLst>
                  <a:ext uri="{FF2B5EF4-FFF2-40B4-BE49-F238E27FC236}">
                    <a16:creationId xmlns:a16="http://schemas.microsoft.com/office/drawing/2014/main" xmlns="" id="{56E9AB9C-457D-45AA-8B66-81D8719EA066}"/>
                  </a:ext>
                </a:extLst>
              </p:cNvPr>
              <p:cNvSpPr/>
              <p:nvPr/>
            </p:nvSpPr>
            <p:spPr>
              <a:xfrm>
                <a:off x="15175981" y="5793027"/>
                <a:ext cx="1056104" cy="924503"/>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60" name="Shape 10356">
                <a:extLst>
                  <a:ext uri="{FF2B5EF4-FFF2-40B4-BE49-F238E27FC236}">
                    <a16:creationId xmlns:a16="http://schemas.microsoft.com/office/drawing/2014/main" xmlns="" id="{7379BBAB-F990-4647-954E-3BAEBE6A2577}"/>
                  </a:ext>
                </a:extLst>
              </p:cNvPr>
              <p:cNvSpPr/>
              <p:nvPr/>
            </p:nvSpPr>
            <p:spPr>
              <a:xfrm>
                <a:off x="17978670" y="7053504"/>
                <a:ext cx="567698" cy="676950"/>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61" name="Shape 10357">
                <a:extLst>
                  <a:ext uri="{FF2B5EF4-FFF2-40B4-BE49-F238E27FC236}">
                    <a16:creationId xmlns:a16="http://schemas.microsoft.com/office/drawing/2014/main" xmlns="" id="{7D6548A9-DBD2-40AF-997C-D8EA81A92690}"/>
                  </a:ext>
                </a:extLst>
              </p:cNvPr>
              <p:cNvSpPr/>
              <p:nvPr/>
            </p:nvSpPr>
            <p:spPr>
              <a:xfrm>
                <a:off x="19346008" y="5826866"/>
                <a:ext cx="524618" cy="1049241"/>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62" name="Shape 10358">
                <a:extLst>
                  <a:ext uri="{FF2B5EF4-FFF2-40B4-BE49-F238E27FC236}">
                    <a16:creationId xmlns:a16="http://schemas.microsoft.com/office/drawing/2014/main" xmlns="" id="{1CA7E650-2260-4A04-ACE7-B4FFAE86BFA0}"/>
                  </a:ext>
                </a:extLst>
              </p:cNvPr>
              <p:cNvSpPr/>
              <p:nvPr/>
            </p:nvSpPr>
            <p:spPr>
              <a:xfrm>
                <a:off x="18888397" y="7193833"/>
                <a:ext cx="1013872" cy="761614"/>
              </a:xfrm>
              <a:custGeom>
                <a:avLst/>
                <a:gdLst/>
                <a:ahLst/>
                <a:cxnLst>
                  <a:cxn ang="0">
                    <a:pos x="wd2" y="hd2"/>
                  </a:cxn>
                  <a:cxn ang="5400000">
                    <a:pos x="wd2" y="hd2"/>
                  </a:cxn>
                  <a:cxn ang="10800000">
                    <a:pos x="wd2" y="hd2"/>
                  </a:cxn>
                  <a:cxn ang="16200000">
                    <a:pos x="wd2" y="hd2"/>
                  </a:cxn>
                </a:cxnLst>
                <a:rect l="0" t="0" r="r" b="b"/>
                <a:pathLst>
                  <a:path w="21600" h="21600" extrusionOk="0">
                    <a:moveTo>
                      <a:pt x="14377" y="10069"/>
                    </a:moveTo>
                    <a:cubicBezTo>
                      <a:pt x="13591" y="10069"/>
                      <a:pt x="12956" y="9222"/>
                      <a:pt x="12956" y="8178"/>
                    </a:cubicBezTo>
                    <a:cubicBezTo>
                      <a:pt x="12956" y="7133"/>
                      <a:pt x="13591" y="6286"/>
                      <a:pt x="14377" y="6286"/>
                    </a:cubicBezTo>
                    <a:cubicBezTo>
                      <a:pt x="15161" y="6286"/>
                      <a:pt x="15797" y="7133"/>
                      <a:pt x="15797" y="8178"/>
                    </a:cubicBezTo>
                    <a:cubicBezTo>
                      <a:pt x="15797" y="9222"/>
                      <a:pt x="15161" y="10069"/>
                      <a:pt x="14377" y="10069"/>
                    </a:cubicBezTo>
                    <a:close/>
                    <a:moveTo>
                      <a:pt x="9355" y="17542"/>
                    </a:moveTo>
                    <a:lnTo>
                      <a:pt x="6514" y="17542"/>
                    </a:lnTo>
                    <a:lnTo>
                      <a:pt x="6514" y="13759"/>
                    </a:lnTo>
                    <a:lnTo>
                      <a:pt x="9355" y="13759"/>
                    </a:lnTo>
                    <a:cubicBezTo>
                      <a:pt x="9355" y="13759"/>
                      <a:pt x="9355" y="17542"/>
                      <a:pt x="9355" y="17542"/>
                    </a:cubicBezTo>
                    <a:close/>
                    <a:moveTo>
                      <a:pt x="4885" y="17542"/>
                    </a:moveTo>
                    <a:lnTo>
                      <a:pt x="2045" y="17542"/>
                    </a:lnTo>
                    <a:lnTo>
                      <a:pt x="2045" y="13759"/>
                    </a:lnTo>
                    <a:lnTo>
                      <a:pt x="4885" y="13759"/>
                    </a:lnTo>
                    <a:cubicBezTo>
                      <a:pt x="4885" y="13759"/>
                      <a:pt x="4885" y="17542"/>
                      <a:pt x="4885" y="17542"/>
                    </a:cubicBezTo>
                    <a:close/>
                    <a:moveTo>
                      <a:pt x="14377" y="1737"/>
                    </a:moveTo>
                    <a:lnTo>
                      <a:pt x="7198" y="11684"/>
                    </a:lnTo>
                    <a:lnTo>
                      <a:pt x="624" y="11684"/>
                    </a:lnTo>
                    <a:lnTo>
                      <a:pt x="624" y="21600"/>
                    </a:lnTo>
                    <a:lnTo>
                      <a:pt x="12488" y="21600"/>
                    </a:lnTo>
                    <a:lnTo>
                      <a:pt x="12488" y="13750"/>
                    </a:lnTo>
                    <a:lnTo>
                      <a:pt x="16265" y="13750"/>
                    </a:lnTo>
                    <a:lnTo>
                      <a:pt x="16265" y="21600"/>
                    </a:lnTo>
                    <a:lnTo>
                      <a:pt x="20961" y="21600"/>
                    </a:lnTo>
                    <a:lnTo>
                      <a:pt x="20961" y="11747"/>
                    </a:lnTo>
                    <a:lnTo>
                      <a:pt x="21600" y="11747"/>
                    </a:lnTo>
                    <a:cubicBezTo>
                      <a:pt x="21600" y="11747"/>
                      <a:pt x="14377" y="1737"/>
                      <a:pt x="14377" y="1737"/>
                    </a:cubicBezTo>
                    <a:close/>
                    <a:moveTo>
                      <a:pt x="21585" y="9988"/>
                    </a:moveTo>
                    <a:lnTo>
                      <a:pt x="21585" y="10640"/>
                    </a:lnTo>
                    <a:lnTo>
                      <a:pt x="14376" y="652"/>
                    </a:lnTo>
                    <a:lnTo>
                      <a:pt x="6905" y="11004"/>
                    </a:lnTo>
                    <a:lnTo>
                      <a:pt x="0" y="11004"/>
                    </a:lnTo>
                    <a:lnTo>
                      <a:pt x="4124" y="5099"/>
                    </a:lnTo>
                    <a:lnTo>
                      <a:pt x="10696" y="5099"/>
                    </a:lnTo>
                    <a:lnTo>
                      <a:pt x="14376" y="0"/>
                    </a:lnTo>
                    <a:cubicBezTo>
                      <a:pt x="14376" y="0"/>
                      <a:pt x="21585" y="9988"/>
                      <a:pt x="21585" y="9988"/>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63" name="Shape 10359">
                <a:extLst>
                  <a:ext uri="{FF2B5EF4-FFF2-40B4-BE49-F238E27FC236}">
                    <a16:creationId xmlns:a16="http://schemas.microsoft.com/office/drawing/2014/main" xmlns="" id="{D07E73AF-7D31-41DB-8BBC-23A419E8E3AA}"/>
                  </a:ext>
                </a:extLst>
              </p:cNvPr>
              <p:cNvSpPr/>
              <p:nvPr/>
            </p:nvSpPr>
            <p:spPr>
              <a:xfrm>
                <a:off x="19929800" y="6617326"/>
                <a:ext cx="835508" cy="736695"/>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64" name="Shape 10360">
                <a:extLst>
                  <a:ext uri="{FF2B5EF4-FFF2-40B4-BE49-F238E27FC236}">
                    <a16:creationId xmlns:a16="http://schemas.microsoft.com/office/drawing/2014/main" xmlns="" id="{47FE6311-A654-454F-AFDF-F88B3879E0FF}"/>
                  </a:ext>
                </a:extLst>
              </p:cNvPr>
              <p:cNvSpPr/>
              <p:nvPr/>
            </p:nvSpPr>
            <p:spPr>
              <a:xfrm>
                <a:off x="16246756" y="8337735"/>
                <a:ext cx="1090495" cy="724858"/>
              </a:xfrm>
              <a:custGeom>
                <a:avLst/>
                <a:gdLst/>
                <a:ahLst/>
                <a:cxnLst>
                  <a:cxn ang="0">
                    <a:pos x="wd2" y="hd2"/>
                  </a:cxn>
                  <a:cxn ang="5400000">
                    <a:pos x="wd2" y="hd2"/>
                  </a:cxn>
                  <a:cxn ang="10800000">
                    <a:pos x="wd2" y="hd2"/>
                  </a:cxn>
                  <a:cxn ang="16200000">
                    <a:pos x="wd2" y="hd2"/>
                  </a:cxn>
                </a:cxnLst>
                <a:rect l="0" t="0" r="r" b="b"/>
                <a:pathLst>
                  <a:path w="21600" h="21423" extrusionOk="0">
                    <a:moveTo>
                      <a:pt x="17523" y="7527"/>
                    </a:moveTo>
                    <a:lnTo>
                      <a:pt x="16892" y="5510"/>
                    </a:lnTo>
                    <a:lnTo>
                      <a:pt x="16892" y="5510"/>
                    </a:lnTo>
                    <a:cubicBezTo>
                      <a:pt x="16891" y="5509"/>
                      <a:pt x="16891" y="5507"/>
                      <a:pt x="16891" y="5505"/>
                    </a:cubicBezTo>
                    <a:cubicBezTo>
                      <a:pt x="16543" y="4391"/>
                      <a:pt x="13689" y="5277"/>
                      <a:pt x="10517" y="7484"/>
                    </a:cubicBezTo>
                    <a:cubicBezTo>
                      <a:pt x="7344" y="9692"/>
                      <a:pt x="5056" y="12384"/>
                      <a:pt x="5404" y="13498"/>
                    </a:cubicBezTo>
                    <a:cubicBezTo>
                      <a:pt x="5404" y="13499"/>
                      <a:pt x="5405" y="13501"/>
                      <a:pt x="5405" y="13502"/>
                    </a:cubicBezTo>
                    <a:lnTo>
                      <a:pt x="5405" y="13503"/>
                    </a:lnTo>
                    <a:lnTo>
                      <a:pt x="5495" y="13791"/>
                    </a:lnTo>
                    <a:lnTo>
                      <a:pt x="0" y="14107"/>
                    </a:lnTo>
                    <a:lnTo>
                      <a:pt x="8178" y="0"/>
                    </a:lnTo>
                    <a:lnTo>
                      <a:pt x="21600" y="1182"/>
                    </a:lnTo>
                    <a:cubicBezTo>
                      <a:pt x="21600" y="1182"/>
                      <a:pt x="17523" y="7527"/>
                      <a:pt x="17523" y="7527"/>
                    </a:cubicBezTo>
                    <a:close/>
                    <a:moveTo>
                      <a:pt x="5685" y="19621"/>
                    </a:moveTo>
                    <a:cubicBezTo>
                      <a:pt x="5884" y="20257"/>
                      <a:pt x="5703" y="21011"/>
                      <a:pt x="5280" y="21306"/>
                    </a:cubicBezTo>
                    <a:cubicBezTo>
                      <a:pt x="4857" y="21600"/>
                      <a:pt x="4353" y="21323"/>
                      <a:pt x="4154" y="20686"/>
                    </a:cubicBezTo>
                    <a:cubicBezTo>
                      <a:pt x="4021" y="20261"/>
                      <a:pt x="4061" y="19785"/>
                      <a:pt x="4227" y="19427"/>
                    </a:cubicBezTo>
                    <a:lnTo>
                      <a:pt x="2645" y="14366"/>
                    </a:lnTo>
                    <a:lnTo>
                      <a:pt x="3561" y="14314"/>
                    </a:lnTo>
                    <a:lnTo>
                      <a:pt x="4992" y="18894"/>
                    </a:lnTo>
                    <a:cubicBezTo>
                      <a:pt x="5283" y="18935"/>
                      <a:pt x="5552" y="19195"/>
                      <a:pt x="5685" y="19621"/>
                    </a:cubicBezTo>
                    <a:close/>
                    <a:moveTo>
                      <a:pt x="17927" y="11804"/>
                    </a:moveTo>
                    <a:lnTo>
                      <a:pt x="16207" y="6303"/>
                    </a:lnTo>
                    <a:cubicBezTo>
                      <a:pt x="15632" y="6170"/>
                      <a:pt x="13695" y="6675"/>
                      <a:pt x="10877" y="8636"/>
                    </a:cubicBezTo>
                    <a:cubicBezTo>
                      <a:pt x="8057" y="10598"/>
                      <a:pt x="6553" y="12487"/>
                      <a:pt x="6252" y="13230"/>
                    </a:cubicBezTo>
                    <a:lnTo>
                      <a:pt x="7971" y="18731"/>
                    </a:lnTo>
                    <a:cubicBezTo>
                      <a:pt x="7971" y="18731"/>
                      <a:pt x="17927" y="11804"/>
                      <a:pt x="17927" y="11804"/>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65" name="Shape 10361">
                <a:extLst>
                  <a:ext uri="{FF2B5EF4-FFF2-40B4-BE49-F238E27FC236}">
                    <a16:creationId xmlns:a16="http://schemas.microsoft.com/office/drawing/2014/main" xmlns="" id="{5BDD438B-94B4-4E9D-9E5F-CE5E96E49E19}"/>
                  </a:ext>
                </a:extLst>
              </p:cNvPr>
              <p:cNvSpPr/>
              <p:nvPr/>
            </p:nvSpPr>
            <p:spPr>
              <a:xfrm>
                <a:off x="18047770" y="8576537"/>
                <a:ext cx="779625" cy="510039"/>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66" name="Shape 10362">
                <a:extLst>
                  <a:ext uri="{FF2B5EF4-FFF2-40B4-BE49-F238E27FC236}">
                    <a16:creationId xmlns:a16="http://schemas.microsoft.com/office/drawing/2014/main" xmlns="" id="{A50A25A0-3DC0-4B5B-98A8-36BD680E231A}"/>
                  </a:ext>
                </a:extLst>
              </p:cNvPr>
              <p:cNvSpPr/>
              <p:nvPr/>
            </p:nvSpPr>
            <p:spPr>
              <a:xfrm>
                <a:off x="18185043" y="7888307"/>
                <a:ext cx="532339" cy="532369"/>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8"/>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67" name="Shape 10363">
                <a:extLst>
                  <a:ext uri="{FF2B5EF4-FFF2-40B4-BE49-F238E27FC236}">
                    <a16:creationId xmlns:a16="http://schemas.microsoft.com/office/drawing/2014/main" xmlns="" id="{E48FBD68-871D-4A42-9FF9-FE4236BF6CB6}"/>
                  </a:ext>
                </a:extLst>
              </p:cNvPr>
              <p:cNvSpPr/>
              <p:nvPr/>
            </p:nvSpPr>
            <p:spPr>
              <a:xfrm>
                <a:off x="16563195" y="8572981"/>
                <a:ext cx="1358816" cy="1170612"/>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68" name="Shape 10364">
                <a:extLst>
                  <a:ext uri="{FF2B5EF4-FFF2-40B4-BE49-F238E27FC236}">
                    <a16:creationId xmlns:a16="http://schemas.microsoft.com/office/drawing/2014/main" xmlns="" id="{73A6FE24-4A43-4B55-A6AB-F58A7BCCABEE}"/>
                  </a:ext>
                </a:extLst>
              </p:cNvPr>
              <p:cNvSpPr/>
              <p:nvPr/>
            </p:nvSpPr>
            <p:spPr>
              <a:xfrm>
                <a:off x="20342609" y="4919818"/>
                <a:ext cx="795140" cy="828530"/>
              </a:xfrm>
              <a:custGeom>
                <a:avLst/>
                <a:gdLst/>
                <a:ahLst/>
                <a:cxnLst>
                  <a:cxn ang="0">
                    <a:pos x="wd2" y="hd2"/>
                  </a:cxn>
                  <a:cxn ang="5400000">
                    <a:pos x="wd2" y="hd2"/>
                  </a:cxn>
                  <a:cxn ang="10800000">
                    <a:pos x="wd2" y="hd2"/>
                  </a:cxn>
                  <a:cxn ang="16200000">
                    <a:pos x="wd2" y="hd2"/>
                  </a:cxn>
                </a:cxnLst>
                <a:rect l="0" t="0" r="r" b="b"/>
                <a:pathLst>
                  <a:path w="21600" h="21458" extrusionOk="0">
                    <a:moveTo>
                      <a:pt x="0" y="2367"/>
                    </a:moveTo>
                    <a:lnTo>
                      <a:pt x="8951" y="11157"/>
                    </a:lnTo>
                    <a:lnTo>
                      <a:pt x="11078" y="9188"/>
                    </a:lnTo>
                    <a:lnTo>
                      <a:pt x="6437" y="4635"/>
                    </a:lnTo>
                    <a:cubicBezTo>
                      <a:pt x="6796" y="4533"/>
                      <a:pt x="7134" y="4350"/>
                      <a:pt x="7402" y="4069"/>
                    </a:cubicBezTo>
                    <a:cubicBezTo>
                      <a:pt x="7936" y="3511"/>
                      <a:pt x="8097" y="2728"/>
                      <a:pt x="7933" y="1987"/>
                    </a:cubicBezTo>
                    <a:cubicBezTo>
                      <a:pt x="7919" y="1921"/>
                      <a:pt x="7902" y="1856"/>
                      <a:pt x="7882" y="1792"/>
                    </a:cubicBezTo>
                    <a:cubicBezTo>
                      <a:pt x="9084" y="1420"/>
                      <a:pt x="10285" y="1313"/>
                      <a:pt x="11432" y="1512"/>
                    </a:cubicBezTo>
                    <a:cubicBezTo>
                      <a:pt x="13324" y="1841"/>
                      <a:pt x="14949" y="2953"/>
                      <a:pt x="16131" y="4728"/>
                    </a:cubicBezTo>
                    <a:cubicBezTo>
                      <a:pt x="17973" y="7495"/>
                      <a:pt x="17832" y="11043"/>
                      <a:pt x="15877" y="13613"/>
                    </a:cubicBezTo>
                    <a:lnTo>
                      <a:pt x="14455" y="12303"/>
                    </a:lnTo>
                    <a:lnTo>
                      <a:pt x="15915" y="10862"/>
                    </a:lnTo>
                    <a:lnTo>
                      <a:pt x="15206" y="10209"/>
                    </a:lnTo>
                    <a:lnTo>
                      <a:pt x="9882" y="15464"/>
                    </a:lnTo>
                    <a:lnTo>
                      <a:pt x="10592" y="16118"/>
                    </a:lnTo>
                    <a:lnTo>
                      <a:pt x="12054" y="14674"/>
                    </a:lnTo>
                    <a:lnTo>
                      <a:pt x="14365" y="16801"/>
                    </a:lnTo>
                    <a:lnTo>
                      <a:pt x="11305" y="19822"/>
                    </a:lnTo>
                    <a:lnTo>
                      <a:pt x="13081" y="21458"/>
                    </a:lnTo>
                    <a:lnTo>
                      <a:pt x="21600" y="13048"/>
                    </a:lnTo>
                    <a:lnTo>
                      <a:pt x="19823" y="11412"/>
                    </a:lnTo>
                    <a:lnTo>
                      <a:pt x="17690" y="13518"/>
                    </a:lnTo>
                    <a:cubicBezTo>
                      <a:pt x="19379" y="10601"/>
                      <a:pt x="19335" y="6908"/>
                      <a:pt x="17380" y="3973"/>
                    </a:cubicBezTo>
                    <a:cubicBezTo>
                      <a:pt x="15971" y="1856"/>
                      <a:pt x="14006" y="526"/>
                      <a:pt x="11697" y="124"/>
                    </a:cubicBezTo>
                    <a:cubicBezTo>
                      <a:pt x="10165" y="-142"/>
                      <a:pt x="8574" y="24"/>
                      <a:pt x="7002" y="585"/>
                    </a:cubicBezTo>
                    <a:cubicBezTo>
                      <a:pt x="6059" y="-12"/>
                      <a:pt x="4773" y="95"/>
                      <a:pt x="3959" y="899"/>
                    </a:cubicBezTo>
                    <a:cubicBezTo>
                      <a:pt x="3722" y="1133"/>
                      <a:pt x="3552" y="1402"/>
                      <a:pt x="3440" y="1690"/>
                    </a:cubicBezTo>
                    <a:lnTo>
                      <a:pt x="2124" y="401"/>
                    </a:lnTo>
                    <a:lnTo>
                      <a:pt x="0" y="2367"/>
                    </a:lnTo>
                    <a:close/>
                    <a:moveTo>
                      <a:pt x="5023" y="1879"/>
                    </a:moveTo>
                    <a:cubicBezTo>
                      <a:pt x="5331" y="1567"/>
                      <a:pt x="5827" y="1505"/>
                      <a:pt x="6199" y="1742"/>
                    </a:cubicBezTo>
                    <a:cubicBezTo>
                      <a:pt x="6584" y="1986"/>
                      <a:pt x="6712" y="2467"/>
                      <a:pt x="6498" y="2857"/>
                    </a:cubicBezTo>
                    <a:cubicBezTo>
                      <a:pt x="6457" y="2939"/>
                      <a:pt x="6405" y="3017"/>
                      <a:pt x="6335" y="3086"/>
                    </a:cubicBezTo>
                    <a:cubicBezTo>
                      <a:pt x="5986" y="3431"/>
                      <a:pt x="5406" y="3440"/>
                      <a:pt x="5046" y="3108"/>
                    </a:cubicBezTo>
                    <a:cubicBezTo>
                      <a:pt x="4686" y="2775"/>
                      <a:pt x="4679" y="2227"/>
                      <a:pt x="5023" y="1879"/>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69" name="Shape 10365">
                <a:extLst>
                  <a:ext uri="{FF2B5EF4-FFF2-40B4-BE49-F238E27FC236}">
                    <a16:creationId xmlns:a16="http://schemas.microsoft.com/office/drawing/2014/main" xmlns="" id="{04FCB669-CBF7-4772-8C12-81493D618FDE}"/>
                  </a:ext>
                </a:extLst>
              </p:cNvPr>
              <p:cNvSpPr/>
              <p:nvPr/>
            </p:nvSpPr>
            <p:spPr>
              <a:xfrm>
                <a:off x="20885060" y="8052611"/>
                <a:ext cx="644759" cy="457021"/>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0" name="Shape 10366">
                <a:extLst>
                  <a:ext uri="{FF2B5EF4-FFF2-40B4-BE49-F238E27FC236}">
                    <a16:creationId xmlns:a16="http://schemas.microsoft.com/office/drawing/2014/main" xmlns="" id="{AB8B8094-995D-4385-A42D-1D4FE7975C25}"/>
                  </a:ext>
                </a:extLst>
              </p:cNvPr>
              <p:cNvSpPr/>
              <p:nvPr/>
            </p:nvSpPr>
            <p:spPr>
              <a:xfrm>
                <a:off x="20024899" y="5668217"/>
                <a:ext cx="715284" cy="79181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1" name="Shape 10367">
                <a:extLst>
                  <a:ext uri="{FF2B5EF4-FFF2-40B4-BE49-F238E27FC236}">
                    <a16:creationId xmlns:a16="http://schemas.microsoft.com/office/drawing/2014/main" xmlns="" id="{6988249C-9F5B-452A-A641-F8209A02D7BF}"/>
                  </a:ext>
                </a:extLst>
              </p:cNvPr>
              <p:cNvSpPr/>
              <p:nvPr/>
            </p:nvSpPr>
            <p:spPr>
              <a:xfrm>
                <a:off x="19982185" y="8448802"/>
                <a:ext cx="979707" cy="1152638"/>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72" name="Shape 10368">
                <a:extLst>
                  <a:ext uri="{FF2B5EF4-FFF2-40B4-BE49-F238E27FC236}">
                    <a16:creationId xmlns:a16="http://schemas.microsoft.com/office/drawing/2014/main" xmlns="" id="{884097DE-7DD7-46B1-8759-B614CB71D569}"/>
                  </a:ext>
                </a:extLst>
              </p:cNvPr>
              <p:cNvSpPr/>
              <p:nvPr/>
            </p:nvSpPr>
            <p:spPr>
              <a:xfrm>
                <a:off x="18752837" y="6832028"/>
                <a:ext cx="466519" cy="5390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3" name="Shape 10369">
                <a:extLst>
                  <a:ext uri="{FF2B5EF4-FFF2-40B4-BE49-F238E27FC236}">
                    <a16:creationId xmlns:a16="http://schemas.microsoft.com/office/drawing/2014/main" xmlns="" id="{F10A33AB-77C4-4DD9-A9EF-3EEC8CB73E0F}"/>
                  </a:ext>
                </a:extLst>
              </p:cNvPr>
              <p:cNvSpPr/>
              <p:nvPr/>
            </p:nvSpPr>
            <p:spPr>
              <a:xfrm>
                <a:off x="20044216" y="7525006"/>
                <a:ext cx="501644" cy="700166"/>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4" name="Shape 10370">
                <a:extLst>
                  <a:ext uri="{FF2B5EF4-FFF2-40B4-BE49-F238E27FC236}">
                    <a16:creationId xmlns:a16="http://schemas.microsoft.com/office/drawing/2014/main" xmlns="" id="{7F888C3A-EEBD-4398-9AD0-1DE23DBC0FE1}"/>
                  </a:ext>
                </a:extLst>
              </p:cNvPr>
              <p:cNvSpPr/>
              <p:nvPr/>
            </p:nvSpPr>
            <p:spPr>
              <a:xfrm>
                <a:off x="17425326" y="6394173"/>
                <a:ext cx="534330" cy="591503"/>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5" name="Shape 10371">
                <a:extLst>
                  <a:ext uri="{FF2B5EF4-FFF2-40B4-BE49-F238E27FC236}">
                    <a16:creationId xmlns:a16="http://schemas.microsoft.com/office/drawing/2014/main" xmlns="" id="{F47FA725-F7A7-49D2-AF44-4BE48BC48879}"/>
                  </a:ext>
                </a:extLst>
              </p:cNvPr>
              <p:cNvSpPr/>
              <p:nvPr/>
            </p:nvSpPr>
            <p:spPr>
              <a:xfrm>
                <a:off x="17176647" y="7642531"/>
                <a:ext cx="745364" cy="625836"/>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6" name="Shape 10372">
                <a:extLst>
                  <a:ext uri="{FF2B5EF4-FFF2-40B4-BE49-F238E27FC236}">
                    <a16:creationId xmlns:a16="http://schemas.microsoft.com/office/drawing/2014/main" xmlns="" id="{9E450E2D-0AD2-44EB-BA84-B99B26F8B5BD}"/>
                  </a:ext>
                </a:extLst>
              </p:cNvPr>
              <p:cNvSpPr/>
              <p:nvPr/>
            </p:nvSpPr>
            <p:spPr>
              <a:xfrm>
                <a:off x="18332165" y="5376385"/>
                <a:ext cx="863655" cy="789239"/>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7" name="Shape 10373">
                <a:extLst>
                  <a:ext uri="{FF2B5EF4-FFF2-40B4-BE49-F238E27FC236}">
                    <a16:creationId xmlns:a16="http://schemas.microsoft.com/office/drawing/2014/main" xmlns="" id="{3EBC5CC7-25E8-4EB0-AED2-54E6FAE6005D}"/>
                  </a:ext>
                </a:extLst>
              </p:cNvPr>
              <p:cNvSpPr/>
              <p:nvPr/>
            </p:nvSpPr>
            <p:spPr>
              <a:xfrm>
                <a:off x="16553265" y="7552802"/>
                <a:ext cx="513456" cy="632805"/>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8" name="Shape 10374">
                <a:extLst>
                  <a:ext uri="{FF2B5EF4-FFF2-40B4-BE49-F238E27FC236}">
                    <a16:creationId xmlns:a16="http://schemas.microsoft.com/office/drawing/2014/main" xmlns="" id="{078B44C5-19FF-49DD-9706-9939FD05E3FD}"/>
                  </a:ext>
                </a:extLst>
              </p:cNvPr>
              <p:cNvSpPr/>
              <p:nvPr/>
            </p:nvSpPr>
            <p:spPr>
              <a:xfrm>
                <a:off x="16997010" y="6816987"/>
                <a:ext cx="536497" cy="851591"/>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9" name="Shape 10375">
                <a:extLst>
                  <a:ext uri="{FF2B5EF4-FFF2-40B4-BE49-F238E27FC236}">
                    <a16:creationId xmlns:a16="http://schemas.microsoft.com/office/drawing/2014/main" xmlns="" id="{DD1C7E4C-7DE9-4310-9D6C-8C830BDD272D}"/>
                  </a:ext>
                </a:extLst>
              </p:cNvPr>
              <p:cNvSpPr/>
              <p:nvPr/>
            </p:nvSpPr>
            <p:spPr>
              <a:xfrm>
                <a:off x="17636361" y="4813029"/>
                <a:ext cx="520972" cy="676950"/>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0" name="Shape 10376">
                <a:extLst>
                  <a:ext uri="{FF2B5EF4-FFF2-40B4-BE49-F238E27FC236}">
                    <a16:creationId xmlns:a16="http://schemas.microsoft.com/office/drawing/2014/main" xmlns="" id="{C9A750D6-0F2A-465A-8263-E254703D2109}"/>
                  </a:ext>
                </a:extLst>
              </p:cNvPr>
              <p:cNvSpPr/>
              <p:nvPr/>
            </p:nvSpPr>
            <p:spPr>
              <a:xfrm>
                <a:off x="16445567" y="5853049"/>
                <a:ext cx="1109876" cy="786703"/>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1" name="Shape 10377">
                <a:extLst>
                  <a:ext uri="{FF2B5EF4-FFF2-40B4-BE49-F238E27FC236}">
                    <a16:creationId xmlns:a16="http://schemas.microsoft.com/office/drawing/2014/main" xmlns="" id="{C36529A6-9BA3-4218-9F0D-9AA9DADA3E58}"/>
                  </a:ext>
                </a:extLst>
              </p:cNvPr>
              <p:cNvSpPr/>
              <p:nvPr/>
            </p:nvSpPr>
            <p:spPr>
              <a:xfrm>
                <a:off x="20790050" y="5991829"/>
                <a:ext cx="864563" cy="744818"/>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2" name="Shape 10378">
                <a:extLst>
                  <a:ext uri="{FF2B5EF4-FFF2-40B4-BE49-F238E27FC236}">
                    <a16:creationId xmlns:a16="http://schemas.microsoft.com/office/drawing/2014/main" xmlns="" id="{87385B3D-B414-480B-8783-F22BFCB74C98}"/>
                  </a:ext>
                </a:extLst>
              </p:cNvPr>
              <p:cNvSpPr/>
              <p:nvPr/>
            </p:nvSpPr>
            <p:spPr>
              <a:xfrm>
                <a:off x="19313520" y="4966536"/>
                <a:ext cx="524618" cy="75013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3" name="Shape 10379">
                <a:extLst>
                  <a:ext uri="{FF2B5EF4-FFF2-40B4-BE49-F238E27FC236}">
                    <a16:creationId xmlns:a16="http://schemas.microsoft.com/office/drawing/2014/main" xmlns="" id="{4A8B98CC-E99E-409F-A939-8A3AF163A3A9}"/>
                  </a:ext>
                </a:extLst>
              </p:cNvPr>
              <p:cNvSpPr/>
              <p:nvPr/>
            </p:nvSpPr>
            <p:spPr>
              <a:xfrm>
                <a:off x="18944728" y="8112012"/>
                <a:ext cx="642361" cy="720763"/>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4" name="Shape 10380">
                <a:extLst>
                  <a:ext uri="{FF2B5EF4-FFF2-40B4-BE49-F238E27FC236}">
                    <a16:creationId xmlns:a16="http://schemas.microsoft.com/office/drawing/2014/main" xmlns="" id="{DABF96A6-C4FF-454F-ADFA-53C89724B5B7}"/>
                  </a:ext>
                </a:extLst>
              </p:cNvPr>
              <p:cNvSpPr/>
              <p:nvPr/>
            </p:nvSpPr>
            <p:spPr>
              <a:xfrm>
                <a:off x="15975650" y="5388230"/>
                <a:ext cx="779625" cy="510039"/>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5" name="Shape 10381">
                <a:extLst>
                  <a:ext uri="{FF2B5EF4-FFF2-40B4-BE49-F238E27FC236}">
                    <a16:creationId xmlns:a16="http://schemas.microsoft.com/office/drawing/2014/main" xmlns="" id="{0FA2162A-09E9-4F66-B91E-7FA6AD54BB1C}"/>
                  </a:ext>
                </a:extLst>
              </p:cNvPr>
              <p:cNvSpPr/>
              <p:nvPr/>
            </p:nvSpPr>
            <p:spPr>
              <a:xfrm>
                <a:off x="19403402" y="8407653"/>
                <a:ext cx="524618" cy="75013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6" name="Shape 10382">
                <a:extLst>
                  <a:ext uri="{FF2B5EF4-FFF2-40B4-BE49-F238E27FC236}">
                    <a16:creationId xmlns:a16="http://schemas.microsoft.com/office/drawing/2014/main" xmlns="" id="{6E8D6098-D174-4F35-86BD-3DC0B8E3A196}"/>
                  </a:ext>
                </a:extLst>
              </p:cNvPr>
              <p:cNvSpPr/>
              <p:nvPr/>
            </p:nvSpPr>
            <p:spPr>
              <a:xfrm>
                <a:off x="16734124" y="4497815"/>
                <a:ext cx="706826" cy="831591"/>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7" name="Shape 10383">
                <a:extLst>
                  <a:ext uri="{FF2B5EF4-FFF2-40B4-BE49-F238E27FC236}">
                    <a16:creationId xmlns:a16="http://schemas.microsoft.com/office/drawing/2014/main" xmlns="" id="{531B4AC3-B02D-40E5-A6B5-BADDD3F15A03}"/>
                  </a:ext>
                </a:extLst>
              </p:cNvPr>
              <p:cNvSpPr/>
              <p:nvPr/>
            </p:nvSpPr>
            <p:spPr>
              <a:xfrm>
                <a:off x="18326107" y="4525802"/>
                <a:ext cx="707797" cy="707801"/>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88" name="Shape 10384">
                <a:extLst>
                  <a:ext uri="{FF2B5EF4-FFF2-40B4-BE49-F238E27FC236}">
                    <a16:creationId xmlns:a16="http://schemas.microsoft.com/office/drawing/2014/main" xmlns="" id="{2565786F-1C25-4318-8F69-814AB44AAA4F}"/>
                  </a:ext>
                </a:extLst>
              </p:cNvPr>
              <p:cNvSpPr/>
              <p:nvPr/>
            </p:nvSpPr>
            <p:spPr>
              <a:xfrm>
                <a:off x="21178441" y="7084824"/>
                <a:ext cx="603784" cy="760236"/>
              </a:xfrm>
              <a:custGeom>
                <a:avLst/>
                <a:gdLst/>
                <a:ahLst/>
                <a:cxnLst>
                  <a:cxn ang="0">
                    <a:pos x="wd2" y="hd2"/>
                  </a:cxn>
                  <a:cxn ang="5400000">
                    <a:pos x="wd2" y="hd2"/>
                  </a:cxn>
                  <a:cxn ang="10800000">
                    <a:pos x="wd2" y="hd2"/>
                  </a:cxn>
                  <a:cxn ang="16200000">
                    <a:pos x="wd2" y="hd2"/>
                  </a:cxn>
                </a:cxnLst>
                <a:rect l="0" t="0" r="r" b="b"/>
                <a:pathLst>
                  <a:path w="21600" h="21600" extrusionOk="0">
                    <a:moveTo>
                      <a:pt x="4615" y="0"/>
                    </a:moveTo>
                    <a:lnTo>
                      <a:pt x="0" y="18854"/>
                    </a:lnTo>
                    <a:lnTo>
                      <a:pt x="17786" y="21600"/>
                    </a:lnTo>
                    <a:lnTo>
                      <a:pt x="21600" y="6017"/>
                    </a:lnTo>
                    <a:lnTo>
                      <a:pt x="18300" y="2113"/>
                    </a:lnTo>
                    <a:lnTo>
                      <a:pt x="4615" y="0"/>
                    </a:lnTo>
                    <a:close/>
                    <a:moveTo>
                      <a:pt x="9206" y="5215"/>
                    </a:moveTo>
                    <a:lnTo>
                      <a:pt x="15684" y="6215"/>
                    </a:lnTo>
                    <a:lnTo>
                      <a:pt x="15556" y="6735"/>
                    </a:lnTo>
                    <a:lnTo>
                      <a:pt x="9079" y="5735"/>
                    </a:lnTo>
                    <a:lnTo>
                      <a:pt x="9206" y="5215"/>
                    </a:lnTo>
                    <a:close/>
                    <a:moveTo>
                      <a:pt x="4712" y="9845"/>
                    </a:moveTo>
                    <a:lnTo>
                      <a:pt x="17667" y="11845"/>
                    </a:lnTo>
                    <a:lnTo>
                      <a:pt x="17544" y="12350"/>
                    </a:lnTo>
                    <a:lnTo>
                      <a:pt x="4588" y="10350"/>
                    </a:lnTo>
                    <a:lnTo>
                      <a:pt x="4712" y="9845"/>
                    </a:lnTo>
                    <a:close/>
                    <a:moveTo>
                      <a:pt x="4086" y="12402"/>
                    </a:moveTo>
                    <a:lnTo>
                      <a:pt x="17041" y="14402"/>
                    </a:lnTo>
                    <a:lnTo>
                      <a:pt x="16914" y="14923"/>
                    </a:lnTo>
                    <a:lnTo>
                      <a:pt x="3958" y="12923"/>
                    </a:lnTo>
                    <a:lnTo>
                      <a:pt x="4086" y="12402"/>
                    </a:lnTo>
                    <a:close/>
                    <a:moveTo>
                      <a:pt x="3460" y="14960"/>
                    </a:moveTo>
                    <a:lnTo>
                      <a:pt x="9938" y="15960"/>
                    </a:lnTo>
                    <a:lnTo>
                      <a:pt x="9810" y="16480"/>
                    </a:lnTo>
                    <a:lnTo>
                      <a:pt x="3332" y="15480"/>
                    </a:lnTo>
                    <a:lnTo>
                      <a:pt x="3460" y="14960"/>
                    </a:ln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9" name="Shape 10385">
                <a:extLst>
                  <a:ext uri="{FF2B5EF4-FFF2-40B4-BE49-F238E27FC236}">
                    <a16:creationId xmlns:a16="http://schemas.microsoft.com/office/drawing/2014/main" xmlns="" id="{D530AF7C-33CA-4AFE-A4B2-EDE075F36A6D}"/>
                  </a:ext>
                </a:extLst>
              </p:cNvPr>
              <p:cNvSpPr/>
              <p:nvPr/>
            </p:nvSpPr>
            <p:spPr>
              <a:xfrm>
                <a:off x="20665453" y="6815822"/>
                <a:ext cx="608341" cy="1291941"/>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90" name="Shape 10386">
                <a:extLst>
                  <a:ext uri="{FF2B5EF4-FFF2-40B4-BE49-F238E27FC236}">
                    <a16:creationId xmlns:a16="http://schemas.microsoft.com/office/drawing/2014/main" xmlns="" id="{B19DACF6-7D7C-4062-92D9-FE8B6270966A}"/>
                  </a:ext>
                </a:extLst>
              </p:cNvPr>
              <p:cNvSpPr/>
              <p:nvPr/>
            </p:nvSpPr>
            <p:spPr>
              <a:xfrm>
                <a:off x="19887198" y="8018535"/>
                <a:ext cx="374756" cy="41485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91" name="Shape 10387">
                <a:extLst>
                  <a:ext uri="{FF2B5EF4-FFF2-40B4-BE49-F238E27FC236}">
                    <a16:creationId xmlns:a16="http://schemas.microsoft.com/office/drawing/2014/main" xmlns="" id="{74550949-82F8-48C6-8020-D4C1F486A4E9}"/>
                  </a:ext>
                </a:extLst>
              </p:cNvPr>
              <p:cNvSpPr/>
              <p:nvPr/>
            </p:nvSpPr>
            <p:spPr>
              <a:xfrm>
                <a:off x="19258042" y="4159750"/>
                <a:ext cx="657992" cy="400025"/>
              </a:xfrm>
              <a:custGeom>
                <a:avLst/>
                <a:gdLst/>
                <a:ahLst/>
                <a:cxnLst>
                  <a:cxn ang="0">
                    <a:pos x="wd2" y="hd2"/>
                  </a:cxn>
                  <a:cxn ang="5400000">
                    <a:pos x="wd2" y="hd2"/>
                  </a:cxn>
                  <a:cxn ang="10800000">
                    <a:pos x="wd2" y="hd2"/>
                  </a:cxn>
                  <a:cxn ang="16200000">
                    <a:pos x="wd2" y="hd2"/>
                  </a:cxn>
                </a:cxnLst>
                <a:rect l="0" t="0" r="r" b="b"/>
                <a:pathLst>
                  <a:path w="21600" h="21600" extrusionOk="0">
                    <a:moveTo>
                      <a:pt x="0" y="14177"/>
                    </a:moveTo>
                    <a:cubicBezTo>
                      <a:pt x="2527" y="15134"/>
                      <a:pt x="4222" y="12910"/>
                      <a:pt x="5702" y="10575"/>
                    </a:cubicBezTo>
                    <a:cubicBezTo>
                      <a:pt x="6408" y="13676"/>
                      <a:pt x="7362" y="16803"/>
                      <a:pt x="9837" y="17741"/>
                    </a:cubicBezTo>
                    <a:cubicBezTo>
                      <a:pt x="12287" y="18668"/>
                      <a:pt x="13976" y="16590"/>
                      <a:pt x="15426" y="14335"/>
                    </a:cubicBezTo>
                    <a:cubicBezTo>
                      <a:pt x="16134" y="17472"/>
                      <a:pt x="17076" y="20652"/>
                      <a:pt x="19580" y="21600"/>
                    </a:cubicBezTo>
                    <a:lnTo>
                      <a:pt x="19844" y="19777"/>
                    </a:lnTo>
                    <a:cubicBezTo>
                      <a:pt x="17724" y="18974"/>
                      <a:pt x="17025" y="16203"/>
                      <a:pt x="16319" y="12948"/>
                    </a:cubicBezTo>
                    <a:cubicBezTo>
                      <a:pt x="17841" y="10489"/>
                      <a:pt x="19206" y="8437"/>
                      <a:pt x="21352" y="9250"/>
                    </a:cubicBezTo>
                    <a:lnTo>
                      <a:pt x="21600" y="7421"/>
                    </a:lnTo>
                    <a:cubicBezTo>
                      <a:pt x="19073" y="6464"/>
                      <a:pt x="17365" y="8691"/>
                      <a:pt x="15886" y="11025"/>
                    </a:cubicBezTo>
                    <a:cubicBezTo>
                      <a:pt x="15180" y="7926"/>
                      <a:pt x="14217" y="4820"/>
                      <a:pt x="11744" y="3883"/>
                    </a:cubicBezTo>
                    <a:cubicBezTo>
                      <a:pt x="9288" y="2954"/>
                      <a:pt x="7622" y="5034"/>
                      <a:pt x="6170" y="7294"/>
                    </a:cubicBezTo>
                    <a:cubicBezTo>
                      <a:pt x="5461" y="4152"/>
                      <a:pt x="4515" y="950"/>
                      <a:pt x="2007" y="0"/>
                    </a:cubicBezTo>
                    <a:cubicBezTo>
                      <a:pt x="2007" y="0"/>
                      <a:pt x="1755" y="1827"/>
                      <a:pt x="1755" y="1827"/>
                    </a:cubicBezTo>
                    <a:cubicBezTo>
                      <a:pt x="3881" y="2632"/>
                      <a:pt x="4569" y="5413"/>
                      <a:pt x="5277" y="8681"/>
                    </a:cubicBezTo>
                    <a:cubicBezTo>
                      <a:pt x="3758" y="11134"/>
                      <a:pt x="2389" y="13165"/>
                      <a:pt x="247" y="12354"/>
                    </a:cubicBezTo>
                    <a:lnTo>
                      <a:pt x="0" y="14177"/>
                    </a:lnTo>
                    <a:close/>
                    <a:moveTo>
                      <a:pt x="608" y="11260"/>
                    </a:moveTo>
                    <a:cubicBezTo>
                      <a:pt x="982" y="11395"/>
                      <a:pt x="1324" y="11420"/>
                      <a:pt x="1648" y="11361"/>
                    </a:cubicBezTo>
                    <a:cubicBezTo>
                      <a:pt x="1648" y="11361"/>
                      <a:pt x="2736" y="3679"/>
                      <a:pt x="2736" y="3679"/>
                    </a:cubicBezTo>
                    <a:cubicBezTo>
                      <a:pt x="2461" y="3396"/>
                      <a:pt x="2144" y="3178"/>
                      <a:pt x="1771" y="3033"/>
                    </a:cubicBezTo>
                    <a:lnTo>
                      <a:pt x="608" y="11260"/>
                    </a:lnTo>
                    <a:close/>
                    <a:moveTo>
                      <a:pt x="2743" y="10793"/>
                    </a:moveTo>
                    <a:cubicBezTo>
                      <a:pt x="3150" y="10493"/>
                      <a:pt x="3533" y="10048"/>
                      <a:pt x="3917" y="9511"/>
                    </a:cubicBezTo>
                    <a:lnTo>
                      <a:pt x="4287" y="6924"/>
                    </a:lnTo>
                    <a:cubicBezTo>
                      <a:pt x="4087" y="6170"/>
                      <a:pt x="3864" y="5496"/>
                      <a:pt x="3579" y="4938"/>
                    </a:cubicBezTo>
                    <a:lnTo>
                      <a:pt x="2743" y="10793"/>
                    </a:lnTo>
                    <a:close/>
                    <a:moveTo>
                      <a:pt x="6595" y="9188"/>
                    </a:moveTo>
                    <a:cubicBezTo>
                      <a:pt x="8063" y="6828"/>
                      <a:pt x="9414" y="4924"/>
                      <a:pt x="11495" y="5712"/>
                    </a:cubicBezTo>
                    <a:cubicBezTo>
                      <a:pt x="13593" y="6506"/>
                      <a:pt x="14292" y="9219"/>
                      <a:pt x="14990" y="12431"/>
                    </a:cubicBezTo>
                    <a:cubicBezTo>
                      <a:pt x="13526" y="14784"/>
                      <a:pt x="12177" y="16704"/>
                      <a:pt x="10101" y="15917"/>
                    </a:cubicBezTo>
                    <a:cubicBezTo>
                      <a:pt x="8003" y="15123"/>
                      <a:pt x="7294" y="12399"/>
                      <a:pt x="6595" y="9188"/>
                    </a:cubicBezTo>
                    <a:close/>
                    <a:moveTo>
                      <a:pt x="7938" y="11422"/>
                    </a:moveTo>
                    <a:cubicBezTo>
                      <a:pt x="8176" y="12303"/>
                      <a:pt x="8447" y="13084"/>
                      <a:pt x="8788" y="13733"/>
                    </a:cubicBezTo>
                    <a:lnTo>
                      <a:pt x="9770" y="6683"/>
                    </a:lnTo>
                    <a:cubicBezTo>
                      <a:pt x="9292" y="7022"/>
                      <a:pt x="8844" y="7536"/>
                      <a:pt x="8395" y="8157"/>
                    </a:cubicBezTo>
                    <a:lnTo>
                      <a:pt x="7938" y="11422"/>
                    </a:lnTo>
                    <a:close/>
                    <a:moveTo>
                      <a:pt x="9753" y="14444"/>
                    </a:moveTo>
                    <a:cubicBezTo>
                      <a:pt x="9947" y="14585"/>
                      <a:pt x="10156" y="14700"/>
                      <a:pt x="10391" y="14785"/>
                    </a:cubicBezTo>
                    <a:cubicBezTo>
                      <a:pt x="10509" y="14829"/>
                      <a:pt x="10624" y="14858"/>
                      <a:pt x="10737" y="14880"/>
                    </a:cubicBezTo>
                    <a:lnTo>
                      <a:pt x="11912" y="6809"/>
                    </a:lnTo>
                    <a:cubicBezTo>
                      <a:pt x="11804" y="6751"/>
                      <a:pt x="11691" y="6700"/>
                      <a:pt x="11572" y="6657"/>
                    </a:cubicBezTo>
                    <a:cubicBezTo>
                      <a:pt x="11338" y="6572"/>
                      <a:pt x="11118" y="6530"/>
                      <a:pt x="10904" y="6522"/>
                    </a:cubicBezTo>
                    <a:lnTo>
                      <a:pt x="9753" y="14444"/>
                    </a:lnTo>
                    <a:close/>
                    <a:moveTo>
                      <a:pt x="11819" y="15088"/>
                    </a:moveTo>
                    <a:cubicBezTo>
                      <a:pt x="12255" y="14876"/>
                      <a:pt x="12659" y="14511"/>
                      <a:pt x="13056" y="14038"/>
                    </a:cubicBezTo>
                    <a:lnTo>
                      <a:pt x="13679" y="9709"/>
                    </a:lnTo>
                    <a:cubicBezTo>
                      <a:pt x="13451" y="9006"/>
                      <a:pt x="13187" y="8394"/>
                      <a:pt x="12852" y="7898"/>
                    </a:cubicBezTo>
                    <a:lnTo>
                      <a:pt x="11819" y="15088"/>
                    </a:lnTo>
                    <a:close/>
                    <a:moveTo>
                      <a:pt x="17315" y="14655"/>
                    </a:moveTo>
                    <a:cubicBezTo>
                      <a:pt x="17522" y="15364"/>
                      <a:pt x="17751" y="15987"/>
                      <a:pt x="18038" y="16501"/>
                    </a:cubicBezTo>
                    <a:lnTo>
                      <a:pt x="18774" y="10835"/>
                    </a:lnTo>
                    <a:cubicBezTo>
                      <a:pt x="18379" y="11153"/>
                      <a:pt x="18008" y="11606"/>
                      <a:pt x="17639" y="12150"/>
                    </a:cubicBezTo>
                    <a:lnTo>
                      <a:pt x="17315" y="14655"/>
                    </a:lnTo>
                    <a:close/>
                    <a:moveTo>
                      <a:pt x="19142" y="17799"/>
                    </a:moveTo>
                    <a:cubicBezTo>
                      <a:pt x="19411" y="18060"/>
                      <a:pt x="19719" y="18258"/>
                      <a:pt x="20080" y="18383"/>
                    </a:cubicBezTo>
                    <a:lnTo>
                      <a:pt x="21155" y="10467"/>
                    </a:lnTo>
                    <a:cubicBezTo>
                      <a:pt x="20792" y="10352"/>
                      <a:pt x="20458" y="10341"/>
                      <a:pt x="20145" y="10409"/>
                    </a:cubicBezTo>
                    <a:cubicBezTo>
                      <a:pt x="20145" y="10409"/>
                      <a:pt x="19142" y="17799"/>
                      <a:pt x="19142" y="17799"/>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92" name="Shape 10388">
                <a:extLst>
                  <a:ext uri="{FF2B5EF4-FFF2-40B4-BE49-F238E27FC236}">
                    <a16:creationId xmlns:a16="http://schemas.microsoft.com/office/drawing/2014/main" xmlns="" id="{F56BC251-CFE2-4969-8687-061E3AC2A2BB}"/>
                  </a:ext>
                </a:extLst>
              </p:cNvPr>
              <p:cNvSpPr/>
              <p:nvPr/>
            </p:nvSpPr>
            <p:spPr>
              <a:xfrm>
                <a:off x="18647199" y="4108806"/>
                <a:ext cx="356298" cy="370280"/>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93" name="Shape 10389">
                <a:extLst>
                  <a:ext uri="{FF2B5EF4-FFF2-40B4-BE49-F238E27FC236}">
                    <a16:creationId xmlns:a16="http://schemas.microsoft.com/office/drawing/2014/main" xmlns="" id="{8E6660D1-1568-4777-9A52-AFC40A8AFB71}"/>
                  </a:ext>
                </a:extLst>
              </p:cNvPr>
              <p:cNvSpPr/>
              <p:nvPr/>
            </p:nvSpPr>
            <p:spPr>
              <a:xfrm>
                <a:off x="17493485" y="4180654"/>
                <a:ext cx="832625" cy="547837"/>
              </a:xfrm>
              <a:custGeom>
                <a:avLst/>
                <a:gdLst/>
                <a:ahLst/>
                <a:cxnLst>
                  <a:cxn ang="0">
                    <a:pos x="wd2" y="hd2"/>
                  </a:cxn>
                  <a:cxn ang="5400000">
                    <a:pos x="wd2" y="hd2"/>
                  </a:cxn>
                  <a:cxn ang="10800000">
                    <a:pos x="wd2" y="hd2"/>
                  </a:cxn>
                  <a:cxn ang="16200000">
                    <a:pos x="wd2" y="hd2"/>
                  </a:cxn>
                </a:cxnLst>
                <a:rect l="0" t="0" r="r" b="b"/>
                <a:pathLst>
                  <a:path w="21340" h="21208" extrusionOk="0">
                    <a:moveTo>
                      <a:pt x="3532" y="6467"/>
                    </a:moveTo>
                    <a:lnTo>
                      <a:pt x="5654" y="19318"/>
                    </a:lnTo>
                    <a:lnTo>
                      <a:pt x="17808" y="14741"/>
                    </a:lnTo>
                    <a:lnTo>
                      <a:pt x="15687" y="1890"/>
                    </a:lnTo>
                    <a:cubicBezTo>
                      <a:pt x="15687" y="1890"/>
                      <a:pt x="3532" y="6467"/>
                      <a:pt x="3532" y="6467"/>
                    </a:cubicBezTo>
                    <a:close/>
                    <a:moveTo>
                      <a:pt x="2391" y="11284"/>
                    </a:moveTo>
                    <a:lnTo>
                      <a:pt x="3148" y="15874"/>
                    </a:lnTo>
                    <a:cubicBezTo>
                      <a:pt x="3190" y="16128"/>
                      <a:pt x="3360" y="16282"/>
                      <a:pt x="3528" y="16218"/>
                    </a:cubicBezTo>
                    <a:cubicBezTo>
                      <a:pt x="3696" y="16155"/>
                      <a:pt x="3798" y="15899"/>
                      <a:pt x="3756" y="15645"/>
                    </a:cubicBezTo>
                    <a:lnTo>
                      <a:pt x="2999" y="11056"/>
                    </a:lnTo>
                    <a:cubicBezTo>
                      <a:pt x="2957" y="10802"/>
                      <a:pt x="2787" y="10648"/>
                      <a:pt x="2619" y="10711"/>
                    </a:cubicBezTo>
                    <a:cubicBezTo>
                      <a:pt x="2451" y="10774"/>
                      <a:pt x="2349" y="11031"/>
                      <a:pt x="2391" y="11284"/>
                    </a:cubicBezTo>
                    <a:close/>
                    <a:moveTo>
                      <a:pt x="19102" y="6941"/>
                    </a:moveTo>
                    <a:cubicBezTo>
                      <a:pt x="18977" y="6181"/>
                      <a:pt x="18467" y="5718"/>
                      <a:pt x="17963" y="5908"/>
                    </a:cubicBezTo>
                    <a:cubicBezTo>
                      <a:pt x="17460" y="6097"/>
                      <a:pt x="17154" y="6868"/>
                      <a:pt x="17279" y="7628"/>
                    </a:cubicBezTo>
                    <a:cubicBezTo>
                      <a:pt x="17405" y="8388"/>
                      <a:pt x="17914" y="8851"/>
                      <a:pt x="18418" y="8661"/>
                    </a:cubicBezTo>
                    <a:cubicBezTo>
                      <a:pt x="18922" y="8472"/>
                      <a:pt x="19228" y="7701"/>
                      <a:pt x="19102" y="6941"/>
                    </a:cubicBezTo>
                    <a:close/>
                    <a:moveTo>
                      <a:pt x="19484" y="1435"/>
                    </a:moveTo>
                    <a:lnTo>
                      <a:pt x="21303" y="12450"/>
                    </a:lnTo>
                    <a:cubicBezTo>
                      <a:pt x="21470" y="13464"/>
                      <a:pt x="21062" y="14490"/>
                      <a:pt x="20390" y="14743"/>
                    </a:cubicBezTo>
                    <a:lnTo>
                      <a:pt x="3374" y="21151"/>
                    </a:lnTo>
                    <a:cubicBezTo>
                      <a:pt x="2703" y="21404"/>
                      <a:pt x="2023" y="20787"/>
                      <a:pt x="1856" y="19773"/>
                    </a:cubicBezTo>
                    <a:lnTo>
                      <a:pt x="37" y="8758"/>
                    </a:lnTo>
                    <a:cubicBezTo>
                      <a:pt x="-130" y="7745"/>
                      <a:pt x="279" y="6718"/>
                      <a:pt x="950" y="6465"/>
                    </a:cubicBezTo>
                    <a:lnTo>
                      <a:pt x="17966" y="57"/>
                    </a:lnTo>
                    <a:cubicBezTo>
                      <a:pt x="18637" y="-196"/>
                      <a:pt x="19317" y="421"/>
                      <a:pt x="19484" y="143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94" name="Shape 10390">
                <a:extLst>
                  <a:ext uri="{FF2B5EF4-FFF2-40B4-BE49-F238E27FC236}">
                    <a16:creationId xmlns:a16="http://schemas.microsoft.com/office/drawing/2014/main" xmlns="" id="{58702E51-4D4D-4E33-B88D-FB2716DDE4FF}"/>
                  </a:ext>
                </a:extLst>
              </p:cNvPr>
              <p:cNvSpPr/>
              <p:nvPr/>
            </p:nvSpPr>
            <p:spPr>
              <a:xfrm>
                <a:off x="18126035" y="6224102"/>
                <a:ext cx="1086986" cy="582354"/>
              </a:xfrm>
              <a:custGeom>
                <a:avLst/>
                <a:gdLst/>
                <a:ahLst/>
                <a:cxnLst>
                  <a:cxn ang="0">
                    <a:pos x="wd2" y="hd2"/>
                  </a:cxn>
                  <a:cxn ang="5400000">
                    <a:pos x="wd2" y="hd2"/>
                  </a:cxn>
                  <a:cxn ang="10800000">
                    <a:pos x="wd2" y="hd2"/>
                  </a:cxn>
                  <a:cxn ang="16200000">
                    <a:pos x="wd2" y="hd2"/>
                  </a:cxn>
                </a:cxnLst>
                <a:rect l="0" t="0" r="r" b="b"/>
                <a:pathLst>
                  <a:path w="21600" h="21586" extrusionOk="0">
                    <a:moveTo>
                      <a:pt x="16536" y="15317"/>
                    </a:moveTo>
                    <a:lnTo>
                      <a:pt x="16511" y="12603"/>
                    </a:lnTo>
                    <a:lnTo>
                      <a:pt x="16510" y="12603"/>
                    </a:lnTo>
                    <a:cubicBezTo>
                      <a:pt x="16510" y="12601"/>
                      <a:pt x="16511" y="12598"/>
                      <a:pt x="16511" y="12596"/>
                    </a:cubicBezTo>
                    <a:cubicBezTo>
                      <a:pt x="16497" y="11097"/>
                      <a:pt x="13851" y="9967"/>
                      <a:pt x="10600" y="10073"/>
                    </a:cubicBezTo>
                    <a:cubicBezTo>
                      <a:pt x="7350" y="10179"/>
                      <a:pt x="4727" y="11481"/>
                      <a:pt x="4741" y="12979"/>
                    </a:cubicBezTo>
                    <a:cubicBezTo>
                      <a:pt x="4741" y="12982"/>
                      <a:pt x="4741" y="12984"/>
                      <a:pt x="4741" y="12986"/>
                    </a:cubicBezTo>
                    <a:lnTo>
                      <a:pt x="4741" y="12986"/>
                    </a:lnTo>
                    <a:lnTo>
                      <a:pt x="4744" y="13374"/>
                    </a:lnTo>
                    <a:lnTo>
                      <a:pt x="0" y="9650"/>
                    </a:lnTo>
                    <a:lnTo>
                      <a:pt x="10506" y="0"/>
                    </a:lnTo>
                    <a:lnTo>
                      <a:pt x="21600" y="11274"/>
                    </a:lnTo>
                    <a:cubicBezTo>
                      <a:pt x="21600" y="11274"/>
                      <a:pt x="16536" y="15317"/>
                      <a:pt x="16536" y="15317"/>
                    </a:cubicBezTo>
                    <a:close/>
                    <a:moveTo>
                      <a:pt x="3433" y="20010"/>
                    </a:moveTo>
                    <a:cubicBezTo>
                      <a:pt x="3441" y="20866"/>
                      <a:pt x="3096" y="21572"/>
                      <a:pt x="2663" y="21586"/>
                    </a:cubicBezTo>
                    <a:cubicBezTo>
                      <a:pt x="2229" y="21600"/>
                      <a:pt x="1871" y="20917"/>
                      <a:pt x="1863" y="20061"/>
                    </a:cubicBezTo>
                    <a:cubicBezTo>
                      <a:pt x="1858" y="19488"/>
                      <a:pt x="2012" y="18988"/>
                      <a:pt x="2243" y="18712"/>
                    </a:cubicBezTo>
                    <a:lnTo>
                      <a:pt x="2180" y="11901"/>
                    </a:lnTo>
                    <a:lnTo>
                      <a:pt x="2970" y="12521"/>
                    </a:lnTo>
                    <a:lnTo>
                      <a:pt x="3028" y="18686"/>
                    </a:lnTo>
                    <a:cubicBezTo>
                      <a:pt x="3264" y="18947"/>
                      <a:pt x="3427" y="19437"/>
                      <a:pt x="3433" y="20010"/>
                    </a:cubicBezTo>
                    <a:close/>
                    <a:moveTo>
                      <a:pt x="15799" y="20383"/>
                    </a:moveTo>
                    <a:lnTo>
                      <a:pt x="15729" y="12978"/>
                    </a:lnTo>
                    <a:cubicBezTo>
                      <a:pt x="15274" y="12403"/>
                      <a:pt x="13503" y="11530"/>
                      <a:pt x="10615" y="11624"/>
                    </a:cubicBezTo>
                    <a:cubicBezTo>
                      <a:pt x="7726" y="11718"/>
                      <a:pt x="5972" y="12706"/>
                      <a:pt x="5529" y="13310"/>
                    </a:cubicBezTo>
                    <a:lnTo>
                      <a:pt x="5598" y="20715"/>
                    </a:lnTo>
                    <a:cubicBezTo>
                      <a:pt x="5598" y="20715"/>
                      <a:pt x="15799" y="20383"/>
                      <a:pt x="15799" y="2038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95" name="Shape 10391">
                <a:extLst>
                  <a:ext uri="{FF2B5EF4-FFF2-40B4-BE49-F238E27FC236}">
                    <a16:creationId xmlns:a16="http://schemas.microsoft.com/office/drawing/2014/main" xmlns="" id="{C877BB75-E6B3-468E-B408-A8A1089CC1AD}"/>
                  </a:ext>
                </a:extLst>
              </p:cNvPr>
              <p:cNvSpPr/>
              <p:nvPr/>
            </p:nvSpPr>
            <p:spPr>
              <a:xfrm>
                <a:off x="15698648" y="7668441"/>
                <a:ext cx="845762" cy="398249"/>
              </a:xfrm>
              <a:custGeom>
                <a:avLst/>
                <a:gdLst/>
                <a:ahLst/>
                <a:cxnLst>
                  <a:cxn ang="0">
                    <a:pos x="wd2" y="hd2"/>
                  </a:cxn>
                  <a:cxn ang="5400000">
                    <a:pos x="wd2" y="hd2"/>
                  </a:cxn>
                  <a:cxn ang="10800000">
                    <a:pos x="wd2" y="hd2"/>
                  </a:cxn>
                  <a:cxn ang="16200000">
                    <a:pos x="wd2" y="hd2"/>
                  </a:cxn>
                </a:cxnLst>
                <a:rect l="0" t="0" r="r" b="b"/>
                <a:pathLst>
                  <a:path w="21600" h="21600" extrusionOk="0">
                    <a:moveTo>
                      <a:pt x="20754" y="0"/>
                    </a:moveTo>
                    <a:lnTo>
                      <a:pt x="19029" y="1406"/>
                    </a:lnTo>
                    <a:cubicBezTo>
                      <a:pt x="19054" y="1548"/>
                      <a:pt x="19310" y="2958"/>
                      <a:pt x="19310" y="2958"/>
                    </a:cubicBezTo>
                    <a:lnTo>
                      <a:pt x="19147" y="3091"/>
                    </a:lnTo>
                    <a:lnTo>
                      <a:pt x="18865" y="1540"/>
                    </a:lnTo>
                    <a:lnTo>
                      <a:pt x="18111" y="2155"/>
                    </a:lnTo>
                    <a:cubicBezTo>
                      <a:pt x="18136" y="2291"/>
                      <a:pt x="18318" y="3295"/>
                      <a:pt x="18318" y="3295"/>
                    </a:cubicBezTo>
                    <a:lnTo>
                      <a:pt x="18155" y="3428"/>
                    </a:lnTo>
                    <a:lnTo>
                      <a:pt x="17947" y="2288"/>
                    </a:lnTo>
                    <a:lnTo>
                      <a:pt x="17193" y="2903"/>
                    </a:lnTo>
                    <a:cubicBezTo>
                      <a:pt x="17219" y="3044"/>
                      <a:pt x="17474" y="4455"/>
                      <a:pt x="17474" y="4455"/>
                    </a:cubicBezTo>
                    <a:lnTo>
                      <a:pt x="17311" y="4587"/>
                    </a:lnTo>
                    <a:lnTo>
                      <a:pt x="17030" y="3036"/>
                    </a:lnTo>
                    <a:lnTo>
                      <a:pt x="16275" y="3652"/>
                    </a:lnTo>
                    <a:cubicBezTo>
                      <a:pt x="16299" y="3788"/>
                      <a:pt x="16482" y="4792"/>
                      <a:pt x="16482" y="4792"/>
                    </a:cubicBezTo>
                    <a:lnTo>
                      <a:pt x="16318" y="4925"/>
                    </a:lnTo>
                    <a:lnTo>
                      <a:pt x="16111" y="3785"/>
                    </a:lnTo>
                    <a:lnTo>
                      <a:pt x="15357" y="4400"/>
                    </a:lnTo>
                    <a:cubicBezTo>
                      <a:pt x="15383" y="4541"/>
                      <a:pt x="15639" y="5951"/>
                      <a:pt x="15639" y="5951"/>
                    </a:cubicBezTo>
                    <a:lnTo>
                      <a:pt x="15475" y="6085"/>
                    </a:lnTo>
                    <a:lnTo>
                      <a:pt x="15193" y="4533"/>
                    </a:lnTo>
                    <a:lnTo>
                      <a:pt x="14439" y="5148"/>
                    </a:lnTo>
                    <a:cubicBezTo>
                      <a:pt x="14464" y="5284"/>
                      <a:pt x="14647" y="6288"/>
                      <a:pt x="14647" y="6288"/>
                    </a:cubicBezTo>
                    <a:lnTo>
                      <a:pt x="14483" y="6421"/>
                    </a:lnTo>
                    <a:lnTo>
                      <a:pt x="14275" y="5281"/>
                    </a:lnTo>
                    <a:lnTo>
                      <a:pt x="13522" y="5896"/>
                    </a:lnTo>
                    <a:cubicBezTo>
                      <a:pt x="13547" y="6037"/>
                      <a:pt x="13802" y="7448"/>
                      <a:pt x="13802" y="7448"/>
                    </a:cubicBezTo>
                    <a:lnTo>
                      <a:pt x="13638" y="7582"/>
                    </a:lnTo>
                    <a:lnTo>
                      <a:pt x="13358" y="6029"/>
                    </a:lnTo>
                    <a:lnTo>
                      <a:pt x="12603" y="6645"/>
                    </a:lnTo>
                    <a:cubicBezTo>
                      <a:pt x="12628" y="6781"/>
                      <a:pt x="12810" y="7785"/>
                      <a:pt x="12810" y="7785"/>
                    </a:cubicBezTo>
                    <a:lnTo>
                      <a:pt x="12646" y="7919"/>
                    </a:lnTo>
                    <a:lnTo>
                      <a:pt x="12439" y="6778"/>
                    </a:lnTo>
                    <a:lnTo>
                      <a:pt x="11685" y="7393"/>
                    </a:lnTo>
                    <a:cubicBezTo>
                      <a:pt x="11711" y="7534"/>
                      <a:pt x="11967" y="8944"/>
                      <a:pt x="11967" y="8944"/>
                    </a:cubicBezTo>
                    <a:lnTo>
                      <a:pt x="11803" y="9078"/>
                    </a:lnTo>
                    <a:lnTo>
                      <a:pt x="11521" y="7527"/>
                    </a:lnTo>
                    <a:lnTo>
                      <a:pt x="10768" y="8141"/>
                    </a:lnTo>
                    <a:cubicBezTo>
                      <a:pt x="10792" y="8277"/>
                      <a:pt x="10974" y="9282"/>
                      <a:pt x="10974" y="9282"/>
                    </a:cubicBezTo>
                    <a:lnTo>
                      <a:pt x="10811" y="9415"/>
                    </a:lnTo>
                    <a:lnTo>
                      <a:pt x="10604" y="8275"/>
                    </a:lnTo>
                    <a:lnTo>
                      <a:pt x="9849" y="8890"/>
                    </a:lnTo>
                    <a:cubicBezTo>
                      <a:pt x="9874" y="9031"/>
                      <a:pt x="10131" y="10441"/>
                      <a:pt x="10131" y="10441"/>
                    </a:cubicBezTo>
                    <a:lnTo>
                      <a:pt x="9967" y="10575"/>
                    </a:lnTo>
                    <a:lnTo>
                      <a:pt x="9686" y="9023"/>
                    </a:lnTo>
                    <a:lnTo>
                      <a:pt x="8931" y="9638"/>
                    </a:lnTo>
                    <a:cubicBezTo>
                      <a:pt x="8956" y="9774"/>
                      <a:pt x="9139" y="10778"/>
                      <a:pt x="9139" y="10778"/>
                    </a:cubicBezTo>
                    <a:lnTo>
                      <a:pt x="8975" y="10912"/>
                    </a:lnTo>
                    <a:lnTo>
                      <a:pt x="8767" y="9772"/>
                    </a:lnTo>
                    <a:lnTo>
                      <a:pt x="8014" y="10386"/>
                    </a:lnTo>
                    <a:cubicBezTo>
                      <a:pt x="8039" y="10527"/>
                      <a:pt x="8295" y="11937"/>
                      <a:pt x="8295" y="11937"/>
                    </a:cubicBezTo>
                    <a:lnTo>
                      <a:pt x="8131" y="12071"/>
                    </a:lnTo>
                    <a:lnTo>
                      <a:pt x="7850" y="10520"/>
                    </a:lnTo>
                    <a:lnTo>
                      <a:pt x="7095" y="11135"/>
                    </a:lnTo>
                    <a:cubicBezTo>
                      <a:pt x="7120" y="11271"/>
                      <a:pt x="7302" y="12275"/>
                      <a:pt x="7302" y="12275"/>
                    </a:cubicBezTo>
                    <a:lnTo>
                      <a:pt x="7138" y="12409"/>
                    </a:lnTo>
                    <a:lnTo>
                      <a:pt x="6932" y="11268"/>
                    </a:lnTo>
                    <a:lnTo>
                      <a:pt x="6177" y="11883"/>
                    </a:lnTo>
                    <a:cubicBezTo>
                      <a:pt x="6203" y="12024"/>
                      <a:pt x="6459" y="13435"/>
                      <a:pt x="6459" y="13435"/>
                    </a:cubicBezTo>
                    <a:lnTo>
                      <a:pt x="6295" y="13568"/>
                    </a:lnTo>
                    <a:lnTo>
                      <a:pt x="6013" y="12017"/>
                    </a:lnTo>
                    <a:lnTo>
                      <a:pt x="5260" y="12631"/>
                    </a:lnTo>
                    <a:cubicBezTo>
                      <a:pt x="5284" y="12768"/>
                      <a:pt x="5467" y="13771"/>
                      <a:pt x="5467" y="13771"/>
                    </a:cubicBezTo>
                    <a:lnTo>
                      <a:pt x="5303" y="13905"/>
                    </a:lnTo>
                    <a:lnTo>
                      <a:pt x="5096" y="12765"/>
                    </a:lnTo>
                    <a:lnTo>
                      <a:pt x="4342" y="13379"/>
                    </a:lnTo>
                    <a:cubicBezTo>
                      <a:pt x="4367" y="13521"/>
                      <a:pt x="4624" y="14931"/>
                      <a:pt x="4624" y="14931"/>
                    </a:cubicBezTo>
                    <a:lnTo>
                      <a:pt x="4460" y="15064"/>
                    </a:lnTo>
                    <a:lnTo>
                      <a:pt x="4178" y="13513"/>
                    </a:lnTo>
                    <a:lnTo>
                      <a:pt x="3423" y="14128"/>
                    </a:lnTo>
                    <a:cubicBezTo>
                      <a:pt x="3448" y="14265"/>
                      <a:pt x="3630" y="15269"/>
                      <a:pt x="3630" y="15269"/>
                    </a:cubicBezTo>
                    <a:lnTo>
                      <a:pt x="3467" y="15402"/>
                    </a:lnTo>
                    <a:lnTo>
                      <a:pt x="3260" y="14261"/>
                    </a:lnTo>
                    <a:lnTo>
                      <a:pt x="2505" y="14876"/>
                    </a:lnTo>
                    <a:cubicBezTo>
                      <a:pt x="2531" y="15018"/>
                      <a:pt x="2787" y="16428"/>
                      <a:pt x="2787" y="16428"/>
                    </a:cubicBezTo>
                    <a:lnTo>
                      <a:pt x="2623" y="16561"/>
                    </a:lnTo>
                    <a:lnTo>
                      <a:pt x="2342" y="15010"/>
                    </a:lnTo>
                    <a:lnTo>
                      <a:pt x="1588" y="15625"/>
                    </a:lnTo>
                    <a:cubicBezTo>
                      <a:pt x="1613" y="15761"/>
                      <a:pt x="1795" y="16765"/>
                      <a:pt x="1795" y="16765"/>
                    </a:cubicBezTo>
                    <a:lnTo>
                      <a:pt x="1631" y="16898"/>
                    </a:lnTo>
                    <a:lnTo>
                      <a:pt x="1424" y="15758"/>
                    </a:lnTo>
                    <a:lnTo>
                      <a:pt x="670" y="16373"/>
                    </a:lnTo>
                    <a:cubicBezTo>
                      <a:pt x="696" y="16514"/>
                      <a:pt x="951" y="17925"/>
                      <a:pt x="951" y="17925"/>
                    </a:cubicBezTo>
                    <a:lnTo>
                      <a:pt x="788" y="18057"/>
                    </a:lnTo>
                    <a:lnTo>
                      <a:pt x="506" y="16506"/>
                    </a:lnTo>
                    <a:lnTo>
                      <a:pt x="0" y="16919"/>
                    </a:lnTo>
                    <a:lnTo>
                      <a:pt x="846" y="21600"/>
                    </a:lnTo>
                    <a:lnTo>
                      <a:pt x="21600" y="4681"/>
                    </a:lnTo>
                    <a:lnTo>
                      <a:pt x="20754" y="0"/>
                    </a:lnTo>
                    <a:close/>
                    <a:moveTo>
                      <a:pt x="20622" y="2793"/>
                    </a:moveTo>
                    <a:cubicBezTo>
                      <a:pt x="20707" y="3260"/>
                      <a:pt x="20598" y="3784"/>
                      <a:pt x="20378" y="3963"/>
                    </a:cubicBezTo>
                    <a:cubicBezTo>
                      <a:pt x="20158" y="4143"/>
                      <a:pt x="19911" y="3909"/>
                      <a:pt x="19826" y="3442"/>
                    </a:cubicBezTo>
                    <a:cubicBezTo>
                      <a:pt x="19742" y="2974"/>
                      <a:pt x="19852" y="2449"/>
                      <a:pt x="20072" y="2270"/>
                    </a:cubicBezTo>
                    <a:cubicBezTo>
                      <a:pt x="20292" y="2091"/>
                      <a:pt x="20538" y="2325"/>
                      <a:pt x="20622" y="279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96" name="Shape 10392">
                <a:extLst>
                  <a:ext uri="{FF2B5EF4-FFF2-40B4-BE49-F238E27FC236}">
                    <a16:creationId xmlns:a16="http://schemas.microsoft.com/office/drawing/2014/main" xmlns="" id="{9BB2A758-5AEA-420F-A8D8-FC6C52660E36}"/>
                  </a:ext>
                </a:extLst>
              </p:cNvPr>
              <p:cNvSpPr/>
              <p:nvPr/>
            </p:nvSpPr>
            <p:spPr>
              <a:xfrm>
                <a:off x="19920636" y="5193321"/>
                <a:ext cx="339475" cy="405029"/>
              </a:xfrm>
              <a:custGeom>
                <a:avLst/>
                <a:gdLst/>
                <a:ahLst/>
                <a:cxnLst>
                  <a:cxn ang="0">
                    <a:pos x="wd2" y="hd2"/>
                  </a:cxn>
                  <a:cxn ang="5400000">
                    <a:pos x="wd2" y="hd2"/>
                  </a:cxn>
                  <a:cxn ang="10800000">
                    <a:pos x="wd2" y="hd2"/>
                  </a:cxn>
                  <a:cxn ang="16200000">
                    <a:pos x="wd2" y="hd2"/>
                  </a:cxn>
                </a:cxnLst>
                <a:rect l="0" t="0" r="r" b="b"/>
                <a:pathLst>
                  <a:path w="21600" h="21600" extrusionOk="0">
                    <a:moveTo>
                      <a:pt x="0" y="896"/>
                    </a:moveTo>
                    <a:lnTo>
                      <a:pt x="1727" y="21600"/>
                    </a:lnTo>
                    <a:lnTo>
                      <a:pt x="21600" y="20435"/>
                    </a:lnTo>
                    <a:lnTo>
                      <a:pt x="20172" y="3324"/>
                    </a:lnTo>
                    <a:lnTo>
                      <a:pt x="15291" y="0"/>
                    </a:lnTo>
                    <a:lnTo>
                      <a:pt x="0" y="896"/>
                    </a:lnTo>
                    <a:close/>
                    <a:moveTo>
                      <a:pt x="6715" y="5294"/>
                    </a:moveTo>
                    <a:lnTo>
                      <a:pt x="13953" y="4870"/>
                    </a:lnTo>
                    <a:lnTo>
                      <a:pt x="14001" y="5441"/>
                    </a:lnTo>
                    <a:lnTo>
                      <a:pt x="6763" y="5865"/>
                    </a:lnTo>
                    <a:lnTo>
                      <a:pt x="6715" y="5294"/>
                    </a:lnTo>
                    <a:close/>
                    <a:moveTo>
                      <a:pt x="3566" y="11139"/>
                    </a:moveTo>
                    <a:lnTo>
                      <a:pt x="18042" y="10291"/>
                    </a:lnTo>
                    <a:lnTo>
                      <a:pt x="18088" y="10846"/>
                    </a:lnTo>
                    <a:lnTo>
                      <a:pt x="3613" y="11694"/>
                    </a:lnTo>
                    <a:lnTo>
                      <a:pt x="3566" y="11139"/>
                    </a:lnTo>
                    <a:close/>
                    <a:moveTo>
                      <a:pt x="3801" y="13947"/>
                    </a:moveTo>
                    <a:lnTo>
                      <a:pt x="18276" y="13099"/>
                    </a:lnTo>
                    <a:lnTo>
                      <a:pt x="18324" y="13670"/>
                    </a:lnTo>
                    <a:lnTo>
                      <a:pt x="3848" y="14519"/>
                    </a:lnTo>
                    <a:lnTo>
                      <a:pt x="3801" y="13947"/>
                    </a:lnTo>
                    <a:close/>
                    <a:moveTo>
                      <a:pt x="4035" y="16756"/>
                    </a:moveTo>
                    <a:lnTo>
                      <a:pt x="11273" y="16332"/>
                    </a:lnTo>
                    <a:lnTo>
                      <a:pt x="11320" y="16903"/>
                    </a:lnTo>
                    <a:lnTo>
                      <a:pt x="4083" y="17327"/>
                    </a:lnTo>
                    <a:lnTo>
                      <a:pt x="4035" y="16756"/>
                    </a:ln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97" name="Shape 10393">
                <a:extLst>
                  <a:ext uri="{FF2B5EF4-FFF2-40B4-BE49-F238E27FC236}">
                    <a16:creationId xmlns:a16="http://schemas.microsoft.com/office/drawing/2014/main" xmlns="" id="{44F01AD0-4D00-4438-827C-2913DADADFE5}"/>
                  </a:ext>
                </a:extLst>
              </p:cNvPr>
              <p:cNvSpPr/>
              <p:nvPr/>
            </p:nvSpPr>
            <p:spPr>
              <a:xfrm>
                <a:off x="18570310" y="9049783"/>
                <a:ext cx="924785" cy="885971"/>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98" name="Shape 10394">
                <a:extLst>
                  <a:ext uri="{FF2B5EF4-FFF2-40B4-BE49-F238E27FC236}">
                    <a16:creationId xmlns:a16="http://schemas.microsoft.com/office/drawing/2014/main" xmlns="" id="{4E044048-2A7F-4687-AEE0-BC995182CD73}"/>
                  </a:ext>
                </a:extLst>
              </p:cNvPr>
              <p:cNvSpPr/>
              <p:nvPr/>
            </p:nvSpPr>
            <p:spPr>
              <a:xfrm>
                <a:off x="15885971" y="8065597"/>
                <a:ext cx="555246" cy="544273"/>
              </a:xfrm>
              <a:custGeom>
                <a:avLst/>
                <a:gdLst/>
                <a:ahLst/>
                <a:cxnLst>
                  <a:cxn ang="0">
                    <a:pos x="wd2" y="hd2"/>
                  </a:cxn>
                  <a:cxn ang="5400000">
                    <a:pos x="wd2" y="hd2"/>
                  </a:cxn>
                  <a:cxn ang="10800000">
                    <a:pos x="wd2" y="hd2"/>
                  </a:cxn>
                  <a:cxn ang="16200000">
                    <a:pos x="wd2" y="hd2"/>
                  </a:cxn>
                </a:cxnLst>
                <a:rect l="0" t="0" r="r" b="b"/>
                <a:pathLst>
                  <a:path w="20991" h="21600" extrusionOk="0">
                    <a:moveTo>
                      <a:pt x="0" y="6005"/>
                    </a:moveTo>
                    <a:lnTo>
                      <a:pt x="2577" y="11807"/>
                    </a:lnTo>
                    <a:cubicBezTo>
                      <a:pt x="2577" y="11807"/>
                      <a:pt x="3706" y="12286"/>
                      <a:pt x="4255" y="11343"/>
                    </a:cubicBezTo>
                    <a:cubicBezTo>
                      <a:pt x="4860" y="10297"/>
                      <a:pt x="7052" y="9212"/>
                      <a:pt x="8001" y="11472"/>
                    </a:cubicBezTo>
                    <a:cubicBezTo>
                      <a:pt x="8949" y="13731"/>
                      <a:pt x="7204" y="14700"/>
                      <a:pt x="5987" y="14655"/>
                    </a:cubicBezTo>
                    <a:cubicBezTo>
                      <a:pt x="4886" y="14615"/>
                      <a:pt x="4270" y="15618"/>
                      <a:pt x="4270" y="15618"/>
                    </a:cubicBezTo>
                    <a:lnTo>
                      <a:pt x="6927" y="21600"/>
                    </a:lnTo>
                    <a:lnTo>
                      <a:pt x="11852" y="19189"/>
                    </a:lnTo>
                    <a:cubicBezTo>
                      <a:pt x="11852" y="19189"/>
                      <a:pt x="11984" y="18276"/>
                      <a:pt x="11207" y="17738"/>
                    </a:cubicBezTo>
                    <a:cubicBezTo>
                      <a:pt x="10263" y="17087"/>
                      <a:pt x="9280" y="15038"/>
                      <a:pt x="11605" y="13899"/>
                    </a:cubicBezTo>
                    <a:cubicBezTo>
                      <a:pt x="13931" y="12761"/>
                      <a:pt x="14808" y="14792"/>
                      <a:pt x="14617" y="16180"/>
                    </a:cubicBezTo>
                    <a:cubicBezTo>
                      <a:pt x="14474" y="17220"/>
                      <a:pt x="15221" y="17540"/>
                      <a:pt x="15221" y="17540"/>
                    </a:cubicBezTo>
                    <a:lnTo>
                      <a:pt x="19368" y="15510"/>
                    </a:lnTo>
                    <a:cubicBezTo>
                      <a:pt x="19368" y="15510"/>
                      <a:pt x="17338" y="11290"/>
                      <a:pt x="17019" y="10076"/>
                    </a:cubicBezTo>
                    <a:cubicBezTo>
                      <a:pt x="16676" y="8775"/>
                      <a:pt x="18369" y="8955"/>
                      <a:pt x="18673" y="8964"/>
                    </a:cubicBezTo>
                    <a:cubicBezTo>
                      <a:pt x="20424" y="9020"/>
                      <a:pt x="21600" y="7510"/>
                      <a:pt x="20656" y="5385"/>
                    </a:cubicBezTo>
                    <a:cubicBezTo>
                      <a:pt x="19712" y="3260"/>
                      <a:pt x="17321" y="3778"/>
                      <a:pt x="16643" y="5120"/>
                    </a:cubicBezTo>
                    <a:cubicBezTo>
                      <a:pt x="16139" y="6117"/>
                      <a:pt x="15546" y="6529"/>
                      <a:pt x="15164" y="5995"/>
                    </a:cubicBezTo>
                    <a:cubicBezTo>
                      <a:pt x="14272" y="4748"/>
                      <a:pt x="12268" y="0"/>
                      <a:pt x="12268" y="0"/>
                    </a:cubicBezTo>
                    <a:lnTo>
                      <a:pt x="8380" y="1903"/>
                    </a:lnTo>
                    <a:cubicBezTo>
                      <a:pt x="8380" y="1903"/>
                      <a:pt x="8041" y="3203"/>
                      <a:pt x="8973" y="3711"/>
                    </a:cubicBezTo>
                    <a:cubicBezTo>
                      <a:pt x="10375" y="4474"/>
                      <a:pt x="10679" y="6519"/>
                      <a:pt x="8834" y="7423"/>
                    </a:cubicBezTo>
                    <a:cubicBezTo>
                      <a:pt x="6988" y="8326"/>
                      <a:pt x="5715" y="6969"/>
                      <a:pt x="5997" y="5295"/>
                    </a:cubicBezTo>
                    <a:cubicBezTo>
                      <a:pt x="6154" y="4357"/>
                      <a:pt x="5083" y="3527"/>
                      <a:pt x="5083" y="3527"/>
                    </a:cubicBezTo>
                    <a:cubicBezTo>
                      <a:pt x="5083" y="3527"/>
                      <a:pt x="0" y="6005"/>
                      <a:pt x="0" y="600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99" name="Shape 10395">
                <a:extLst>
                  <a:ext uri="{FF2B5EF4-FFF2-40B4-BE49-F238E27FC236}">
                    <a16:creationId xmlns:a16="http://schemas.microsoft.com/office/drawing/2014/main" xmlns="" id="{6AE41916-0DBE-43E9-A443-325ECDDF1841}"/>
                  </a:ext>
                </a:extLst>
              </p:cNvPr>
              <p:cNvSpPr/>
              <p:nvPr/>
            </p:nvSpPr>
            <p:spPr>
              <a:xfrm>
                <a:off x="19111157" y="4676603"/>
                <a:ext cx="447511" cy="478914"/>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0" name="Shape 10396">
                <a:extLst>
                  <a:ext uri="{FF2B5EF4-FFF2-40B4-BE49-F238E27FC236}">
                    <a16:creationId xmlns:a16="http://schemas.microsoft.com/office/drawing/2014/main" xmlns="" id="{CD8F6EB2-E49A-4551-8871-DD883F11B95F}"/>
                  </a:ext>
                </a:extLst>
              </p:cNvPr>
              <p:cNvSpPr/>
              <p:nvPr/>
            </p:nvSpPr>
            <p:spPr>
              <a:xfrm>
                <a:off x="17914980" y="5805200"/>
                <a:ext cx="454601" cy="423168"/>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1" name="Shape 10397">
                <a:extLst>
                  <a:ext uri="{FF2B5EF4-FFF2-40B4-BE49-F238E27FC236}">
                    <a16:creationId xmlns:a16="http://schemas.microsoft.com/office/drawing/2014/main" xmlns="" id="{2ABB48B4-8838-499E-9B44-412996D3A52D}"/>
                  </a:ext>
                </a:extLst>
              </p:cNvPr>
              <p:cNvSpPr/>
              <p:nvPr/>
            </p:nvSpPr>
            <p:spPr>
              <a:xfrm>
                <a:off x="21365329" y="6512100"/>
                <a:ext cx="416894" cy="446146"/>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2" name="Shape 10398">
                <a:extLst>
                  <a:ext uri="{FF2B5EF4-FFF2-40B4-BE49-F238E27FC236}">
                    <a16:creationId xmlns:a16="http://schemas.microsoft.com/office/drawing/2014/main" xmlns="" id="{BF696B14-4CAD-41BC-A0FE-231DD5C69370}"/>
                  </a:ext>
                </a:extLst>
              </p:cNvPr>
              <p:cNvSpPr/>
              <p:nvPr/>
            </p:nvSpPr>
            <p:spPr>
              <a:xfrm>
                <a:off x="18043556" y="10579615"/>
                <a:ext cx="978355" cy="64004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3" name="Shape 10399">
                <a:extLst>
                  <a:ext uri="{FF2B5EF4-FFF2-40B4-BE49-F238E27FC236}">
                    <a16:creationId xmlns:a16="http://schemas.microsoft.com/office/drawing/2014/main" xmlns="" id="{949D35A9-7E6E-41A7-B97F-03C54DA96B01}"/>
                  </a:ext>
                </a:extLst>
              </p:cNvPr>
              <p:cNvSpPr/>
              <p:nvPr/>
            </p:nvSpPr>
            <p:spPr>
              <a:xfrm>
                <a:off x="15648477" y="6834651"/>
                <a:ext cx="742676" cy="776271"/>
              </a:xfrm>
              <a:custGeom>
                <a:avLst/>
                <a:gdLst/>
                <a:ahLst/>
                <a:cxnLst>
                  <a:cxn ang="0">
                    <a:pos x="wd2" y="hd2"/>
                  </a:cxn>
                  <a:cxn ang="5400000">
                    <a:pos x="wd2" y="hd2"/>
                  </a:cxn>
                  <a:cxn ang="10800000">
                    <a:pos x="wd2" y="hd2"/>
                  </a:cxn>
                  <a:cxn ang="16200000">
                    <a:pos x="wd2" y="hd2"/>
                  </a:cxn>
                </a:cxnLst>
                <a:rect l="0" t="0" r="r" b="b"/>
                <a:pathLst>
                  <a:path w="21600" h="21600" extrusionOk="0">
                    <a:moveTo>
                      <a:pt x="5147" y="16723"/>
                    </a:moveTo>
                    <a:lnTo>
                      <a:pt x="0" y="16809"/>
                    </a:lnTo>
                    <a:lnTo>
                      <a:pt x="2774" y="12622"/>
                    </a:lnTo>
                    <a:cubicBezTo>
                      <a:pt x="2774" y="12622"/>
                      <a:pt x="5147" y="16723"/>
                      <a:pt x="5147" y="16723"/>
                    </a:cubicBezTo>
                    <a:close/>
                    <a:moveTo>
                      <a:pt x="14076" y="11989"/>
                    </a:moveTo>
                    <a:cubicBezTo>
                      <a:pt x="14302" y="12788"/>
                      <a:pt x="14417" y="13471"/>
                      <a:pt x="14416" y="13825"/>
                    </a:cubicBezTo>
                    <a:cubicBezTo>
                      <a:pt x="15694" y="13667"/>
                      <a:pt x="17017" y="14276"/>
                      <a:pt x="17811" y="15648"/>
                    </a:cubicBezTo>
                    <a:cubicBezTo>
                      <a:pt x="18851" y="17445"/>
                      <a:pt x="17597" y="21598"/>
                      <a:pt x="17597" y="21598"/>
                    </a:cubicBezTo>
                    <a:cubicBezTo>
                      <a:pt x="17597" y="21598"/>
                      <a:pt x="17595" y="21596"/>
                      <a:pt x="17592" y="21593"/>
                    </a:cubicBezTo>
                    <a:cubicBezTo>
                      <a:pt x="17594" y="21598"/>
                      <a:pt x="17594" y="21600"/>
                      <a:pt x="17594" y="21600"/>
                    </a:cubicBezTo>
                    <a:cubicBezTo>
                      <a:pt x="17594" y="21600"/>
                      <a:pt x="13250" y="20419"/>
                      <a:pt x="12210" y="18622"/>
                    </a:cubicBezTo>
                    <a:cubicBezTo>
                      <a:pt x="11424" y="17264"/>
                      <a:pt x="11576" y="15881"/>
                      <a:pt x="12373" y="14927"/>
                    </a:cubicBezTo>
                    <a:cubicBezTo>
                      <a:pt x="12061" y="14746"/>
                      <a:pt x="11508" y="14286"/>
                      <a:pt x="10910" y="13667"/>
                    </a:cubicBezTo>
                    <a:lnTo>
                      <a:pt x="5848" y="16352"/>
                    </a:lnTo>
                    <a:lnTo>
                      <a:pt x="3475" y="12249"/>
                    </a:lnTo>
                    <a:lnTo>
                      <a:pt x="8299" y="9692"/>
                    </a:lnTo>
                    <a:cubicBezTo>
                      <a:pt x="7229" y="7299"/>
                      <a:pt x="5819" y="3586"/>
                      <a:pt x="5332" y="2032"/>
                    </a:cubicBezTo>
                    <a:cubicBezTo>
                      <a:pt x="4875" y="574"/>
                      <a:pt x="5000" y="148"/>
                      <a:pt x="5066" y="36"/>
                    </a:cubicBezTo>
                    <a:cubicBezTo>
                      <a:pt x="5058" y="23"/>
                      <a:pt x="5065" y="20"/>
                      <a:pt x="5078" y="19"/>
                    </a:cubicBezTo>
                    <a:cubicBezTo>
                      <a:pt x="5088" y="6"/>
                      <a:pt x="5095" y="0"/>
                      <a:pt x="5095" y="0"/>
                    </a:cubicBezTo>
                    <a:cubicBezTo>
                      <a:pt x="5240" y="24"/>
                      <a:pt x="5683" y="148"/>
                      <a:pt x="6732" y="1292"/>
                    </a:cubicBezTo>
                    <a:cubicBezTo>
                      <a:pt x="7850" y="2510"/>
                      <a:pt x="10390" y="5624"/>
                      <a:pt x="11941" y="7761"/>
                    </a:cubicBezTo>
                    <a:lnTo>
                      <a:pt x="15980" y="5619"/>
                    </a:lnTo>
                    <a:lnTo>
                      <a:pt x="18355" y="9720"/>
                    </a:lnTo>
                    <a:cubicBezTo>
                      <a:pt x="18355" y="9720"/>
                      <a:pt x="14076" y="11989"/>
                      <a:pt x="14076" y="11989"/>
                    </a:cubicBezTo>
                    <a:close/>
                    <a:moveTo>
                      <a:pt x="16695" y="5238"/>
                    </a:moveTo>
                    <a:lnTo>
                      <a:pt x="19224" y="3898"/>
                    </a:lnTo>
                    <a:lnTo>
                      <a:pt x="21600" y="7999"/>
                    </a:lnTo>
                    <a:lnTo>
                      <a:pt x="19071" y="9339"/>
                    </a:lnTo>
                    <a:cubicBezTo>
                      <a:pt x="19071" y="9339"/>
                      <a:pt x="16695" y="5238"/>
                      <a:pt x="16695" y="5238"/>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4" name="Shape 10400">
                <a:extLst>
                  <a:ext uri="{FF2B5EF4-FFF2-40B4-BE49-F238E27FC236}">
                    <a16:creationId xmlns:a16="http://schemas.microsoft.com/office/drawing/2014/main" xmlns="" id="{1A742EE3-6F6A-41F8-A201-3249690ADB56}"/>
                  </a:ext>
                </a:extLst>
              </p:cNvPr>
              <p:cNvSpPr/>
              <p:nvPr/>
            </p:nvSpPr>
            <p:spPr>
              <a:xfrm>
                <a:off x="19723614" y="10276672"/>
                <a:ext cx="536497" cy="851591"/>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5" name="Shape 10401">
                <a:extLst>
                  <a:ext uri="{FF2B5EF4-FFF2-40B4-BE49-F238E27FC236}">
                    <a16:creationId xmlns:a16="http://schemas.microsoft.com/office/drawing/2014/main" xmlns="" id="{D8D7157F-31DF-4979-BC76-47E78A987376}"/>
                  </a:ext>
                </a:extLst>
              </p:cNvPr>
              <p:cNvSpPr/>
              <p:nvPr/>
            </p:nvSpPr>
            <p:spPr>
              <a:xfrm>
                <a:off x="15572271" y="10142149"/>
                <a:ext cx="479514" cy="339891"/>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6" name="Shape 10402">
                <a:extLst>
                  <a:ext uri="{FF2B5EF4-FFF2-40B4-BE49-F238E27FC236}">
                    <a16:creationId xmlns:a16="http://schemas.microsoft.com/office/drawing/2014/main" xmlns="" id="{27492830-96CB-449C-A1F9-F87569712CA9}"/>
                  </a:ext>
                </a:extLst>
              </p:cNvPr>
              <p:cNvSpPr/>
              <p:nvPr/>
            </p:nvSpPr>
            <p:spPr>
              <a:xfrm>
                <a:off x="17794274" y="9180928"/>
                <a:ext cx="602582" cy="644865"/>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07" name="Shape 10403">
                <a:extLst>
                  <a:ext uri="{FF2B5EF4-FFF2-40B4-BE49-F238E27FC236}">
                    <a16:creationId xmlns:a16="http://schemas.microsoft.com/office/drawing/2014/main" xmlns="" id="{083706A2-2CD4-4374-8728-3E5AA7B0B444}"/>
                  </a:ext>
                </a:extLst>
              </p:cNvPr>
              <p:cNvSpPr/>
              <p:nvPr/>
            </p:nvSpPr>
            <p:spPr>
              <a:xfrm>
                <a:off x="17048183" y="9717435"/>
                <a:ext cx="707906" cy="707908"/>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8" name="Shape 10404">
                <a:extLst>
                  <a:ext uri="{FF2B5EF4-FFF2-40B4-BE49-F238E27FC236}">
                    <a16:creationId xmlns:a16="http://schemas.microsoft.com/office/drawing/2014/main" xmlns="" id="{4EC6CED9-60E5-464F-B8F7-F121C08D960E}"/>
                  </a:ext>
                </a:extLst>
              </p:cNvPr>
              <p:cNvSpPr/>
              <p:nvPr/>
            </p:nvSpPr>
            <p:spPr>
              <a:xfrm>
                <a:off x="18977022" y="9915682"/>
                <a:ext cx="660489" cy="686412"/>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9" name="Shape 10405">
                <a:extLst>
                  <a:ext uri="{FF2B5EF4-FFF2-40B4-BE49-F238E27FC236}">
                    <a16:creationId xmlns:a16="http://schemas.microsoft.com/office/drawing/2014/main" xmlns="" id="{5073BD58-AF6F-4B55-B025-E0CB1BF170B0}"/>
                  </a:ext>
                </a:extLst>
              </p:cNvPr>
              <p:cNvSpPr/>
              <p:nvPr/>
            </p:nvSpPr>
            <p:spPr>
              <a:xfrm>
                <a:off x="17273289" y="10887461"/>
                <a:ext cx="673803" cy="406559"/>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10" name="Shape 10406">
                <a:extLst>
                  <a:ext uri="{FF2B5EF4-FFF2-40B4-BE49-F238E27FC236}">
                    <a16:creationId xmlns:a16="http://schemas.microsoft.com/office/drawing/2014/main" xmlns="" id="{31732F3F-0961-4815-864D-C5D15DD1720F}"/>
                  </a:ext>
                </a:extLst>
              </p:cNvPr>
              <p:cNvSpPr/>
              <p:nvPr/>
            </p:nvSpPr>
            <p:spPr>
              <a:xfrm>
                <a:off x="19982182" y="9778750"/>
                <a:ext cx="656775" cy="603423"/>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11" name="Shape 10407">
                <a:extLst>
                  <a:ext uri="{FF2B5EF4-FFF2-40B4-BE49-F238E27FC236}">
                    <a16:creationId xmlns:a16="http://schemas.microsoft.com/office/drawing/2014/main" xmlns="" id="{B53854AE-48ED-4592-8514-C49A3F0F7238}"/>
                  </a:ext>
                </a:extLst>
              </p:cNvPr>
              <p:cNvSpPr/>
              <p:nvPr/>
            </p:nvSpPr>
            <p:spPr>
              <a:xfrm>
                <a:off x="18095563" y="9920142"/>
                <a:ext cx="474749" cy="52554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12" name="Shape 10408">
                <a:extLst>
                  <a:ext uri="{FF2B5EF4-FFF2-40B4-BE49-F238E27FC236}">
                    <a16:creationId xmlns:a16="http://schemas.microsoft.com/office/drawing/2014/main" xmlns="" id="{761C5622-B79E-4C2E-AFD6-DB26041F2646}"/>
                  </a:ext>
                </a:extLst>
              </p:cNvPr>
              <p:cNvSpPr/>
              <p:nvPr/>
            </p:nvSpPr>
            <p:spPr>
              <a:xfrm>
                <a:off x="19553067" y="9077475"/>
                <a:ext cx="359033" cy="41485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13" name="Shape 10409">
                <a:extLst>
                  <a:ext uri="{FF2B5EF4-FFF2-40B4-BE49-F238E27FC236}">
                    <a16:creationId xmlns:a16="http://schemas.microsoft.com/office/drawing/2014/main" xmlns="" id="{9EA42ABE-5D84-4A6D-AF50-B2968517B95A}"/>
                  </a:ext>
                </a:extLst>
              </p:cNvPr>
              <p:cNvSpPr/>
              <p:nvPr/>
            </p:nvSpPr>
            <p:spPr>
              <a:xfrm>
                <a:off x="19907356" y="4497815"/>
                <a:ext cx="422982" cy="474608"/>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14" name="Shape 10410">
                <a:extLst>
                  <a:ext uri="{FF2B5EF4-FFF2-40B4-BE49-F238E27FC236}">
                    <a16:creationId xmlns:a16="http://schemas.microsoft.com/office/drawing/2014/main" xmlns="" id="{515BD670-DA82-4576-A747-F2FCE78A63A1}"/>
                  </a:ext>
                </a:extLst>
              </p:cNvPr>
              <p:cNvSpPr/>
              <p:nvPr/>
            </p:nvSpPr>
            <p:spPr>
              <a:xfrm>
                <a:off x="16605917" y="7050910"/>
                <a:ext cx="326231"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15" name="Shape 10411">
                <a:extLst>
                  <a:ext uri="{FF2B5EF4-FFF2-40B4-BE49-F238E27FC236}">
                    <a16:creationId xmlns:a16="http://schemas.microsoft.com/office/drawing/2014/main" xmlns="" id="{FE4D537F-48DE-4CF2-BF37-C496C76DAE6C}"/>
                  </a:ext>
                </a:extLst>
              </p:cNvPr>
              <p:cNvSpPr/>
              <p:nvPr/>
            </p:nvSpPr>
            <p:spPr>
              <a:xfrm>
                <a:off x="17109017" y="5013818"/>
                <a:ext cx="413678" cy="591503"/>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16" name="Shape 10412">
                <a:extLst>
                  <a:ext uri="{FF2B5EF4-FFF2-40B4-BE49-F238E27FC236}">
                    <a16:creationId xmlns:a16="http://schemas.microsoft.com/office/drawing/2014/main" xmlns="" id="{770E04AE-9348-4CB4-B428-9B42411AA96E}"/>
                  </a:ext>
                </a:extLst>
              </p:cNvPr>
              <p:cNvSpPr/>
              <p:nvPr/>
            </p:nvSpPr>
            <p:spPr>
              <a:xfrm>
                <a:off x="16082438" y="4790089"/>
                <a:ext cx="583512" cy="4136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17" name="Shape 10413">
                <a:extLst>
                  <a:ext uri="{FF2B5EF4-FFF2-40B4-BE49-F238E27FC236}">
                    <a16:creationId xmlns:a16="http://schemas.microsoft.com/office/drawing/2014/main" xmlns="" id="{634B8CC1-408B-4AC3-98EA-9A72C311F8D3}"/>
                  </a:ext>
                </a:extLst>
              </p:cNvPr>
              <p:cNvSpPr/>
              <p:nvPr/>
            </p:nvSpPr>
            <p:spPr>
              <a:xfrm>
                <a:off x="21000326" y="5616849"/>
                <a:ext cx="437119" cy="309840"/>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18" name="Shape 10414">
                <a:extLst>
                  <a:ext uri="{FF2B5EF4-FFF2-40B4-BE49-F238E27FC236}">
                    <a16:creationId xmlns:a16="http://schemas.microsoft.com/office/drawing/2014/main" xmlns="" id="{A048CE5C-50E0-43FD-A0C9-1E7A437C268D}"/>
                  </a:ext>
                </a:extLst>
              </p:cNvPr>
              <p:cNvSpPr/>
              <p:nvPr/>
            </p:nvSpPr>
            <p:spPr>
              <a:xfrm>
                <a:off x="14548061" y="8927519"/>
                <a:ext cx="446854" cy="494667"/>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19" name="Shape 10415">
                <a:extLst>
                  <a:ext uri="{FF2B5EF4-FFF2-40B4-BE49-F238E27FC236}">
                    <a16:creationId xmlns:a16="http://schemas.microsoft.com/office/drawing/2014/main" xmlns="" id="{F0D552F7-F2D7-43B5-A123-5F143261C37F}"/>
                  </a:ext>
                </a:extLst>
              </p:cNvPr>
              <p:cNvSpPr/>
              <p:nvPr/>
            </p:nvSpPr>
            <p:spPr>
              <a:xfrm>
                <a:off x="19258842" y="11958755"/>
                <a:ext cx="567698" cy="676948"/>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20" name="Shape 10416">
                <a:extLst>
                  <a:ext uri="{FF2B5EF4-FFF2-40B4-BE49-F238E27FC236}">
                    <a16:creationId xmlns:a16="http://schemas.microsoft.com/office/drawing/2014/main" xmlns="" id="{41DBF271-4CB0-4D90-B64C-BD09C00DE324}"/>
                  </a:ext>
                </a:extLst>
              </p:cNvPr>
              <p:cNvSpPr/>
              <p:nvPr/>
            </p:nvSpPr>
            <p:spPr>
              <a:xfrm>
                <a:off x="20512936" y="11955430"/>
                <a:ext cx="678677" cy="598413"/>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21" name="Shape 10417">
                <a:extLst>
                  <a:ext uri="{FF2B5EF4-FFF2-40B4-BE49-F238E27FC236}">
                    <a16:creationId xmlns:a16="http://schemas.microsoft.com/office/drawing/2014/main" xmlns="" id="{66204FDA-D64F-4A48-87D6-31ED73CB8F83}"/>
                  </a:ext>
                </a:extLst>
              </p:cNvPr>
              <p:cNvSpPr/>
              <p:nvPr/>
            </p:nvSpPr>
            <p:spPr>
              <a:xfrm>
                <a:off x="19308426" y="13173084"/>
                <a:ext cx="779625" cy="510039"/>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22" name="Shape 10418">
                <a:extLst>
                  <a:ext uri="{FF2B5EF4-FFF2-40B4-BE49-F238E27FC236}">
                    <a16:creationId xmlns:a16="http://schemas.microsoft.com/office/drawing/2014/main" xmlns="" id="{14C73088-6B20-4CA7-B4CC-858D6988CB12}"/>
                  </a:ext>
                </a:extLst>
              </p:cNvPr>
              <p:cNvSpPr/>
              <p:nvPr/>
            </p:nvSpPr>
            <p:spPr>
              <a:xfrm>
                <a:off x="19278050" y="12757751"/>
                <a:ext cx="364917" cy="364935"/>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23" name="Shape 10419">
                <a:extLst>
                  <a:ext uri="{FF2B5EF4-FFF2-40B4-BE49-F238E27FC236}">
                    <a16:creationId xmlns:a16="http://schemas.microsoft.com/office/drawing/2014/main" xmlns="" id="{DC729FC7-9F0D-4EFB-9177-E9CC801D7A93}"/>
                  </a:ext>
                </a:extLst>
              </p:cNvPr>
              <p:cNvSpPr/>
              <p:nvPr/>
            </p:nvSpPr>
            <p:spPr>
              <a:xfrm>
                <a:off x="18249838" y="13272775"/>
                <a:ext cx="957660" cy="434144"/>
              </a:xfrm>
              <a:custGeom>
                <a:avLst/>
                <a:gdLst/>
                <a:ahLst/>
                <a:cxnLst>
                  <a:cxn ang="0">
                    <a:pos x="wd2" y="hd2"/>
                  </a:cxn>
                  <a:cxn ang="5400000">
                    <a:pos x="wd2" y="hd2"/>
                  </a:cxn>
                  <a:cxn ang="10800000">
                    <a:pos x="wd2" y="hd2"/>
                  </a:cxn>
                  <a:cxn ang="16200000">
                    <a:pos x="wd2" y="hd2"/>
                  </a:cxn>
                </a:cxnLst>
                <a:rect l="0" t="0" r="r" b="b"/>
                <a:pathLst>
                  <a:path w="21600" h="21600" extrusionOk="0">
                    <a:moveTo>
                      <a:pt x="0" y="20793"/>
                    </a:moveTo>
                    <a:cubicBezTo>
                      <a:pt x="2762" y="20896"/>
                      <a:pt x="4229" y="16959"/>
                      <a:pt x="5457" y="12973"/>
                    </a:cubicBezTo>
                    <a:cubicBezTo>
                      <a:pt x="6611" y="16963"/>
                      <a:pt x="8026" y="20867"/>
                      <a:pt x="10731" y="20967"/>
                    </a:cubicBezTo>
                    <a:cubicBezTo>
                      <a:pt x="13410" y="21066"/>
                      <a:pt x="14890" y="17337"/>
                      <a:pt x="16097" y="13477"/>
                    </a:cubicBezTo>
                    <a:cubicBezTo>
                      <a:pt x="17258" y="17515"/>
                      <a:pt x="18668" y="21499"/>
                      <a:pt x="21405" y="21600"/>
                    </a:cubicBezTo>
                    <a:lnTo>
                      <a:pt x="21434" y="18923"/>
                    </a:lnTo>
                    <a:cubicBezTo>
                      <a:pt x="19117" y="18837"/>
                      <a:pt x="18015" y="15307"/>
                      <a:pt x="16841" y="11103"/>
                    </a:cubicBezTo>
                    <a:cubicBezTo>
                      <a:pt x="18096" y="6922"/>
                      <a:pt x="19242" y="3387"/>
                      <a:pt x="21588" y="3475"/>
                    </a:cubicBezTo>
                    <a:lnTo>
                      <a:pt x="21600" y="798"/>
                    </a:lnTo>
                    <a:cubicBezTo>
                      <a:pt x="18838" y="695"/>
                      <a:pt x="17358" y="4641"/>
                      <a:pt x="16130" y="8627"/>
                    </a:cubicBezTo>
                    <a:cubicBezTo>
                      <a:pt x="14977" y="4640"/>
                      <a:pt x="13556" y="770"/>
                      <a:pt x="10852" y="669"/>
                    </a:cubicBezTo>
                    <a:cubicBezTo>
                      <a:pt x="8168" y="570"/>
                      <a:pt x="6711" y="4292"/>
                      <a:pt x="5503" y="8160"/>
                    </a:cubicBezTo>
                    <a:cubicBezTo>
                      <a:pt x="4341" y="4115"/>
                      <a:pt x="2924" y="102"/>
                      <a:pt x="183" y="0"/>
                    </a:cubicBezTo>
                    <a:cubicBezTo>
                      <a:pt x="183" y="0"/>
                      <a:pt x="166" y="2677"/>
                      <a:pt x="166" y="2677"/>
                    </a:cubicBezTo>
                    <a:cubicBezTo>
                      <a:pt x="2490" y="2763"/>
                      <a:pt x="3581" y="6313"/>
                      <a:pt x="4759" y="10534"/>
                    </a:cubicBezTo>
                    <a:cubicBezTo>
                      <a:pt x="3507" y="14705"/>
                      <a:pt x="2353" y="18212"/>
                      <a:pt x="12" y="18125"/>
                    </a:cubicBezTo>
                    <a:lnTo>
                      <a:pt x="0" y="20793"/>
                    </a:lnTo>
                    <a:close/>
                    <a:moveTo>
                      <a:pt x="241" y="16420"/>
                    </a:moveTo>
                    <a:cubicBezTo>
                      <a:pt x="649" y="16425"/>
                      <a:pt x="1008" y="16293"/>
                      <a:pt x="1338" y="16053"/>
                    </a:cubicBezTo>
                    <a:cubicBezTo>
                      <a:pt x="1338" y="16053"/>
                      <a:pt x="1438" y="4786"/>
                      <a:pt x="1438" y="4786"/>
                    </a:cubicBezTo>
                    <a:cubicBezTo>
                      <a:pt x="1113" y="4525"/>
                      <a:pt x="753" y="4374"/>
                      <a:pt x="345" y="4355"/>
                    </a:cubicBezTo>
                    <a:lnTo>
                      <a:pt x="241" y="16420"/>
                    </a:lnTo>
                    <a:close/>
                    <a:moveTo>
                      <a:pt x="2402" y="14724"/>
                    </a:moveTo>
                    <a:cubicBezTo>
                      <a:pt x="2787" y="14105"/>
                      <a:pt x="3126" y="13297"/>
                      <a:pt x="3454" y="12359"/>
                    </a:cubicBezTo>
                    <a:lnTo>
                      <a:pt x="3491" y="8563"/>
                    </a:lnTo>
                    <a:cubicBezTo>
                      <a:pt x="3181" y="7606"/>
                      <a:pt x="2858" y="6774"/>
                      <a:pt x="2485" y="6133"/>
                    </a:cubicBezTo>
                    <a:lnTo>
                      <a:pt x="2402" y="14724"/>
                    </a:lnTo>
                    <a:close/>
                    <a:moveTo>
                      <a:pt x="6201" y="10598"/>
                    </a:moveTo>
                    <a:cubicBezTo>
                      <a:pt x="7413" y="6583"/>
                      <a:pt x="8564" y="3262"/>
                      <a:pt x="10839" y="3346"/>
                    </a:cubicBezTo>
                    <a:cubicBezTo>
                      <a:pt x="13133" y="3431"/>
                      <a:pt x="14226" y="6882"/>
                      <a:pt x="15386" y="11029"/>
                    </a:cubicBezTo>
                    <a:cubicBezTo>
                      <a:pt x="14178" y="15032"/>
                      <a:pt x="13031" y="18375"/>
                      <a:pt x="10761" y="18290"/>
                    </a:cubicBezTo>
                    <a:cubicBezTo>
                      <a:pt x="8467" y="18206"/>
                      <a:pt x="7361" y="14745"/>
                      <a:pt x="6201" y="10598"/>
                    </a:cubicBezTo>
                    <a:close/>
                    <a:moveTo>
                      <a:pt x="7901" y="13065"/>
                    </a:moveTo>
                    <a:cubicBezTo>
                      <a:pt x="8268" y="14180"/>
                      <a:pt x="8656" y="15139"/>
                      <a:pt x="9098" y="15879"/>
                    </a:cubicBezTo>
                    <a:lnTo>
                      <a:pt x="9173" y="5547"/>
                    </a:lnTo>
                    <a:cubicBezTo>
                      <a:pt x="8720" y="6254"/>
                      <a:pt x="8323" y="7192"/>
                      <a:pt x="7938" y="8279"/>
                    </a:cubicBezTo>
                    <a:lnTo>
                      <a:pt x="7901" y="13065"/>
                    </a:lnTo>
                    <a:close/>
                    <a:moveTo>
                      <a:pt x="10199" y="16402"/>
                    </a:moveTo>
                    <a:cubicBezTo>
                      <a:pt x="10421" y="16504"/>
                      <a:pt x="10654" y="16562"/>
                      <a:pt x="10910" y="16567"/>
                    </a:cubicBezTo>
                    <a:cubicBezTo>
                      <a:pt x="11039" y="16569"/>
                      <a:pt x="11163" y="16554"/>
                      <a:pt x="11284" y="16530"/>
                    </a:cubicBezTo>
                    <a:lnTo>
                      <a:pt x="11421" y="4676"/>
                    </a:lnTo>
                    <a:cubicBezTo>
                      <a:pt x="11301" y="4648"/>
                      <a:pt x="11177" y="4632"/>
                      <a:pt x="11047" y="4630"/>
                    </a:cubicBezTo>
                    <a:cubicBezTo>
                      <a:pt x="10792" y="4625"/>
                      <a:pt x="10556" y="4674"/>
                      <a:pt x="10332" y="4767"/>
                    </a:cubicBezTo>
                    <a:lnTo>
                      <a:pt x="10199" y="16402"/>
                    </a:lnTo>
                    <a:close/>
                    <a:moveTo>
                      <a:pt x="12440" y="16292"/>
                    </a:moveTo>
                    <a:cubicBezTo>
                      <a:pt x="12866" y="15783"/>
                      <a:pt x="13237" y="15074"/>
                      <a:pt x="13587" y="14220"/>
                    </a:cubicBezTo>
                    <a:lnTo>
                      <a:pt x="13653" y="7866"/>
                    </a:lnTo>
                    <a:cubicBezTo>
                      <a:pt x="13321" y="6994"/>
                      <a:pt x="12964" y="6269"/>
                      <a:pt x="12548" y="5739"/>
                    </a:cubicBezTo>
                    <a:lnTo>
                      <a:pt x="12440" y="16292"/>
                    </a:lnTo>
                    <a:close/>
                    <a:moveTo>
                      <a:pt x="18109" y="13000"/>
                    </a:moveTo>
                    <a:cubicBezTo>
                      <a:pt x="18420" y="13890"/>
                      <a:pt x="18742" y="14650"/>
                      <a:pt x="19110" y="15228"/>
                    </a:cubicBezTo>
                    <a:lnTo>
                      <a:pt x="19115" y="6949"/>
                    </a:lnTo>
                    <a:cubicBezTo>
                      <a:pt x="18746" y="7587"/>
                      <a:pt x="18420" y="8402"/>
                      <a:pt x="18109" y="9342"/>
                    </a:cubicBezTo>
                    <a:lnTo>
                      <a:pt x="18109" y="13000"/>
                    </a:lnTo>
                    <a:close/>
                    <a:moveTo>
                      <a:pt x="20436" y="16503"/>
                    </a:moveTo>
                    <a:cubicBezTo>
                      <a:pt x="20751" y="16735"/>
                      <a:pt x="21099" y="16863"/>
                      <a:pt x="21492" y="16860"/>
                    </a:cubicBezTo>
                    <a:lnTo>
                      <a:pt x="21546" y="5272"/>
                    </a:lnTo>
                    <a:cubicBezTo>
                      <a:pt x="21153" y="5289"/>
                      <a:pt x="20803" y="5437"/>
                      <a:pt x="20486" y="5684"/>
                    </a:cubicBezTo>
                    <a:cubicBezTo>
                      <a:pt x="20486" y="5684"/>
                      <a:pt x="20436" y="16503"/>
                      <a:pt x="20436" y="1650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24" name="Shape 10420">
                <a:extLst>
                  <a:ext uri="{FF2B5EF4-FFF2-40B4-BE49-F238E27FC236}">
                    <a16:creationId xmlns:a16="http://schemas.microsoft.com/office/drawing/2014/main" xmlns="" id="{0F5B1C69-4934-4773-A265-87B43298A33A}"/>
                  </a:ext>
                </a:extLst>
              </p:cNvPr>
              <p:cNvSpPr/>
              <p:nvPr/>
            </p:nvSpPr>
            <p:spPr>
              <a:xfrm>
                <a:off x="20962865" y="13425325"/>
                <a:ext cx="410125" cy="29070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25" name="Shape 10421">
                <a:extLst>
                  <a:ext uri="{FF2B5EF4-FFF2-40B4-BE49-F238E27FC236}">
                    <a16:creationId xmlns:a16="http://schemas.microsoft.com/office/drawing/2014/main" xmlns="" id="{F7A95071-E937-4CFE-9482-05B71E5BF85E}"/>
                  </a:ext>
                </a:extLst>
              </p:cNvPr>
              <p:cNvSpPr/>
              <p:nvPr/>
            </p:nvSpPr>
            <p:spPr>
              <a:xfrm>
                <a:off x="17299515" y="11350051"/>
                <a:ext cx="844727" cy="1120380"/>
              </a:xfrm>
              <a:custGeom>
                <a:avLst/>
                <a:gdLst/>
                <a:ahLst/>
                <a:cxnLst>
                  <a:cxn ang="0">
                    <a:pos x="wd2" y="hd2"/>
                  </a:cxn>
                  <a:cxn ang="5400000">
                    <a:pos x="wd2" y="hd2"/>
                  </a:cxn>
                  <a:cxn ang="10800000">
                    <a:pos x="wd2" y="hd2"/>
                  </a:cxn>
                  <a:cxn ang="16200000">
                    <a:pos x="wd2" y="hd2"/>
                  </a:cxn>
                </a:cxnLst>
                <a:rect l="0" t="0" r="r" b="b"/>
                <a:pathLst>
                  <a:path w="20983" h="21600" extrusionOk="0">
                    <a:moveTo>
                      <a:pt x="4487" y="2661"/>
                    </a:moveTo>
                    <a:cubicBezTo>
                      <a:pt x="6041" y="1951"/>
                      <a:pt x="7888" y="1570"/>
                      <a:pt x="9828" y="1650"/>
                    </a:cubicBezTo>
                    <a:cubicBezTo>
                      <a:pt x="12550" y="1762"/>
                      <a:pt x="15032" y="2810"/>
                      <a:pt x="16637" y="4507"/>
                    </a:cubicBezTo>
                    <a:cubicBezTo>
                      <a:pt x="17954" y="5855"/>
                      <a:pt x="18616" y="7507"/>
                      <a:pt x="18498" y="9204"/>
                    </a:cubicBezTo>
                    <a:cubicBezTo>
                      <a:pt x="18319" y="11771"/>
                      <a:pt x="16441" y="14049"/>
                      <a:pt x="13531" y="15243"/>
                    </a:cubicBezTo>
                    <a:cubicBezTo>
                      <a:pt x="7170" y="17652"/>
                      <a:pt x="-219" y="13941"/>
                      <a:pt x="5" y="8450"/>
                    </a:cubicBezTo>
                    <a:cubicBezTo>
                      <a:pt x="107" y="5959"/>
                      <a:pt x="1897" y="3846"/>
                      <a:pt x="4487" y="2661"/>
                    </a:cubicBezTo>
                    <a:close/>
                    <a:moveTo>
                      <a:pt x="11927" y="0"/>
                    </a:moveTo>
                    <a:cubicBezTo>
                      <a:pt x="14972" y="550"/>
                      <a:pt x="17565" y="1989"/>
                      <a:pt x="19217" y="4049"/>
                    </a:cubicBezTo>
                    <a:cubicBezTo>
                      <a:pt x="20869" y="6108"/>
                      <a:pt x="21381" y="8545"/>
                      <a:pt x="20673" y="10908"/>
                    </a:cubicBezTo>
                    <a:cubicBezTo>
                      <a:pt x="19872" y="13581"/>
                      <a:pt x="17567" y="15755"/>
                      <a:pt x="14558" y="16945"/>
                    </a:cubicBezTo>
                    <a:cubicBezTo>
                      <a:pt x="13956" y="17183"/>
                      <a:pt x="13322" y="17384"/>
                      <a:pt x="12670" y="17539"/>
                    </a:cubicBezTo>
                    <a:lnTo>
                      <a:pt x="13689" y="19091"/>
                    </a:lnTo>
                    <a:lnTo>
                      <a:pt x="16552" y="17959"/>
                    </a:lnTo>
                    <a:lnTo>
                      <a:pt x="17260" y="19038"/>
                    </a:lnTo>
                    <a:lnTo>
                      <a:pt x="10780" y="21600"/>
                    </a:lnTo>
                    <a:lnTo>
                      <a:pt x="10072" y="20522"/>
                    </a:lnTo>
                    <a:lnTo>
                      <a:pt x="12300" y="19641"/>
                    </a:lnTo>
                    <a:lnTo>
                      <a:pt x="11104" y="17819"/>
                    </a:lnTo>
                    <a:cubicBezTo>
                      <a:pt x="10775" y="17860"/>
                      <a:pt x="10443" y="17889"/>
                      <a:pt x="10107" y="17909"/>
                    </a:cubicBezTo>
                    <a:cubicBezTo>
                      <a:pt x="9771" y="17928"/>
                      <a:pt x="9432" y="17928"/>
                      <a:pt x="9091" y="17924"/>
                    </a:cubicBezTo>
                    <a:lnTo>
                      <a:pt x="9115" y="16720"/>
                    </a:lnTo>
                    <a:cubicBezTo>
                      <a:pt x="13857" y="16783"/>
                      <a:pt x="18085" y="14219"/>
                      <a:pt x="19161" y="10628"/>
                    </a:cubicBezTo>
                    <a:cubicBezTo>
                      <a:pt x="19775" y="8580"/>
                      <a:pt x="19321" y="6477"/>
                      <a:pt x="17889" y="4691"/>
                    </a:cubicBezTo>
                    <a:cubicBezTo>
                      <a:pt x="16457" y="2906"/>
                      <a:pt x="14223" y="1654"/>
                      <a:pt x="11584" y="1178"/>
                    </a:cubicBezTo>
                    <a:lnTo>
                      <a:pt x="11927" y="0"/>
                    </a:lnTo>
                    <a:close/>
                    <a:moveTo>
                      <a:pt x="5394" y="3239"/>
                    </a:moveTo>
                    <a:cubicBezTo>
                      <a:pt x="4971" y="3418"/>
                      <a:pt x="4569" y="3631"/>
                      <a:pt x="4192" y="3867"/>
                    </a:cubicBezTo>
                    <a:cubicBezTo>
                      <a:pt x="4430" y="4003"/>
                      <a:pt x="4673" y="4128"/>
                      <a:pt x="4923" y="4245"/>
                    </a:cubicBezTo>
                    <a:cubicBezTo>
                      <a:pt x="5174" y="4362"/>
                      <a:pt x="5435" y="4472"/>
                      <a:pt x="5696" y="4572"/>
                    </a:cubicBezTo>
                    <a:cubicBezTo>
                      <a:pt x="5840" y="4267"/>
                      <a:pt x="6003" y="3965"/>
                      <a:pt x="6174" y="3669"/>
                    </a:cubicBezTo>
                    <a:cubicBezTo>
                      <a:pt x="6345" y="3372"/>
                      <a:pt x="6521" y="3084"/>
                      <a:pt x="6719" y="2797"/>
                    </a:cubicBezTo>
                    <a:cubicBezTo>
                      <a:pt x="6262" y="2917"/>
                      <a:pt x="5818" y="3060"/>
                      <a:pt x="5394" y="3239"/>
                    </a:cubicBezTo>
                    <a:close/>
                    <a:moveTo>
                      <a:pt x="8111" y="2528"/>
                    </a:moveTo>
                    <a:cubicBezTo>
                      <a:pt x="7815" y="2902"/>
                      <a:pt x="7543" y="3287"/>
                      <a:pt x="7298" y="3681"/>
                    </a:cubicBezTo>
                    <a:cubicBezTo>
                      <a:pt x="7054" y="4074"/>
                      <a:pt x="6836" y="4477"/>
                      <a:pt x="6643" y="4888"/>
                    </a:cubicBezTo>
                    <a:cubicBezTo>
                      <a:pt x="7029" y="4999"/>
                      <a:pt x="7434" y="5094"/>
                      <a:pt x="7836" y="5166"/>
                    </a:cubicBezTo>
                    <a:cubicBezTo>
                      <a:pt x="8238" y="5238"/>
                      <a:pt x="8643" y="5293"/>
                      <a:pt x="9058" y="5327"/>
                    </a:cubicBezTo>
                    <a:lnTo>
                      <a:pt x="9258" y="2461"/>
                    </a:lnTo>
                    <a:cubicBezTo>
                      <a:pt x="9068" y="2462"/>
                      <a:pt x="8871" y="2466"/>
                      <a:pt x="8681" y="2478"/>
                    </a:cubicBezTo>
                    <a:cubicBezTo>
                      <a:pt x="8492" y="2490"/>
                      <a:pt x="8298" y="2506"/>
                      <a:pt x="8111" y="2528"/>
                    </a:cubicBezTo>
                    <a:close/>
                    <a:moveTo>
                      <a:pt x="3332" y="4418"/>
                    </a:moveTo>
                    <a:cubicBezTo>
                      <a:pt x="2706" y="4923"/>
                      <a:pt x="2197" y="5495"/>
                      <a:pt x="1822" y="6116"/>
                    </a:cubicBezTo>
                    <a:cubicBezTo>
                      <a:pt x="1446" y="6736"/>
                      <a:pt x="1199" y="7397"/>
                      <a:pt x="1096" y="8089"/>
                    </a:cubicBezTo>
                    <a:lnTo>
                      <a:pt x="4650" y="8241"/>
                    </a:lnTo>
                    <a:cubicBezTo>
                      <a:pt x="4701" y="7753"/>
                      <a:pt x="4783" y="7263"/>
                      <a:pt x="4900" y="6783"/>
                    </a:cubicBezTo>
                    <a:cubicBezTo>
                      <a:pt x="5017" y="6305"/>
                      <a:pt x="5162" y="5834"/>
                      <a:pt x="5343" y="5367"/>
                    </a:cubicBezTo>
                    <a:cubicBezTo>
                      <a:pt x="4988" y="5238"/>
                      <a:pt x="4643" y="5093"/>
                      <a:pt x="4305" y="4935"/>
                    </a:cubicBezTo>
                    <a:cubicBezTo>
                      <a:pt x="3967" y="4776"/>
                      <a:pt x="3650" y="4606"/>
                      <a:pt x="3332" y="4418"/>
                    </a:cubicBezTo>
                    <a:close/>
                    <a:moveTo>
                      <a:pt x="10293" y="2496"/>
                    </a:moveTo>
                    <a:lnTo>
                      <a:pt x="10092" y="5362"/>
                    </a:lnTo>
                    <a:cubicBezTo>
                      <a:pt x="10477" y="5359"/>
                      <a:pt x="10864" y="5342"/>
                      <a:pt x="11246" y="5304"/>
                    </a:cubicBezTo>
                    <a:cubicBezTo>
                      <a:pt x="11627" y="5267"/>
                      <a:pt x="12001" y="5211"/>
                      <a:pt x="12374" y="5139"/>
                    </a:cubicBezTo>
                    <a:cubicBezTo>
                      <a:pt x="12236" y="4706"/>
                      <a:pt x="12076" y="4278"/>
                      <a:pt x="11881" y="3859"/>
                    </a:cubicBezTo>
                    <a:cubicBezTo>
                      <a:pt x="11686" y="3439"/>
                      <a:pt x="11470" y="3025"/>
                      <a:pt x="11220" y="2622"/>
                    </a:cubicBezTo>
                    <a:cubicBezTo>
                      <a:pt x="11069" y="2594"/>
                      <a:pt x="10904" y="2570"/>
                      <a:pt x="10750" y="2550"/>
                    </a:cubicBezTo>
                    <a:cubicBezTo>
                      <a:pt x="10596" y="2530"/>
                      <a:pt x="10449" y="2511"/>
                      <a:pt x="10293" y="2496"/>
                    </a:cubicBezTo>
                    <a:close/>
                    <a:moveTo>
                      <a:pt x="12546" y="2964"/>
                    </a:moveTo>
                    <a:cubicBezTo>
                      <a:pt x="12714" y="3280"/>
                      <a:pt x="12868" y="3593"/>
                      <a:pt x="13006" y="3918"/>
                    </a:cubicBezTo>
                    <a:cubicBezTo>
                      <a:pt x="13143" y="4242"/>
                      <a:pt x="13264" y="4578"/>
                      <a:pt x="13370" y="4909"/>
                    </a:cubicBezTo>
                    <a:cubicBezTo>
                      <a:pt x="13667" y="4827"/>
                      <a:pt x="13966" y="4724"/>
                      <a:pt x="14251" y="4619"/>
                    </a:cubicBezTo>
                    <a:cubicBezTo>
                      <a:pt x="14537" y="4515"/>
                      <a:pt x="14810" y="4404"/>
                      <a:pt x="15083" y="4279"/>
                    </a:cubicBezTo>
                    <a:cubicBezTo>
                      <a:pt x="14713" y="3995"/>
                      <a:pt x="14316" y="3740"/>
                      <a:pt x="13892" y="3520"/>
                    </a:cubicBezTo>
                    <a:cubicBezTo>
                      <a:pt x="13467" y="3300"/>
                      <a:pt x="13014" y="3118"/>
                      <a:pt x="12546" y="2964"/>
                    </a:cubicBezTo>
                    <a:close/>
                    <a:moveTo>
                      <a:pt x="6314" y="5674"/>
                    </a:moveTo>
                    <a:cubicBezTo>
                      <a:pt x="6153" y="6098"/>
                      <a:pt x="6029" y="6530"/>
                      <a:pt x="5924" y="6964"/>
                    </a:cubicBezTo>
                    <a:cubicBezTo>
                      <a:pt x="5819" y="7399"/>
                      <a:pt x="5732" y="7834"/>
                      <a:pt x="5684" y="8277"/>
                    </a:cubicBezTo>
                    <a:lnTo>
                      <a:pt x="8848" y="8407"/>
                    </a:lnTo>
                    <a:lnTo>
                      <a:pt x="9000" y="6134"/>
                    </a:lnTo>
                    <a:cubicBezTo>
                      <a:pt x="8537" y="6101"/>
                      <a:pt x="8088" y="6045"/>
                      <a:pt x="7639" y="5969"/>
                    </a:cubicBezTo>
                    <a:cubicBezTo>
                      <a:pt x="7191" y="5894"/>
                      <a:pt x="6744" y="5793"/>
                      <a:pt x="6314" y="5674"/>
                    </a:cubicBezTo>
                    <a:close/>
                    <a:moveTo>
                      <a:pt x="1037" y="8896"/>
                    </a:moveTo>
                    <a:cubicBezTo>
                      <a:pt x="1047" y="9594"/>
                      <a:pt x="1206" y="10280"/>
                      <a:pt x="1496" y="10928"/>
                    </a:cubicBezTo>
                    <a:cubicBezTo>
                      <a:pt x="1786" y="11576"/>
                      <a:pt x="2210" y="12192"/>
                      <a:pt x="2764" y="12745"/>
                    </a:cubicBezTo>
                    <a:cubicBezTo>
                      <a:pt x="3007" y="12630"/>
                      <a:pt x="3260" y="12514"/>
                      <a:pt x="3512" y="12414"/>
                    </a:cubicBezTo>
                    <a:cubicBezTo>
                      <a:pt x="3964" y="12235"/>
                      <a:pt x="4426" y="12086"/>
                      <a:pt x="4903" y="11958"/>
                    </a:cubicBezTo>
                    <a:cubicBezTo>
                      <a:pt x="4786" y="11479"/>
                      <a:pt x="4700" y="10999"/>
                      <a:pt x="4648" y="10513"/>
                    </a:cubicBezTo>
                    <a:cubicBezTo>
                      <a:pt x="4597" y="10027"/>
                      <a:pt x="4589" y="9533"/>
                      <a:pt x="4604" y="9043"/>
                    </a:cubicBezTo>
                    <a:lnTo>
                      <a:pt x="1037" y="8896"/>
                    </a:lnTo>
                    <a:close/>
                    <a:moveTo>
                      <a:pt x="10034" y="6170"/>
                    </a:moveTo>
                    <a:lnTo>
                      <a:pt x="9888" y="8452"/>
                    </a:lnTo>
                    <a:lnTo>
                      <a:pt x="12877" y="8570"/>
                    </a:lnTo>
                    <a:cubicBezTo>
                      <a:pt x="12889" y="8129"/>
                      <a:pt x="12873" y="7693"/>
                      <a:pt x="12828" y="7255"/>
                    </a:cubicBezTo>
                    <a:cubicBezTo>
                      <a:pt x="12783" y="6817"/>
                      <a:pt x="12706" y="6382"/>
                      <a:pt x="12605" y="5950"/>
                    </a:cubicBezTo>
                    <a:cubicBezTo>
                      <a:pt x="12185" y="6026"/>
                      <a:pt x="11754" y="6078"/>
                      <a:pt x="11326" y="6116"/>
                    </a:cubicBezTo>
                    <a:cubicBezTo>
                      <a:pt x="10897" y="6154"/>
                      <a:pt x="10465" y="6172"/>
                      <a:pt x="10034" y="6170"/>
                    </a:cubicBezTo>
                    <a:close/>
                    <a:moveTo>
                      <a:pt x="13607" y="5729"/>
                    </a:moveTo>
                    <a:cubicBezTo>
                      <a:pt x="13722" y="6204"/>
                      <a:pt x="13804" y="6683"/>
                      <a:pt x="13855" y="7165"/>
                    </a:cubicBezTo>
                    <a:cubicBezTo>
                      <a:pt x="13906" y="7647"/>
                      <a:pt x="13932" y="8129"/>
                      <a:pt x="13917" y="8615"/>
                    </a:cubicBezTo>
                    <a:lnTo>
                      <a:pt x="17466" y="8758"/>
                    </a:lnTo>
                    <a:cubicBezTo>
                      <a:pt x="17456" y="8067"/>
                      <a:pt x="17305" y="7387"/>
                      <a:pt x="17019" y="6745"/>
                    </a:cubicBezTo>
                    <a:cubicBezTo>
                      <a:pt x="16733" y="6102"/>
                      <a:pt x="16308" y="5496"/>
                      <a:pt x="15763" y="4946"/>
                    </a:cubicBezTo>
                    <a:cubicBezTo>
                      <a:pt x="15538" y="5052"/>
                      <a:pt x="15319" y="5157"/>
                      <a:pt x="15087" y="5249"/>
                    </a:cubicBezTo>
                    <a:cubicBezTo>
                      <a:pt x="14848" y="5343"/>
                      <a:pt x="14597" y="5425"/>
                      <a:pt x="14350" y="5505"/>
                    </a:cubicBezTo>
                    <a:cubicBezTo>
                      <a:pt x="14104" y="5585"/>
                      <a:pt x="13859" y="5663"/>
                      <a:pt x="13607" y="5729"/>
                    </a:cubicBezTo>
                    <a:close/>
                    <a:moveTo>
                      <a:pt x="5626" y="9084"/>
                    </a:moveTo>
                    <a:cubicBezTo>
                      <a:pt x="5614" y="9529"/>
                      <a:pt x="5641" y="9977"/>
                      <a:pt x="5687" y="10418"/>
                    </a:cubicBezTo>
                    <a:cubicBezTo>
                      <a:pt x="5733" y="10859"/>
                      <a:pt x="5801" y="11302"/>
                      <a:pt x="5904" y="11737"/>
                    </a:cubicBezTo>
                    <a:cubicBezTo>
                      <a:pt x="6351" y="11653"/>
                      <a:pt x="6799" y="11583"/>
                      <a:pt x="7255" y="11543"/>
                    </a:cubicBezTo>
                    <a:cubicBezTo>
                      <a:pt x="7711" y="11502"/>
                      <a:pt x="8176" y="11483"/>
                      <a:pt x="8637" y="11488"/>
                    </a:cubicBezTo>
                    <a:lnTo>
                      <a:pt x="8789" y="9215"/>
                    </a:lnTo>
                    <a:lnTo>
                      <a:pt x="5626" y="9084"/>
                    </a:lnTo>
                    <a:close/>
                    <a:moveTo>
                      <a:pt x="9830" y="9260"/>
                    </a:moveTo>
                    <a:lnTo>
                      <a:pt x="9678" y="11533"/>
                    </a:lnTo>
                    <a:cubicBezTo>
                      <a:pt x="10111" y="11566"/>
                      <a:pt x="10539" y="11622"/>
                      <a:pt x="10960" y="11693"/>
                    </a:cubicBezTo>
                    <a:cubicBezTo>
                      <a:pt x="11380" y="11765"/>
                      <a:pt x="11789" y="11857"/>
                      <a:pt x="12195" y="11966"/>
                    </a:cubicBezTo>
                    <a:cubicBezTo>
                      <a:pt x="12354" y="11544"/>
                      <a:pt x="12487" y="11117"/>
                      <a:pt x="12591" y="10685"/>
                    </a:cubicBezTo>
                    <a:cubicBezTo>
                      <a:pt x="12695" y="10253"/>
                      <a:pt x="12771" y="9818"/>
                      <a:pt x="12819" y="9378"/>
                    </a:cubicBezTo>
                    <a:lnTo>
                      <a:pt x="9830" y="9260"/>
                    </a:lnTo>
                    <a:close/>
                    <a:moveTo>
                      <a:pt x="4330" y="13039"/>
                    </a:moveTo>
                    <a:cubicBezTo>
                      <a:pt x="4065" y="13135"/>
                      <a:pt x="3812" y="13241"/>
                      <a:pt x="3558" y="13356"/>
                    </a:cubicBezTo>
                    <a:cubicBezTo>
                      <a:pt x="3906" y="13626"/>
                      <a:pt x="4274" y="13873"/>
                      <a:pt x="4671" y="14087"/>
                    </a:cubicBezTo>
                    <a:cubicBezTo>
                      <a:pt x="5068" y="14300"/>
                      <a:pt x="5484" y="14479"/>
                      <a:pt x="5921" y="14635"/>
                    </a:cubicBezTo>
                    <a:cubicBezTo>
                      <a:pt x="5762" y="14333"/>
                      <a:pt x="5616" y="14028"/>
                      <a:pt x="5485" y="13718"/>
                    </a:cubicBezTo>
                    <a:cubicBezTo>
                      <a:pt x="5354" y="13409"/>
                      <a:pt x="5242" y="13093"/>
                      <a:pt x="5139" y="12778"/>
                    </a:cubicBezTo>
                    <a:cubicBezTo>
                      <a:pt x="4865" y="12856"/>
                      <a:pt x="4595" y="12943"/>
                      <a:pt x="4330" y="13039"/>
                    </a:cubicBezTo>
                    <a:close/>
                    <a:moveTo>
                      <a:pt x="13859" y="9423"/>
                    </a:moveTo>
                    <a:cubicBezTo>
                      <a:pt x="13808" y="9907"/>
                      <a:pt x="13724" y="10381"/>
                      <a:pt x="13609" y="10857"/>
                    </a:cubicBezTo>
                    <a:cubicBezTo>
                      <a:pt x="13493" y="11332"/>
                      <a:pt x="13344" y="11810"/>
                      <a:pt x="13166" y="12273"/>
                    </a:cubicBezTo>
                    <a:cubicBezTo>
                      <a:pt x="13524" y="12401"/>
                      <a:pt x="13875" y="12542"/>
                      <a:pt x="14216" y="12701"/>
                    </a:cubicBezTo>
                    <a:cubicBezTo>
                      <a:pt x="14556" y="12859"/>
                      <a:pt x="14886" y="13034"/>
                      <a:pt x="15207" y="13222"/>
                    </a:cubicBezTo>
                    <a:cubicBezTo>
                      <a:pt x="15824" y="12719"/>
                      <a:pt x="16322" y="12150"/>
                      <a:pt x="16693" y="11534"/>
                    </a:cubicBezTo>
                    <a:cubicBezTo>
                      <a:pt x="17065" y="10917"/>
                      <a:pt x="17305" y="10252"/>
                      <a:pt x="17407" y="9565"/>
                    </a:cubicBezTo>
                    <a:lnTo>
                      <a:pt x="13859" y="9423"/>
                    </a:lnTo>
                    <a:close/>
                    <a:moveTo>
                      <a:pt x="6129" y="12538"/>
                    </a:moveTo>
                    <a:cubicBezTo>
                      <a:pt x="6265" y="12963"/>
                      <a:pt x="6431" y="13384"/>
                      <a:pt x="6622" y="13795"/>
                    </a:cubicBezTo>
                    <a:cubicBezTo>
                      <a:pt x="6812" y="14207"/>
                      <a:pt x="7039" y="14613"/>
                      <a:pt x="7283" y="15009"/>
                    </a:cubicBezTo>
                    <a:cubicBezTo>
                      <a:pt x="7466" y="15045"/>
                      <a:pt x="7639" y="15073"/>
                      <a:pt x="7825" y="15099"/>
                    </a:cubicBezTo>
                    <a:cubicBezTo>
                      <a:pt x="8012" y="15126"/>
                      <a:pt x="8207" y="15149"/>
                      <a:pt x="8397" y="15166"/>
                    </a:cubicBezTo>
                    <a:lnTo>
                      <a:pt x="8585" y="12305"/>
                    </a:lnTo>
                    <a:cubicBezTo>
                      <a:pt x="8171" y="12305"/>
                      <a:pt x="7764" y="12319"/>
                      <a:pt x="7353" y="12359"/>
                    </a:cubicBezTo>
                    <a:cubicBezTo>
                      <a:pt x="6944" y="12398"/>
                      <a:pt x="6529" y="12460"/>
                      <a:pt x="6129" y="12538"/>
                    </a:cubicBezTo>
                    <a:close/>
                    <a:moveTo>
                      <a:pt x="9626" y="12350"/>
                    </a:moveTo>
                    <a:lnTo>
                      <a:pt x="9425" y="15216"/>
                    </a:lnTo>
                    <a:cubicBezTo>
                      <a:pt x="9582" y="15214"/>
                      <a:pt x="9737" y="15203"/>
                      <a:pt x="9894" y="15194"/>
                    </a:cubicBezTo>
                    <a:cubicBezTo>
                      <a:pt x="10050" y="15186"/>
                      <a:pt x="10213" y="15175"/>
                      <a:pt x="10368" y="15159"/>
                    </a:cubicBezTo>
                    <a:cubicBezTo>
                      <a:pt x="10671" y="14778"/>
                      <a:pt x="10949" y="14389"/>
                      <a:pt x="11199" y="13988"/>
                    </a:cubicBezTo>
                    <a:cubicBezTo>
                      <a:pt x="11449" y="13586"/>
                      <a:pt x="11670" y="13171"/>
                      <a:pt x="11866" y="12752"/>
                    </a:cubicBezTo>
                    <a:cubicBezTo>
                      <a:pt x="11505" y="12651"/>
                      <a:pt x="11137" y="12565"/>
                      <a:pt x="10763" y="12497"/>
                    </a:cubicBezTo>
                    <a:cubicBezTo>
                      <a:pt x="10389" y="12429"/>
                      <a:pt x="10011" y="12384"/>
                      <a:pt x="9626" y="12350"/>
                    </a:cubicBezTo>
                    <a:close/>
                    <a:moveTo>
                      <a:pt x="12825" y="13064"/>
                    </a:moveTo>
                    <a:cubicBezTo>
                      <a:pt x="12674" y="13385"/>
                      <a:pt x="12510" y="13697"/>
                      <a:pt x="12329" y="14009"/>
                    </a:cubicBezTo>
                    <a:cubicBezTo>
                      <a:pt x="12148" y="14321"/>
                      <a:pt x="11954" y="14631"/>
                      <a:pt x="11743" y="14932"/>
                    </a:cubicBezTo>
                    <a:cubicBezTo>
                      <a:pt x="12192" y="14825"/>
                      <a:pt x="12634" y="14684"/>
                      <a:pt x="13055" y="14518"/>
                    </a:cubicBezTo>
                    <a:cubicBezTo>
                      <a:pt x="13547" y="14324"/>
                      <a:pt x="14011" y="14095"/>
                      <a:pt x="14443" y="13829"/>
                    </a:cubicBezTo>
                    <a:cubicBezTo>
                      <a:pt x="14187" y="13681"/>
                      <a:pt x="13927" y="13541"/>
                      <a:pt x="13658" y="13413"/>
                    </a:cubicBezTo>
                    <a:cubicBezTo>
                      <a:pt x="13389" y="13285"/>
                      <a:pt x="13107" y="13170"/>
                      <a:pt x="12825" y="13064"/>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26" name="Shape 10422">
                <a:extLst>
                  <a:ext uri="{FF2B5EF4-FFF2-40B4-BE49-F238E27FC236}">
                    <a16:creationId xmlns:a16="http://schemas.microsoft.com/office/drawing/2014/main" xmlns="" id="{0CC5A283-0B8C-4EAE-B255-00D6BFFF9A44}"/>
                  </a:ext>
                </a:extLst>
              </p:cNvPr>
              <p:cNvSpPr/>
              <p:nvPr/>
            </p:nvSpPr>
            <p:spPr>
              <a:xfrm>
                <a:off x="20005517" y="11848690"/>
                <a:ext cx="466519" cy="5390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27" name="Shape 10423">
                <a:extLst>
                  <a:ext uri="{FF2B5EF4-FFF2-40B4-BE49-F238E27FC236}">
                    <a16:creationId xmlns:a16="http://schemas.microsoft.com/office/drawing/2014/main" xmlns="" id="{6F06AF10-B8EB-42BA-8757-7DC71D22D97D}"/>
                  </a:ext>
                </a:extLst>
              </p:cNvPr>
              <p:cNvSpPr/>
              <p:nvPr/>
            </p:nvSpPr>
            <p:spPr>
              <a:xfrm>
                <a:off x="20278369" y="10951900"/>
                <a:ext cx="600732" cy="838469"/>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28" name="Shape 10424">
                <a:extLst>
                  <a:ext uri="{FF2B5EF4-FFF2-40B4-BE49-F238E27FC236}">
                    <a16:creationId xmlns:a16="http://schemas.microsoft.com/office/drawing/2014/main" xmlns="" id="{C55079D8-6A8B-4C54-ADE1-A0FBCBEE7A0E}"/>
                  </a:ext>
                </a:extLst>
              </p:cNvPr>
              <p:cNvSpPr/>
              <p:nvPr/>
            </p:nvSpPr>
            <p:spPr>
              <a:xfrm>
                <a:off x="18922351" y="11328144"/>
                <a:ext cx="534330" cy="591503"/>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29" name="Shape 10425">
                <a:extLst>
                  <a:ext uri="{FF2B5EF4-FFF2-40B4-BE49-F238E27FC236}">
                    <a16:creationId xmlns:a16="http://schemas.microsoft.com/office/drawing/2014/main" xmlns="" id="{05E3489F-6539-4743-B9F0-1D281125965B}"/>
                  </a:ext>
                </a:extLst>
              </p:cNvPr>
              <p:cNvSpPr/>
              <p:nvPr/>
            </p:nvSpPr>
            <p:spPr>
              <a:xfrm>
                <a:off x="18412454" y="12553844"/>
                <a:ext cx="745367" cy="625838"/>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30" name="Shape 10426">
                <a:extLst>
                  <a:ext uri="{FF2B5EF4-FFF2-40B4-BE49-F238E27FC236}">
                    <a16:creationId xmlns:a16="http://schemas.microsoft.com/office/drawing/2014/main" xmlns="" id="{ECF2E00C-4D88-4C2F-A2E6-F4378E962B6D}"/>
                  </a:ext>
                </a:extLst>
              </p:cNvPr>
              <p:cNvSpPr/>
              <p:nvPr/>
            </p:nvSpPr>
            <p:spPr>
              <a:xfrm>
                <a:off x="17735949" y="12437879"/>
                <a:ext cx="513456" cy="632805"/>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31" name="Shape 10427">
                <a:extLst>
                  <a:ext uri="{FF2B5EF4-FFF2-40B4-BE49-F238E27FC236}">
                    <a16:creationId xmlns:a16="http://schemas.microsoft.com/office/drawing/2014/main" xmlns="" id="{090C4385-4D4B-441E-BE4C-DF3CEE95AD6B}"/>
                  </a:ext>
                </a:extLst>
              </p:cNvPr>
              <p:cNvSpPr/>
              <p:nvPr/>
            </p:nvSpPr>
            <p:spPr>
              <a:xfrm>
                <a:off x="18227292" y="11702064"/>
                <a:ext cx="536497" cy="851591"/>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32" name="Shape 10428">
                <a:extLst>
                  <a:ext uri="{FF2B5EF4-FFF2-40B4-BE49-F238E27FC236}">
                    <a16:creationId xmlns:a16="http://schemas.microsoft.com/office/drawing/2014/main" xmlns="" id="{466CD108-3081-41F3-83E2-6A15C48413ED}"/>
                  </a:ext>
                </a:extLst>
              </p:cNvPr>
              <p:cNvSpPr/>
              <p:nvPr/>
            </p:nvSpPr>
            <p:spPr>
              <a:xfrm>
                <a:off x="20222349" y="13054005"/>
                <a:ext cx="570428" cy="640048"/>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33" name="Shape 10429">
                <a:extLst>
                  <a:ext uri="{FF2B5EF4-FFF2-40B4-BE49-F238E27FC236}">
                    <a16:creationId xmlns:a16="http://schemas.microsoft.com/office/drawing/2014/main" xmlns="" id="{B137A047-B0BD-4D43-804A-8A5058803A1A}"/>
                  </a:ext>
                </a:extLst>
              </p:cNvPr>
              <p:cNvSpPr/>
              <p:nvPr/>
            </p:nvSpPr>
            <p:spPr>
              <a:xfrm>
                <a:off x="20917828" y="12545752"/>
                <a:ext cx="387029" cy="55339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34" name="Shape 10430">
                <a:extLst>
                  <a:ext uri="{FF2B5EF4-FFF2-40B4-BE49-F238E27FC236}">
                    <a16:creationId xmlns:a16="http://schemas.microsoft.com/office/drawing/2014/main" xmlns="" id="{CCA55F53-6280-411F-8D73-40BCAAE13811}"/>
                  </a:ext>
                </a:extLst>
              </p:cNvPr>
              <p:cNvSpPr/>
              <p:nvPr/>
            </p:nvSpPr>
            <p:spPr>
              <a:xfrm>
                <a:off x="15503347" y="5283855"/>
                <a:ext cx="387478" cy="449473"/>
              </a:xfrm>
              <a:custGeom>
                <a:avLst/>
                <a:gdLst/>
                <a:ahLst/>
                <a:cxnLst>
                  <a:cxn ang="0">
                    <a:pos x="wd2" y="hd2"/>
                  </a:cxn>
                  <a:cxn ang="5400000">
                    <a:pos x="wd2" y="hd2"/>
                  </a:cxn>
                  <a:cxn ang="10800000">
                    <a:pos x="wd2" y="hd2"/>
                  </a:cxn>
                  <a:cxn ang="16200000">
                    <a:pos x="wd2" y="hd2"/>
                  </a:cxn>
                </a:cxnLst>
                <a:rect l="0" t="0" r="r" b="b"/>
                <a:pathLst>
                  <a:path w="21600" h="21600" extrusionOk="0">
                    <a:moveTo>
                      <a:pt x="10664" y="0"/>
                    </a:moveTo>
                    <a:lnTo>
                      <a:pt x="0" y="14712"/>
                    </a:lnTo>
                    <a:lnTo>
                      <a:pt x="12786" y="21600"/>
                    </a:lnTo>
                    <a:lnTo>
                      <a:pt x="21600" y="9440"/>
                    </a:lnTo>
                    <a:lnTo>
                      <a:pt x="20503" y="5300"/>
                    </a:lnTo>
                    <a:lnTo>
                      <a:pt x="10664" y="0"/>
                    </a:lnTo>
                    <a:close/>
                    <a:moveTo>
                      <a:pt x="12273" y="5578"/>
                    </a:moveTo>
                    <a:lnTo>
                      <a:pt x="16930" y="8086"/>
                    </a:lnTo>
                    <a:lnTo>
                      <a:pt x="16635" y="8492"/>
                    </a:lnTo>
                    <a:lnTo>
                      <a:pt x="11979" y="5984"/>
                    </a:lnTo>
                    <a:lnTo>
                      <a:pt x="12273" y="5578"/>
                    </a:lnTo>
                    <a:close/>
                    <a:moveTo>
                      <a:pt x="7043" y="8326"/>
                    </a:moveTo>
                    <a:lnTo>
                      <a:pt x="16357" y="13343"/>
                    </a:lnTo>
                    <a:lnTo>
                      <a:pt x="16071" y="13738"/>
                    </a:lnTo>
                    <a:lnTo>
                      <a:pt x="6757" y="8721"/>
                    </a:lnTo>
                    <a:lnTo>
                      <a:pt x="7043" y="8326"/>
                    </a:lnTo>
                    <a:close/>
                    <a:moveTo>
                      <a:pt x="5596" y="10322"/>
                    </a:moveTo>
                    <a:lnTo>
                      <a:pt x="14910" y="15339"/>
                    </a:lnTo>
                    <a:lnTo>
                      <a:pt x="14616" y="15745"/>
                    </a:lnTo>
                    <a:lnTo>
                      <a:pt x="5302" y="10728"/>
                    </a:lnTo>
                    <a:lnTo>
                      <a:pt x="5596" y="10322"/>
                    </a:lnTo>
                    <a:close/>
                    <a:moveTo>
                      <a:pt x="4150" y="12318"/>
                    </a:moveTo>
                    <a:lnTo>
                      <a:pt x="8807" y="14826"/>
                    </a:lnTo>
                    <a:lnTo>
                      <a:pt x="8512" y="15232"/>
                    </a:lnTo>
                    <a:lnTo>
                      <a:pt x="3856" y="12724"/>
                    </a:lnTo>
                    <a:lnTo>
                      <a:pt x="4150" y="12318"/>
                    </a:ln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35" name="Shape 10431">
                <a:extLst>
                  <a:ext uri="{FF2B5EF4-FFF2-40B4-BE49-F238E27FC236}">
                    <a16:creationId xmlns:a16="http://schemas.microsoft.com/office/drawing/2014/main" xmlns="" id="{CB247AC8-0C59-4683-8B95-C03700C2C14C}"/>
                  </a:ext>
                </a:extLst>
              </p:cNvPr>
              <p:cNvSpPr/>
              <p:nvPr/>
            </p:nvSpPr>
            <p:spPr>
              <a:xfrm>
                <a:off x="15809856" y="8962294"/>
                <a:ext cx="461009" cy="979054"/>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36" name="Shape 10432">
                <a:extLst>
                  <a:ext uri="{FF2B5EF4-FFF2-40B4-BE49-F238E27FC236}">
                    <a16:creationId xmlns:a16="http://schemas.microsoft.com/office/drawing/2014/main" xmlns="" id="{808C54BA-A5DC-4758-82D1-200D791358E0}"/>
                  </a:ext>
                </a:extLst>
              </p:cNvPr>
              <p:cNvSpPr/>
              <p:nvPr/>
            </p:nvSpPr>
            <p:spPr>
              <a:xfrm>
                <a:off x="21191610" y="12910856"/>
                <a:ext cx="410125" cy="45400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37" name="Shape 10433">
                <a:extLst>
                  <a:ext uri="{FF2B5EF4-FFF2-40B4-BE49-F238E27FC236}">
                    <a16:creationId xmlns:a16="http://schemas.microsoft.com/office/drawing/2014/main" xmlns="" id="{1BCAB7B2-A48D-4122-B462-52D527EDC1F8}"/>
                  </a:ext>
                </a:extLst>
              </p:cNvPr>
              <p:cNvSpPr/>
              <p:nvPr/>
            </p:nvSpPr>
            <p:spPr>
              <a:xfrm>
                <a:off x="19604395" y="11273252"/>
                <a:ext cx="550221" cy="527130"/>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38" name="Shape 10434">
                <a:extLst>
                  <a:ext uri="{FF2B5EF4-FFF2-40B4-BE49-F238E27FC236}">
                    <a16:creationId xmlns:a16="http://schemas.microsoft.com/office/drawing/2014/main" xmlns="" id="{72E74D8E-5BFE-4829-B4FA-622084E9D031}"/>
                  </a:ext>
                </a:extLst>
              </p:cNvPr>
              <p:cNvSpPr/>
              <p:nvPr/>
            </p:nvSpPr>
            <p:spPr>
              <a:xfrm>
                <a:off x="17735949" y="13251101"/>
                <a:ext cx="392648" cy="420201"/>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39" name="Shape 10435">
                <a:extLst>
                  <a:ext uri="{FF2B5EF4-FFF2-40B4-BE49-F238E27FC236}">
                    <a16:creationId xmlns:a16="http://schemas.microsoft.com/office/drawing/2014/main" xmlns="" id="{F976B6B2-21B6-4550-B710-8521396EE0D6}"/>
                  </a:ext>
                </a:extLst>
              </p:cNvPr>
              <p:cNvSpPr/>
              <p:nvPr/>
            </p:nvSpPr>
            <p:spPr>
              <a:xfrm>
                <a:off x="17721877" y="12822449"/>
                <a:ext cx="359033" cy="4148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0293" y="15970"/>
                    </a:lnTo>
                    <a:lnTo>
                      <a:pt x="15488" y="19464"/>
                    </a:lnTo>
                    <a:cubicBezTo>
                      <a:pt x="15488" y="19464"/>
                      <a:pt x="21600" y="21600"/>
                      <a:pt x="21600" y="21600"/>
                    </a:cubicBezTo>
                    <a:close/>
                    <a:moveTo>
                      <a:pt x="14827" y="18782"/>
                    </a:moveTo>
                    <a:lnTo>
                      <a:pt x="19632" y="15288"/>
                    </a:lnTo>
                    <a:lnTo>
                      <a:pt x="7863" y="3150"/>
                    </a:lnTo>
                    <a:lnTo>
                      <a:pt x="3055" y="6642"/>
                    </a:lnTo>
                    <a:cubicBezTo>
                      <a:pt x="3055" y="6642"/>
                      <a:pt x="14827" y="18782"/>
                      <a:pt x="14827" y="18782"/>
                    </a:cubicBezTo>
                    <a:close/>
                    <a:moveTo>
                      <a:pt x="2382" y="5946"/>
                    </a:moveTo>
                    <a:lnTo>
                      <a:pt x="7189" y="2455"/>
                    </a:lnTo>
                    <a:lnTo>
                      <a:pt x="4808" y="0"/>
                    </a:lnTo>
                    <a:lnTo>
                      <a:pt x="0" y="3492"/>
                    </a:lnTo>
                    <a:cubicBezTo>
                      <a:pt x="0" y="3492"/>
                      <a:pt x="2382" y="5946"/>
                      <a:pt x="2382" y="59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40" name="Shape 10436">
                <a:extLst>
                  <a:ext uri="{FF2B5EF4-FFF2-40B4-BE49-F238E27FC236}">
                    <a16:creationId xmlns:a16="http://schemas.microsoft.com/office/drawing/2014/main" xmlns="" id="{D07C2C52-5D7A-4417-B488-8E792E07CCA8}"/>
                  </a:ext>
                </a:extLst>
              </p:cNvPr>
              <p:cNvSpPr/>
              <p:nvPr/>
            </p:nvSpPr>
            <p:spPr>
              <a:xfrm>
                <a:off x="18877040" y="12145395"/>
                <a:ext cx="326231"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41" name="Shape 10437">
                <a:extLst>
                  <a:ext uri="{FF2B5EF4-FFF2-40B4-BE49-F238E27FC236}">
                    <a16:creationId xmlns:a16="http://schemas.microsoft.com/office/drawing/2014/main" xmlns="" id="{5553A6B2-7B6A-42F6-8973-17C471A42B86}"/>
                  </a:ext>
                </a:extLst>
              </p:cNvPr>
              <p:cNvSpPr/>
              <p:nvPr/>
            </p:nvSpPr>
            <p:spPr>
              <a:xfrm>
                <a:off x="21489025" y="13379449"/>
                <a:ext cx="326231"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42" name="Shape 10438">
                <a:extLst>
                  <a:ext uri="{FF2B5EF4-FFF2-40B4-BE49-F238E27FC236}">
                    <a16:creationId xmlns:a16="http://schemas.microsoft.com/office/drawing/2014/main" xmlns="" id="{6BE33486-8C67-41D6-B15F-E0C82CB3CB92}"/>
                  </a:ext>
                </a:extLst>
              </p:cNvPr>
              <p:cNvSpPr/>
              <p:nvPr/>
            </p:nvSpPr>
            <p:spPr>
              <a:xfrm>
                <a:off x="15223809" y="10656400"/>
                <a:ext cx="1231112" cy="1023301"/>
              </a:xfrm>
              <a:custGeom>
                <a:avLst/>
                <a:gdLst/>
                <a:ahLst/>
                <a:cxnLst>
                  <a:cxn ang="0">
                    <a:pos x="wd2" y="hd2"/>
                  </a:cxn>
                  <a:cxn ang="5400000">
                    <a:pos x="wd2" y="hd2"/>
                  </a:cxn>
                  <a:cxn ang="10800000">
                    <a:pos x="wd2" y="hd2"/>
                  </a:cxn>
                  <a:cxn ang="16200000">
                    <a:pos x="wd2" y="hd2"/>
                  </a:cxn>
                </a:cxnLst>
                <a:rect l="0" t="0" r="r" b="b"/>
                <a:pathLst>
                  <a:path w="21307" h="21059" extrusionOk="0">
                    <a:moveTo>
                      <a:pt x="5067" y="1749"/>
                    </a:moveTo>
                    <a:cubicBezTo>
                      <a:pt x="3889" y="2785"/>
                      <a:pt x="2937" y="4241"/>
                      <a:pt x="2399" y="6003"/>
                    </a:cubicBezTo>
                    <a:cubicBezTo>
                      <a:pt x="1643" y="8477"/>
                      <a:pt x="1865" y="11193"/>
                      <a:pt x="2990" y="13443"/>
                    </a:cubicBezTo>
                    <a:cubicBezTo>
                      <a:pt x="3870" y="15269"/>
                      <a:pt x="5250" y="16660"/>
                      <a:pt x="6922" y="17380"/>
                    </a:cubicBezTo>
                    <a:cubicBezTo>
                      <a:pt x="9451" y="18469"/>
                      <a:pt x="12240" y="17907"/>
                      <a:pt x="14313" y="15902"/>
                    </a:cubicBezTo>
                    <a:cubicBezTo>
                      <a:pt x="18651" y="11419"/>
                      <a:pt x="17421" y="3049"/>
                      <a:pt x="12063" y="579"/>
                    </a:cubicBezTo>
                    <a:cubicBezTo>
                      <a:pt x="9632" y="-541"/>
                      <a:pt x="7029" y="23"/>
                      <a:pt x="5067" y="1749"/>
                    </a:cubicBezTo>
                    <a:close/>
                    <a:moveTo>
                      <a:pt x="144" y="7068"/>
                    </a:moveTo>
                    <a:cubicBezTo>
                      <a:pt x="-293" y="10041"/>
                      <a:pt x="271" y="13044"/>
                      <a:pt x="1730" y="15514"/>
                    </a:cubicBezTo>
                    <a:cubicBezTo>
                      <a:pt x="3189" y="17983"/>
                      <a:pt x="5373" y="19622"/>
                      <a:pt x="7873" y="20141"/>
                    </a:cubicBezTo>
                    <a:cubicBezTo>
                      <a:pt x="10701" y="20728"/>
                      <a:pt x="13525" y="19736"/>
                      <a:pt x="15626" y="17641"/>
                    </a:cubicBezTo>
                    <a:cubicBezTo>
                      <a:pt x="16046" y="17222"/>
                      <a:pt x="16441" y="16756"/>
                      <a:pt x="16797" y="16252"/>
                    </a:cubicBezTo>
                    <a:lnTo>
                      <a:pt x="17968" y="17912"/>
                    </a:lnTo>
                    <a:lnTo>
                      <a:pt x="15970" y="19906"/>
                    </a:lnTo>
                    <a:lnTo>
                      <a:pt x="16784" y="21059"/>
                    </a:lnTo>
                    <a:lnTo>
                      <a:pt x="21307" y="16546"/>
                    </a:lnTo>
                    <a:lnTo>
                      <a:pt x="20493" y="15393"/>
                    </a:lnTo>
                    <a:lnTo>
                      <a:pt x="18938" y="16945"/>
                    </a:lnTo>
                    <a:lnTo>
                      <a:pt x="17563" y="14996"/>
                    </a:lnTo>
                    <a:cubicBezTo>
                      <a:pt x="17707" y="14724"/>
                      <a:pt x="17841" y="14443"/>
                      <a:pt x="17966" y="14154"/>
                    </a:cubicBezTo>
                    <a:cubicBezTo>
                      <a:pt x="18091" y="13865"/>
                      <a:pt x="18199" y="13564"/>
                      <a:pt x="18303" y="13258"/>
                    </a:cubicBezTo>
                    <a:lnTo>
                      <a:pt x="17136" y="12695"/>
                    </a:lnTo>
                    <a:cubicBezTo>
                      <a:pt x="15692" y="16940"/>
                      <a:pt x="11882" y="19451"/>
                      <a:pt x="8083" y="18662"/>
                    </a:cubicBezTo>
                    <a:cubicBezTo>
                      <a:pt x="5916" y="18212"/>
                      <a:pt x="4035" y="16786"/>
                      <a:pt x="2770" y="14645"/>
                    </a:cubicBezTo>
                    <a:cubicBezTo>
                      <a:pt x="1505" y="12505"/>
                      <a:pt x="1009" y="9912"/>
                      <a:pt x="1387" y="7335"/>
                    </a:cubicBezTo>
                    <a:lnTo>
                      <a:pt x="144" y="7068"/>
                    </a:lnTo>
                    <a:close/>
                    <a:moveTo>
                      <a:pt x="5335" y="2836"/>
                    </a:moveTo>
                    <a:cubicBezTo>
                      <a:pt x="5642" y="2547"/>
                      <a:pt x="5974" y="2293"/>
                      <a:pt x="6321" y="2073"/>
                    </a:cubicBezTo>
                    <a:cubicBezTo>
                      <a:pt x="6377" y="2351"/>
                      <a:pt x="6420" y="2627"/>
                      <a:pt x="6454" y="2907"/>
                    </a:cubicBezTo>
                    <a:cubicBezTo>
                      <a:pt x="6487" y="3186"/>
                      <a:pt x="6509" y="3472"/>
                      <a:pt x="6523" y="3752"/>
                    </a:cubicBezTo>
                    <a:cubicBezTo>
                      <a:pt x="6184" y="3732"/>
                      <a:pt x="5841" y="3730"/>
                      <a:pt x="5502" y="3738"/>
                    </a:cubicBezTo>
                    <a:cubicBezTo>
                      <a:pt x="5162" y="3746"/>
                      <a:pt x="4828" y="3762"/>
                      <a:pt x="4490" y="3798"/>
                    </a:cubicBezTo>
                    <a:cubicBezTo>
                      <a:pt x="4750" y="3451"/>
                      <a:pt x="5029" y="3125"/>
                      <a:pt x="5335" y="2836"/>
                    </a:cubicBezTo>
                    <a:close/>
                    <a:moveTo>
                      <a:pt x="3789" y="4905"/>
                    </a:moveTo>
                    <a:cubicBezTo>
                      <a:pt x="4243" y="4824"/>
                      <a:pt x="4700" y="4769"/>
                      <a:pt x="5156" y="4743"/>
                    </a:cubicBezTo>
                    <a:cubicBezTo>
                      <a:pt x="5613" y="4717"/>
                      <a:pt x="6071" y="4719"/>
                      <a:pt x="6527" y="4747"/>
                    </a:cubicBezTo>
                    <a:cubicBezTo>
                      <a:pt x="6511" y="5144"/>
                      <a:pt x="6474" y="5550"/>
                      <a:pt x="6416" y="5942"/>
                    </a:cubicBezTo>
                    <a:cubicBezTo>
                      <a:pt x="6358" y="6335"/>
                      <a:pt x="6283" y="6721"/>
                      <a:pt x="6183" y="7106"/>
                    </a:cubicBezTo>
                    <a:lnTo>
                      <a:pt x="3360" y="5892"/>
                    </a:lnTo>
                    <a:cubicBezTo>
                      <a:pt x="3422" y="5724"/>
                      <a:pt x="3488" y="5550"/>
                      <a:pt x="3560" y="5387"/>
                    </a:cubicBezTo>
                    <a:cubicBezTo>
                      <a:pt x="3631" y="5225"/>
                      <a:pt x="3708" y="5061"/>
                      <a:pt x="3789" y="4905"/>
                    </a:cubicBezTo>
                    <a:close/>
                    <a:moveTo>
                      <a:pt x="7125" y="1576"/>
                    </a:moveTo>
                    <a:cubicBezTo>
                      <a:pt x="7809" y="1266"/>
                      <a:pt x="8522" y="1092"/>
                      <a:pt x="9239" y="1059"/>
                    </a:cubicBezTo>
                    <a:cubicBezTo>
                      <a:pt x="9955" y="1027"/>
                      <a:pt x="10670" y="1128"/>
                      <a:pt x="11369" y="1373"/>
                    </a:cubicBezTo>
                    <a:lnTo>
                      <a:pt x="10388" y="4605"/>
                    </a:lnTo>
                    <a:cubicBezTo>
                      <a:pt x="9901" y="4414"/>
                      <a:pt x="9404" y="4249"/>
                      <a:pt x="8905" y="4120"/>
                    </a:cubicBezTo>
                    <a:cubicBezTo>
                      <a:pt x="8407" y="3990"/>
                      <a:pt x="7907" y="3891"/>
                      <a:pt x="7401" y="3825"/>
                    </a:cubicBezTo>
                    <a:cubicBezTo>
                      <a:pt x="7389" y="3447"/>
                      <a:pt x="7359" y="3069"/>
                      <a:pt x="7314" y="2692"/>
                    </a:cubicBezTo>
                    <a:cubicBezTo>
                      <a:pt x="7268" y="2315"/>
                      <a:pt x="7205" y="1950"/>
                      <a:pt x="7125" y="1576"/>
                    </a:cubicBezTo>
                    <a:close/>
                    <a:moveTo>
                      <a:pt x="3066" y="6828"/>
                    </a:moveTo>
                    <a:lnTo>
                      <a:pt x="5890" y="8043"/>
                    </a:lnTo>
                    <a:cubicBezTo>
                      <a:pt x="5764" y="8384"/>
                      <a:pt x="5625" y="8719"/>
                      <a:pt x="5468" y="9040"/>
                    </a:cubicBezTo>
                    <a:cubicBezTo>
                      <a:pt x="5310" y="9361"/>
                      <a:pt x="5138" y="9666"/>
                      <a:pt x="4951" y="9963"/>
                    </a:cubicBezTo>
                    <a:cubicBezTo>
                      <a:pt x="4578" y="9629"/>
                      <a:pt x="4217" y="9279"/>
                      <a:pt x="3874" y="8902"/>
                    </a:cubicBezTo>
                    <a:cubicBezTo>
                      <a:pt x="3532" y="8525"/>
                      <a:pt x="3202" y="8131"/>
                      <a:pt x="2893" y="7713"/>
                    </a:cubicBezTo>
                    <a:cubicBezTo>
                      <a:pt x="2915" y="7565"/>
                      <a:pt x="2943" y="7407"/>
                      <a:pt x="2973" y="7261"/>
                    </a:cubicBezTo>
                    <a:cubicBezTo>
                      <a:pt x="3002" y="7114"/>
                      <a:pt x="3030" y="6974"/>
                      <a:pt x="3066" y="6828"/>
                    </a:cubicBezTo>
                    <a:close/>
                    <a:moveTo>
                      <a:pt x="2802" y="9057"/>
                    </a:moveTo>
                    <a:cubicBezTo>
                      <a:pt x="3052" y="9361"/>
                      <a:pt x="3305" y="9650"/>
                      <a:pt x="3574" y="9930"/>
                    </a:cubicBezTo>
                    <a:cubicBezTo>
                      <a:pt x="3843" y="10210"/>
                      <a:pt x="4128" y="10480"/>
                      <a:pt x="4413" y="10736"/>
                    </a:cubicBezTo>
                    <a:cubicBezTo>
                      <a:pt x="4240" y="10959"/>
                      <a:pt x="4046" y="11175"/>
                      <a:pt x="3855" y="11378"/>
                    </a:cubicBezTo>
                    <a:cubicBezTo>
                      <a:pt x="3663" y="11581"/>
                      <a:pt x="3470" y="11770"/>
                      <a:pt x="3263" y="11952"/>
                    </a:cubicBezTo>
                    <a:cubicBezTo>
                      <a:pt x="3107" y="11485"/>
                      <a:pt x="2988" y="11008"/>
                      <a:pt x="2911" y="10524"/>
                    </a:cubicBezTo>
                    <a:cubicBezTo>
                      <a:pt x="2833" y="10040"/>
                      <a:pt x="2802" y="9549"/>
                      <a:pt x="2802" y="9057"/>
                    </a:cubicBezTo>
                    <a:close/>
                    <a:moveTo>
                      <a:pt x="7388" y="4837"/>
                    </a:moveTo>
                    <a:cubicBezTo>
                      <a:pt x="7847" y="4900"/>
                      <a:pt x="8303" y="4999"/>
                      <a:pt x="8754" y="5117"/>
                    </a:cubicBezTo>
                    <a:cubicBezTo>
                      <a:pt x="9206" y="5235"/>
                      <a:pt x="9653" y="5369"/>
                      <a:pt x="10094" y="5542"/>
                    </a:cubicBezTo>
                    <a:lnTo>
                      <a:pt x="9216" y="8417"/>
                    </a:lnTo>
                    <a:lnTo>
                      <a:pt x="6979" y="7447"/>
                    </a:lnTo>
                    <a:cubicBezTo>
                      <a:pt x="7094" y="7020"/>
                      <a:pt x="7183" y="6594"/>
                      <a:pt x="7252" y="6158"/>
                    </a:cubicBezTo>
                    <a:cubicBezTo>
                      <a:pt x="7322" y="5723"/>
                      <a:pt x="7367" y="5277"/>
                      <a:pt x="7388" y="4837"/>
                    </a:cubicBezTo>
                    <a:close/>
                    <a:moveTo>
                      <a:pt x="12165" y="1714"/>
                    </a:moveTo>
                    <a:cubicBezTo>
                      <a:pt x="12833" y="2061"/>
                      <a:pt x="13444" y="2536"/>
                      <a:pt x="13976" y="3109"/>
                    </a:cubicBezTo>
                    <a:cubicBezTo>
                      <a:pt x="14508" y="3681"/>
                      <a:pt x="14966" y="4358"/>
                      <a:pt x="15323" y="5119"/>
                    </a:cubicBezTo>
                    <a:cubicBezTo>
                      <a:pt x="15135" y="5279"/>
                      <a:pt x="14943" y="5447"/>
                      <a:pt x="14767" y="5623"/>
                    </a:cubicBezTo>
                    <a:cubicBezTo>
                      <a:pt x="14452" y="5937"/>
                      <a:pt x="14161" y="6275"/>
                      <a:pt x="13887" y="6637"/>
                    </a:cubicBezTo>
                    <a:cubicBezTo>
                      <a:pt x="13463" y="6300"/>
                      <a:pt x="13028" y="5990"/>
                      <a:pt x="12576" y="5708"/>
                    </a:cubicBezTo>
                    <a:cubicBezTo>
                      <a:pt x="12124" y="5426"/>
                      <a:pt x="11652" y="5180"/>
                      <a:pt x="11175" y="4955"/>
                    </a:cubicBezTo>
                    <a:lnTo>
                      <a:pt x="12165" y="1714"/>
                    </a:lnTo>
                    <a:close/>
                    <a:moveTo>
                      <a:pt x="6686" y="8384"/>
                    </a:moveTo>
                    <a:lnTo>
                      <a:pt x="8930" y="9363"/>
                    </a:lnTo>
                    <a:lnTo>
                      <a:pt x="8095" y="12077"/>
                    </a:lnTo>
                    <a:cubicBezTo>
                      <a:pt x="7666" y="11873"/>
                      <a:pt x="7252" y="11647"/>
                      <a:pt x="6844" y="11394"/>
                    </a:cubicBezTo>
                    <a:cubicBezTo>
                      <a:pt x="6436" y="11141"/>
                      <a:pt x="6042" y="10862"/>
                      <a:pt x="5658" y="10561"/>
                    </a:cubicBezTo>
                    <a:cubicBezTo>
                      <a:pt x="5865" y="10226"/>
                      <a:pt x="6051" y="9868"/>
                      <a:pt x="6224" y="9506"/>
                    </a:cubicBezTo>
                    <a:cubicBezTo>
                      <a:pt x="6396" y="9143"/>
                      <a:pt x="6550" y="8768"/>
                      <a:pt x="6686" y="8384"/>
                    </a:cubicBezTo>
                    <a:close/>
                    <a:moveTo>
                      <a:pt x="5128" y="11344"/>
                    </a:moveTo>
                    <a:cubicBezTo>
                      <a:pt x="5549" y="11678"/>
                      <a:pt x="5983" y="11984"/>
                      <a:pt x="6431" y="12263"/>
                    </a:cubicBezTo>
                    <a:cubicBezTo>
                      <a:pt x="6880" y="12542"/>
                      <a:pt x="7336" y="12800"/>
                      <a:pt x="7808" y="13023"/>
                    </a:cubicBezTo>
                    <a:lnTo>
                      <a:pt x="6820" y="16246"/>
                    </a:lnTo>
                    <a:cubicBezTo>
                      <a:pt x="6157" y="15901"/>
                      <a:pt x="5551" y="15437"/>
                      <a:pt x="5023" y="14871"/>
                    </a:cubicBezTo>
                    <a:cubicBezTo>
                      <a:pt x="4495" y="14304"/>
                      <a:pt x="4047" y="13632"/>
                      <a:pt x="3690" y="12880"/>
                    </a:cubicBezTo>
                    <a:cubicBezTo>
                      <a:pt x="3863" y="12732"/>
                      <a:pt x="4034" y="12588"/>
                      <a:pt x="4196" y="12426"/>
                    </a:cubicBezTo>
                    <a:cubicBezTo>
                      <a:pt x="4362" y="12260"/>
                      <a:pt x="4521" y="12077"/>
                      <a:pt x="4677" y="11896"/>
                    </a:cubicBezTo>
                    <a:cubicBezTo>
                      <a:pt x="4831" y="11716"/>
                      <a:pt x="4984" y="11536"/>
                      <a:pt x="5128" y="11344"/>
                    </a:cubicBezTo>
                    <a:close/>
                    <a:moveTo>
                      <a:pt x="10890" y="5883"/>
                    </a:moveTo>
                    <a:cubicBezTo>
                      <a:pt x="11322" y="6088"/>
                      <a:pt x="11745" y="6330"/>
                      <a:pt x="12155" y="6586"/>
                    </a:cubicBezTo>
                    <a:cubicBezTo>
                      <a:pt x="12566" y="6841"/>
                      <a:pt x="12970" y="7117"/>
                      <a:pt x="13357" y="7420"/>
                    </a:cubicBezTo>
                    <a:cubicBezTo>
                      <a:pt x="13134" y="7775"/>
                      <a:pt x="12924" y="8140"/>
                      <a:pt x="12741" y="8526"/>
                    </a:cubicBezTo>
                    <a:cubicBezTo>
                      <a:pt x="12557" y="8911"/>
                      <a:pt x="12392" y="9315"/>
                      <a:pt x="12250" y="9727"/>
                    </a:cubicBezTo>
                    <a:lnTo>
                      <a:pt x="10012" y="8758"/>
                    </a:lnTo>
                    <a:lnTo>
                      <a:pt x="10890" y="5883"/>
                    </a:lnTo>
                    <a:close/>
                    <a:moveTo>
                      <a:pt x="9726" y="9704"/>
                    </a:moveTo>
                    <a:lnTo>
                      <a:pt x="11963" y="10674"/>
                    </a:lnTo>
                    <a:cubicBezTo>
                      <a:pt x="11858" y="11075"/>
                      <a:pt x="11775" y="11483"/>
                      <a:pt x="11711" y="11891"/>
                    </a:cubicBezTo>
                    <a:cubicBezTo>
                      <a:pt x="11647" y="12299"/>
                      <a:pt x="11605" y="12707"/>
                      <a:pt x="11582" y="13121"/>
                    </a:cubicBezTo>
                    <a:cubicBezTo>
                      <a:pt x="11125" y="13057"/>
                      <a:pt x="10671" y="12969"/>
                      <a:pt x="10223" y="12851"/>
                    </a:cubicBezTo>
                    <a:cubicBezTo>
                      <a:pt x="9773" y="12733"/>
                      <a:pt x="9330" y="12589"/>
                      <a:pt x="8891" y="12417"/>
                    </a:cubicBezTo>
                    <a:lnTo>
                      <a:pt x="9726" y="9704"/>
                    </a:lnTo>
                    <a:close/>
                    <a:moveTo>
                      <a:pt x="15110" y="6653"/>
                    </a:moveTo>
                    <a:cubicBezTo>
                      <a:pt x="15286" y="6465"/>
                      <a:pt x="15468" y="6291"/>
                      <a:pt x="15660" y="6121"/>
                    </a:cubicBezTo>
                    <a:cubicBezTo>
                      <a:pt x="15809" y="6562"/>
                      <a:pt x="15931" y="7009"/>
                      <a:pt x="16010" y="7466"/>
                    </a:cubicBezTo>
                    <a:cubicBezTo>
                      <a:pt x="16090" y="7922"/>
                      <a:pt x="16131" y="8379"/>
                      <a:pt x="16141" y="8842"/>
                    </a:cubicBezTo>
                    <a:cubicBezTo>
                      <a:pt x="15901" y="8554"/>
                      <a:pt x="15654" y="8277"/>
                      <a:pt x="15397" y="8010"/>
                    </a:cubicBezTo>
                    <a:cubicBezTo>
                      <a:pt x="15141" y="7743"/>
                      <a:pt x="14873" y="7490"/>
                      <a:pt x="14601" y="7245"/>
                    </a:cubicBezTo>
                    <a:cubicBezTo>
                      <a:pt x="14764" y="7040"/>
                      <a:pt x="14933" y="6842"/>
                      <a:pt x="15110" y="6653"/>
                    </a:cubicBezTo>
                    <a:close/>
                    <a:moveTo>
                      <a:pt x="8605" y="13364"/>
                    </a:moveTo>
                    <a:cubicBezTo>
                      <a:pt x="9087" y="13554"/>
                      <a:pt x="9570" y="13710"/>
                      <a:pt x="10065" y="13838"/>
                    </a:cubicBezTo>
                    <a:cubicBezTo>
                      <a:pt x="10559" y="13967"/>
                      <a:pt x="11066" y="14066"/>
                      <a:pt x="11569" y="14133"/>
                    </a:cubicBezTo>
                    <a:cubicBezTo>
                      <a:pt x="11579" y="14514"/>
                      <a:pt x="11603" y="14895"/>
                      <a:pt x="11648" y="15274"/>
                    </a:cubicBezTo>
                    <a:cubicBezTo>
                      <a:pt x="11692" y="15654"/>
                      <a:pt x="11756" y="16032"/>
                      <a:pt x="11835" y="16408"/>
                    </a:cubicBezTo>
                    <a:cubicBezTo>
                      <a:pt x="11155" y="16713"/>
                      <a:pt x="10449" y="16878"/>
                      <a:pt x="9738" y="16909"/>
                    </a:cubicBezTo>
                    <a:cubicBezTo>
                      <a:pt x="9027" y="16939"/>
                      <a:pt x="8310" y="16829"/>
                      <a:pt x="7616" y="16587"/>
                    </a:cubicBezTo>
                    <a:lnTo>
                      <a:pt x="8605" y="13364"/>
                    </a:lnTo>
                    <a:close/>
                    <a:moveTo>
                      <a:pt x="14057" y="8008"/>
                    </a:moveTo>
                    <a:cubicBezTo>
                      <a:pt x="14422" y="8336"/>
                      <a:pt x="14775" y="8688"/>
                      <a:pt x="15111" y="9058"/>
                    </a:cubicBezTo>
                    <a:cubicBezTo>
                      <a:pt x="15447" y="9427"/>
                      <a:pt x="15766" y="9826"/>
                      <a:pt x="16070" y="10235"/>
                    </a:cubicBezTo>
                    <a:cubicBezTo>
                      <a:pt x="16047" y="10415"/>
                      <a:pt x="16018" y="10583"/>
                      <a:pt x="15985" y="10761"/>
                    </a:cubicBezTo>
                    <a:cubicBezTo>
                      <a:pt x="15951" y="10940"/>
                      <a:pt x="15911" y="11124"/>
                      <a:pt x="15868" y="11301"/>
                    </a:cubicBezTo>
                    <a:lnTo>
                      <a:pt x="13053" y="10078"/>
                    </a:lnTo>
                    <a:cubicBezTo>
                      <a:pt x="13184" y="9710"/>
                      <a:pt x="13327" y="9355"/>
                      <a:pt x="13495" y="9009"/>
                    </a:cubicBezTo>
                    <a:cubicBezTo>
                      <a:pt x="13664" y="8665"/>
                      <a:pt x="13854" y="8326"/>
                      <a:pt x="14057" y="8008"/>
                    </a:cubicBezTo>
                    <a:close/>
                    <a:moveTo>
                      <a:pt x="12766" y="11024"/>
                    </a:moveTo>
                    <a:lnTo>
                      <a:pt x="15589" y="12239"/>
                    </a:lnTo>
                    <a:cubicBezTo>
                      <a:pt x="15538" y="12378"/>
                      <a:pt x="15478" y="12511"/>
                      <a:pt x="15420" y="12645"/>
                    </a:cubicBezTo>
                    <a:cubicBezTo>
                      <a:pt x="15362" y="12780"/>
                      <a:pt x="15300" y="12919"/>
                      <a:pt x="15235" y="13050"/>
                    </a:cubicBezTo>
                    <a:cubicBezTo>
                      <a:pt x="14772" y="13134"/>
                      <a:pt x="14310" y="13191"/>
                      <a:pt x="13844" y="13218"/>
                    </a:cubicBezTo>
                    <a:cubicBezTo>
                      <a:pt x="13378" y="13245"/>
                      <a:pt x="12908" y="13241"/>
                      <a:pt x="12443" y="13211"/>
                    </a:cubicBezTo>
                    <a:cubicBezTo>
                      <a:pt x="12460" y="12841"/>
                      <a:pt x="12494" y="12472"/>
                      <a:pt x="12547" y="12107"/>
                    </a:cubicBezTo>
                    <a:cubicBezTo>
                      <a:pt x="12600" y="11742"/>
                      <a:pt x="12676" y="11384"/>
                      <a:pt x="12766" y="11024"/>
                    </a:cubicBezTo>
                    <a:close/>
                    <a:moveTo>
                      <a:pt x="12438" y="14214"/>
                    </a:moveTo>
                    <a:cubicBezTo>
                      <a:pt x="12795" y="14237"/>
                      <a:pt x="13149" y="14242"/>
                      <a:pt x="13506" y="14233"/>
                    </a:cubicBezTo>
                    <a:cubicBezTo>
                      <a:pt x="13864" y="14224"/>
                      <a:pt x="14224" y="14202"/>
                      <a:pt x="14580" y="14161"/>
                    </a:cubicBezTo>
                    <a:cubicBezTo>
                      <a:pt x="14335" y="14508"/>
                      <a:pt x="14059" y="14833"/>
                      <a:pt x="13766" y="15126"/>
                    </a:cubicBezTo>
                    <a:cubicBezTo>
                      <a:pt x="13423" y="15468"/>
                      <a:pt x="13055" y="15770"/>
                      <a:pt x="12662" y="16024"/>
                    </a:cubicBezTo>
                    <a:cubicBezTo>
                      <a:pt x="12600" y="15725"/>
                      <a:pt x="12549" y="15426"/>
                      <a:pt x="12511" y="15125"/>
                    </a:cubicBezTo>
                    <a:cubicBezTo>
                      <a:pt x="12473" y="14823"/>
                      <a:pt x="12451" y="14517"/>
                      <a:pt x="12438" y="14214"/>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43" name="Shape 10439">
                <a:extLst>
                  <a:ext uri="{FF2B5EF4-FFF2-40B4-BE49-F238E27FC236}">
                    <a16:creationId xmlns:a16="http://schemas.microsoft.com/office/drawing/2014/main" xmlns="" id="{0BC93EA2-14AE-462F-B0C9-35F4FDC492D9}"/>
                  </a:ext>
                </a:extLst>
              </p:cNvPr>
              <p:cNvSpPr/>
              <p:nvPr/>
            </p:nvSpPr>
            <p:spPr>
              <a:xfrm>
                <a:off x="15028525" y="10196698"/>
                <a:ext cx="417299" cy="446578"/>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44" name="Shape 10440">
                <a:extLst>
                  <a:ext uri="{FF2B5EF4-FFF2-40B4-BE49-F238E27FC236}">
                    <a16:creationId xmlns:a16="http://schemas.microsoft.com/office/drawing/2014/main" xmlns="" id="{4E7A45D3-65E6-475D-A5D5-086FA47693F5}"/>
                  </a:ext>
                </a:extLst>
              </p:cNvPr>
              <p:cNvSpPr/>
              <p:nvPr/>
            </p:nvSpPr>
            <p:spPr>
              <a:xfrm>
                <a:off x="16217788" y="9944091"/>
                <a:ext cx="446854" cy="494667"/>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45" name="Shape 10441">
                <a:extLst>
                  <a:ext uri="{FF2B5EF4-FFF2-40B4-BE49-F238E27FC236}">
                    <a16:creationId xmlns:a16="http://schemas.microsoft.com/office/drawing/2014/main" xmlns="" id="{64B72EA9-24BF-4474-A700-C88F92FA770D}"/>
                  </a:ext>
                </a:extLst>
              </p:cNvPr>
              <p:cNvSpPr/>
              <p:nvPr/>
            </p:nvSpPr>
            <p:spPr>
              <a:xfrm>
                <a:off x="14782485" y="8405905"/>
                <a:ext cx="501644" cy="700166"/>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46" name="Shape 10442">
                <a:extLst>
                  <a:ext uri="{FF2B5EF4-FFF2-40B4-BE49-F238E27FC236}">
                    <a16:creationId xmlns:a16="http://schemas.microsoft.com/office/drawing/2014/main" xmlns="" id="{3F7C2301-57CC-49CE-870B-D5B2BA43F36F}"/>
                  </a:ext>
                </a:extLst>
              </p:cNvPr>
              <p:cNvSpPr/>
              <p:nvPr/>
            </p:nvSpPr>
            <p:spPr>
              <a:xfrm>
                <a:off x="16163592" y="9475921"/>
                <a:ext cx="425669" cy="396236"/>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47" name="Shape 10443">
                <a:extLst>
                  <a:ext uri="{FF2B5EF4-FFF2-40B4-BE49-F238E27FC236}">
                    <a16:creationId xmlns:a16="http://schemas.microsoft.com/office/drawing/2014/main" xmlns="" id="{9299F372-196C-4CD3-A4B8-AA0B29752975}"/>
                  </a:ext>
                </a:extLst>
              </p:cNvPr>
              <p:cNvSpPr/>
              <p:nvPr/>
            </p:nvSpPr>
            <p:spPr>
              <a:xfrm>
                <a:off x="14923515" y="9401127"/>
                <a:ext cx="530063" cy="653239"/>
              </a:xfrm>
              <a:custGeom>
                <a:avLst/>
                <a:gdLst/>
                <a:ahLst/>
                <a:cxnLst>
                  <a:cxn ang="0">
                    <a:pos x="wd2" y="hd2"/>
                  </a:cxn>
                  <a:cxn ang="5400000">
                    <a:pos x="wd2" y="hd2"/>
                  </a:cxn>
                  <a:cxn ang="10800000">
                    <a:pos x="wd2" y="hd2"/>
                  </a:cxn>
                  <a:cxn ang="16200000">
                    <a:pos x="wd2" y="hd2"/>
                  </a:cxn>
                </a:cxnLst>
                <a:rect l="0" t="0" r="r" b="b"/>
                <a:pathLst>
                  <a:path w="21339" h="21341" extrusionOk="0">
                    <a:moveTo>
                      <a:pt x="19725" y="4962"/>
                    </a:moveTo>
                    <a:cubicBezTo>
                      <a:pt x="19481" y="4621"/>
                      <a:pt x="18944" y="4504"/>
                      <a:pt x="18524" y="4700"/>
                    </a:cubicBezTo>
                    <a:lnTo>
                      <a:pt x="16276" y="5753"/>
                    </a:lnTo>
                    <a:cubicBezTo>
                      <a:pt x="16665" y="6156"/>
                      <a:pt x="16967" y="6565"/>
                      <a:pt x="17201" y="6965"/>
                    </a:cubicBezTo>
                    <a:lnTo>
                      <a:pt x="19403" y="5935"/>
                    </a:lnTo>
                    <a:cubicBezTo>
                      <a:pt x="19823" y="5739"/>
                      <a:pt x="19967" y="5303"/>
                      <a:pt x="19725" y="4962"/>
                    </a:cubicBezTo>
                    <a:close/>
                    <a:moveTo>
                      <a:pt x="21339" y="9898"/>
                    </a:moveTo>
                    <a:cubicBezTo>
                      <a:pt x="21338" y="9504"/>
                      <a:pt x="20944" y="9185"/>
                      <a:pt x="20459" y="9185"/>
                    </a:cubicBezTo>
                    <a:lnTo>
                      <a:pt x="17939" y="9183"/>
                    </a:lnTo>
                    <a:cubicBezTo>
                      <a:pt x="17998" y="9688"/>
                      <a:pt x="17984" y="10167"/>
                      <a:pt x="17927" y="10609"/>
                    </a:cubicBezTo>
                    <a:lnTo>
                      <a:pt x="20460" y="10610"/>
                    </a:lnTo>
                    <a:cubicBezTo>
                      <a:pt x="20946" y="10610"/>
                      <a:pt x="21338" y="10292"/>
                      <a:pt x="21339" y="9898"/>
                    </a:cubicBezTo>
                    <a:close/>
                    <a:moveTo>
                      <a:pt x="4324" y="1565"/>
                    </a:moveTo>
                    <a:cubicBezTo>
                      <a:pt x="4080" y="1224"/>
                      <a:pt x="3543" y="1107"/>
                      <a:pt x="3123" y="1304"/>
                    </a:cubicBezTo>
                    <a:cubicBezTo>
                      <a:pt x="2703" y="1501"/>
                      <a:pt x="2559" y="1936"/>
                      <a:pt x="2802" y="2278"/>
                    </a:cubicBezTo>
                    <a:lnTo>
                      <a:pt x="4065" y="4052"/>
                    </a:lnTo>
                    <a:cubicBezTo>
                      <a:pt x="4512" y="3793"/>
                      <a:pt x="5019" y="3548"/>
                      <a:pt x="5588" y="3340"/>
                    </a:cubicBezTo>
                    <a:cubicBezTo>
                      <a:pt x="5588" y="3340"/>
                      <a:pt x="4324" y="1565"/>
                      <a:pt x="4324" y="1565"/>
                    </a:cubicBezTo>
                    <a:close/>
                    <a:moveTo>
                      <a:pt x="10086" y="713"/>
                    </a:moveTo>
                    <a:cubicBezTo>
                      <a:pt x="10086" y="319"/>
                      <a:pt x="9693" y="0"/>
                      <a:pt x="9207" y="0"/>
                    </a:cubicBezTo>
                    <a:cubicBezTo>
                      <a:pt x="8723" y="0"/>
                      <a:pt x="8330" y="319"/>
                      <a:pt x="8330" y="713"/>
                    </a:cubicBezTo>
                    <a:lnTo>
                      <a:pt x="8331" y="2772"/>
                    </a:lnTo>
                    <a:cubicBezTo>
                      <a:pt x="8876" y="2739"/>
                      <a:pt x="9464" y="2751"/>
                      <a:pt x="10088" y="2828"/>
                    </a:cubicBezTo>
                    <a:cubicBezTo>
                      <a:pt x="10088" y="2828"/>
                      <a:pt x="10086" y="713"/>
                      <a:pt x="10086" y="713"/>
                    </a:cubicBezTo>
                    <a:close/>
                    <a:moveTo>
                      <a:pt x="15284" y="1339"/>
                    </a:moveTo>
                    <a:cubicBezTo>
                      <a:pt x="14864" y="1142"/>
                      <a:pt x="14326" y="1258"/>
                      <a:pt x="14084" y="1599"/>
                    </a:cubicBezTo>
                    <a:lnTo>
                      <a:pt x="12730" y="3502"/>
                    </a:lnTo>
                    <a:cubicBezTo>
                      <a:pt x="12923" y="3577"/>
                      <a:pt x="14063" y="4115"/>
                      <a:pt x="14249" y="4220"/>
                    </a:cubicBezTo>
                    <a:lnTo>
                      <a:pt x="15606" y="2312"/>
                    </a:lnTo>
                    <a:cubicBezTo>
                      <a:pt x="15849" y="1971"/>
                      <a:pt x="15704" y="1536"/>
                      <a:pt x="15284" y="1339"/>
                    </a:cubicBezTo>
                    <a:close/>
                    <a:moveTo>
                      <a:pt x="16063" y="12771"/>
                    </a:moveTo>
                    <a:cubicBezTo>
                      <a:pt x="17178" y="10880"/>
                      <a:pt x="17910" y="6928"/>
                      <a:pt x="12930" y="4595"/>
                    </a:cubicBezTo>
                    <a:cubicBezTo>
                      <a:pt x="12930" y="4595"/>
                      <a:pt x="12929" y="4595"/>
                      <a:pt x="12928" y="4595"/>
                    </a:cubicBezTo>
                    <a:cubicBezTo>
                      <a:pt x="12928" y="4594"/>
                      <a:pt x="12927" y="4594"/>
                      <a:pt x="12926" y="4594"/>
                    </a:cubicBezTo>
                    <a:cubicBezTo>
                      <a:pt x="12926" y="4593"/>
                      <a:pt x="12925" y="4593"/>
                      <a:pt x="12924" y="4593"/>
                    </a:cubicBezTo>
                    <a:cubicBezTo>
                      <a:pt x="12924" y="4592"/>
                      <a:pt x="12923" y="4592"/>
                      <a:pt x="12922" y="4592"/>
                    </a:cubicBezTo>
                    <a:cubicBezTo>
                      <a:pt x="7943" y="2259"/>
                      <a:pt x="4092" y="4749"/>
                      <a:pt x="2631" y="6478"/>
                    </a:cubicBezTo>
                    <a:cubicBezTo>
                      <a:pt x="1322" y="8041"/>
                      <a:pt x="1632" y="10216"/>
                      <a:pt x="1621" y="10529"/>
                    </a:cubicBezTo>
                    <a:cubicBezTo>
                      <a:pt x="1602" y="11040"/>
                      <a:pt x="2174" y="13289"/>
                      <a:pt x="1592" y="14216"/>
                    </a:cubicBezTo>
                    <a:cubicBezTo>
                      <a:pt x="792" y="15491"/>
                      <a:pt x="955" y="15611"/>
                      <a:pt x="1594" y="16106"/>
                    </a:cubicBezTo>
                    <a:cubicBezTo>
                      <a:pt x="2244" y="16611"/>
                      <a:pt x="5442" y="18109"/>
                      <a:pt x="6306" y="18314"/>
                    </a:cubicBezTo>
                    <a:cubicBezTo>
                      <a:pt x="7154" y="18515"/>
                      <a:pt x="7364" y="18570"/>
                      <a:pt x="8324" y="17370"/>
                    </a:cubicBezTo>
                    <a:cubicBezTo>
                      <a:pt x="9022" y="16498"/>
                      <a:pt x="11709" y="15775"/>
                      <a:pt x="12245" y="15507"/>
                    </a:cubicBezTo>
                    <a:cubicBezTo>
                      <a:pt x="12574" y="15342"/>
                      <a:pt x="15049" y="14473"/>
                      <a:pt x="16063" y="12771"/>
                    </a:cubicBezTo>
                    <a:close/>
                    <a:moveTo>
                      <a:pt x="5425" y="20157"/>
                    </a:moveTo>
                    <a:cubicBezTo>
                      <a:pt x="5564" y="19962"/>
                      <a:pt x="5481" y="19712"/>
                      <a:pt x="5240" y="19599"/>
                    </a:cubicBezTo>
                    <a:lnTo>
                      <a:pt x="756" y="17498"/>
                    </a:lnTo>
                    <a:cubicBezTo>
                      <a:pt x="515" y="17385"/>
                      <a:pt x="206" y="17452"/>
                      <a:pt x="67" y="17647"/>
                    </a:cubicBezTo>
                    <a:lnTo>
                      <a:pt x="67" y="17647"/>
                    </a:lnTo>
                    <a:cubicBezTo>
                      <a:pt x="-72" y="17843"/>
                      <a:pt x="11" y="18093"/>
                      <a:pt x="252" y="18206"/>
                    </a:cubicBezTo>
                    <a:lnTo>
                      <a:pt x="4736" y="20307"/>
                    </a:lnTo>
                    <a:cubicBezTo>
                      <a:pt x="4977" y="20420"/>
                      <a:pt x="5286" y="20353"/>
                      <a:pt x="5425" y="20157"/>
                    </a:cubicBezTo>
                    <a:cubicBezTo>
                      <a:pt x="5425" y="20157"/>
                      <a:pt x="5425" y="20157"/>
                      <a:pt x="5425" y="20157"/>
                    </a:cubicBezTo>
                    <a:close/>
                    <a:moveTo>
                      <a:pt x="6113" y="19190"/>
                    </a:moveTo>
                    <a:cubicBezTo>
                      <a:pt x="6252" y="18995"/>
                      <a:pt x="6169" y="18745"/>
                      <a:pt x="5928" y="18632"/>
                    </a:cubicBezTo>
                    <a:lnTo>
                      <a:pt x="1444" y="16531"/>
                    </a:lnTo>
                    <a:cubicBezTo>
                      <a:pt x="1203" y="16418"/>
                      <a:pt x="894" y="16485"/>
                      <a:pt x="755" y="16680"/>
                    </a:cubicBezTo>
                    <a:lnTo>
                      <a:pt x="755" y="16680"/>
                    </a:lnTo>
                    <a:cubicBezTo>
                      <a:pt x="616" y="16876"/>
                      <a:pt x="699" y="17126"/>
                      <a:pt x="940" y="17239"/>
                    </a:cubicBezTo>
                    <a:lnTo>
                      <a:pt x="5424" y="19340"/>
                    </a:lnTo>
                    <a:cubicBezTo>
                      <a:pt x="5665" y="19453"/>
                      <a:pt x="5974" y="19386"/>
                      <a:pt x="6113" y="19190"/>
                    </a:cubicBezTo>
                    <a:cubicBezTo>
                      <a:pt x="6113" y="19190"/>
                      <a:pt x="6113" y="19190"/>
                      <a:pt x="6113" y="19190"/>
                    </a:cubicBezTo>
                    <a:close/>
                    <a:moveTo>
                      <a:pt x="360" y="18601"/>
                    </a:moveTo>
                    <a:lnTo>
                      <a:pt x="4260" y="20429"/>
                    </a:lnTo>
                    <a:cubicBezTo>
                      <a:pt x="3639" y="21302"/>
                      <a:pt x="2263" y="21600"/>
                      <a:pt x="1186" y="21095"/>
                    </a:cubicBezTo>
                    <a:cubicBezTo>
                      <a:pt x="109" y="20591"/>
                      <a:pt x="-261" y="19474"/>
                      <a:pt x="360" y="1860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48" name="Shape 10444">
                <a:extLst>
                  <a:ext uri="{FF2B5EF4-FFF2-40B4-BE49-F238E27FC236}">
                    <a16:creationId xmlns:a16="http://schemas.microsoft.com/office/drawing/2014/main" xmlns="" id="{94DB496C-B814-4307-AF91-9C9F92C3EA04}"/>
                  </a:ext>
                </a:extLst>
              </p:cNvPr>
              <p:cNvSpPr/>
              <p:nvPr/>
            </p:nvSpPr>
            <p:spPr>
              <a:xfrm>
                <a:off x="15668537" y="8652569"/>
                <a:ext cx="371823" cy="371843"/>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49" name="Shape 10445">
                <a:extLst>
                  <a:ext uri="{FF2B5EF4-FFF2-40B4-BE49-F238E27FC236}">
                    <a16:creationId xmlns:a16="http://schemas.microsoft.com/office/drawing/2014/main" xmlns="" id="{51E45598-7BF2-4ABF-9E8D-191A4424C152}"/>
                  </a:ext>
                </a:extLst>
              </p:cNvPr>
              <p:cNvSpPr/>
              <p:nvPr/>
            </p:nvSpPr>
            <p:spPr>
              <a:xfrm>
                <a:off x="19159248" y="10659016"/>
                <a:ext cx="622763" cy="569104"/>
              </a:xfrm>
              <a:custGeom>
                <a:avLst/>
                <a:gdLst/>
                <a:ahLst/>
                <a:cxnLst>
                  <a:cxn ang="0">
                    <a:pos x="wd2" y="hd2"/>
                  </a:cxn>
                  <a:cxn ang="5400000">
                    <a:pos x="wd2" y="hd2"/>
                  </a:cxn>
                  <a:cxn ang="10800000">
                    <a:pos x="wd2" y="hd2"/>
                  </a:cxn>
                  <a:cxn ang="16200000">
                    <a:pos x="wd2" y="hd2"/>
                  </a:cxn>
                </a:cxnLst>
                <a:rect l="0" t="0" r="r" b="b"/>
                <a:pathLst>
                  <a:path w="20409" h="20716" extrusionOk="0">
                    <a:moveTo>
                      <a:pt x="1339" y="18146"/>
                    </a:moveTo>
                    <a:cubicBezTo>
                      <a:pt x="227" y="16314"/>
                      <a:pt x="661" y="13820"/>
                      <a:pt x="2308" y="12586"/>
                    </a:cubicBezTo>
                    <a:cubicBezTo>
                      <a:pt x="2748" y="12256"/>
                      <a:pt x="3232" y="12053"/>
                      <a:pt x="3725" y="11962"/>
                    </a:cubicBezTo>
                    <a:lnTo>
                      <a:pt x="3738" y="15889"/>
                    </a:lnTo>
                    <a:cubicBezTo>
                      <a:pt x="3739" y="16166"/>
                      <a:pt x="3941" y="16390"/>
                      <a:pt x="4190" y="16389"/>
                    </a:cubicBezTo>
                    <a:cubicBezTo>
                      <a:pt x="4439" y="16388"/>
                      <a:pt x="4640" y="16164"/>
                      <a:pt x="4639" y="15887"/>
                    </a:cubicBezTo>
                    <a:lnTo>
                      <a:pt x="4626" y="11921"/>
                    </a:lnTo>
                    <a:cubicBezTo>
                      <a:pt x="5675" y="12022"/>
                      <a:pt x="6678" y="12627"/>
                      <a:pt x="7312" y="13672"/>
                    </a:cubicBezTo>
                    <a:cubicBezTo>
                      <a:pt x="8425" y="15504"/>
                      <a:pt x="7990" y="17998"/>
                      <a:pt x="6343" y="19232"/>
                    </a:cubicBezTo>
                    <a:cubicBezTo>
                      <a:pt x="4697" y="20465"/>
                      <a:pt x="2452" y="19979"/>
                      <a:pt x="1339" y="18146"/>
                    </a:cubicBezTo>
                    <a:close/>
                    <a:moveTo>
                      <a:pt x="3670" y="7857"/>
                    </a:moveTo>
                    <a:lnTo>
                      <a:pt x="5119" y="6772"/>
                    </a:lnTo>
                    <a:cubicBezTo>
                      <a:pt x="5283" y="6649"/>
                      <a:pt x="5395" y="6369"/>
                      <a:pt x="5367" y="6151"/>
                    </a:cubicBezTo>
                    <a:lnTo>
                      <a:pt x="5135" y="4322"/>
                    </a:lnTo>
                    <a:lnTo>
                      <a:pt x="8435" y="5321"/>
                    </a:lnTo>
                    <a:cubicBezTo>
                      <a:pt x="8435" y="5321"/>
                      <a:pt x="8207" y="5706"/>
                      <a:pt x="7927" y="6179"/>
                    </a:cubicBezTo>
                    <a:lnTo>
                      <a:pt x="4301" y="8895"/>
                    </a:lnTo>
                    <a:cubicBezTo>
                      <a:pt x="4301" y="8895"/>
                      <a:pt x="3670" y="7857"/>
                      <a:pt x="3670" y="7857"/>
                    </a:cubicBezTo>
                    <a:close/>
                    <a:moveTo>
                      <a:pt x="5317" y="9342"/>
                    </a:moveTo>
                    <a:lnTo>
                      <a:pt x="6806" y="8227"/>
                    </a:lnTo>
                    <a:cubicBezTo>
                      <a:pt x="6763" y="8494"/>
                      <a:pt x="6811" y="8776"/>
                      <a:pt x="6952" y="9008"/>
                    </a:cubicBezTo>
                    <a:lnTo>
                      <a:pt x="6951" y="9008"/>
                    </a:lnTo>
                    <a:cubicBezTo>
                      <a:pt x="6951" y="9008"/>
                      <a:pt x="7368" y="9692"/>
                      <a:pt x="7887" y="10542"/>
                    </a:cubicBezTo>
                    <a:cubicBezTo>
                      <a:pt x="7887" y="10542"/>
                      <a:pt x="5317" y="9342"/>
                      <a:pt x="5317" y="9342"/>
                    </a:cubicBezTo>
                    <a:close/>
                    <a:moveTo>
                      <a:pt x="8791" y="8259"/>
                    </a:moveTo>
                    <a:cubicBezTo>
                      <a:pt x="8791" y="8259"/>
                      <a:pt x="10089" y="6315"/>
                      <a:pt x="10706" y="5383"/>
                    </a:cubicBezTo>
                    <a:lnTo>
                      <a:pt x="11903" y="5869"/>
                    </a:lnTo>
                    <a:cubicBezTo>
                      <a:pt x="11641" y="6978"/>
                      <a:pt x="11735" y="8186"/>
                      <a:pt x="12226" y="9262"/>
                    </a:cubicBezTo>
                    <a:lnTo>
                      <a:pt x="10284" y="10718"/>
                    </a:lnTo>
                    <a:cubicBezTo>
                      <a:pt x="10284" y="10718"/>
                      <a:pt x="8791" y="8259"/>
                      <a:pt x="8791" y="8259"/>
                    </a:cubicBezTo>
                    <a:close/>
                    <a:moveTo>
                      <a:pt x="13314" y="9656"/>
                    </a:moveTo>
                    <a:lnTo>
                      <a:pt x="16285" y="7430"/>
                    </a:lnTo>
                    <a:cubicBezTo>
                      <a:pt x="16491" y="7275"/>
                      <a:pt x="16545" y="6964"/>
                      <a:pt x="16406" y="6735"/>
                    </a:cubicBezTo>
                    <a:cubicBezTo>
                      <a:pt x="16343" y="6631"/>
                      <a:pt x="16251" y="6564"/>
                      <a:pt x="16150" y="6533"/>
                    </a:cubicBezTo>
                    <a:lnTo>
                      <a:pt x="16151" y="6531"/>
                    </a:lnTo>
                    <a:lnTo>
                      <a:pt x="12905" y="5212"/>
                    </a:lnTo>
                    <a:cubicBezTo>
                      <a:pt x="13172" y="4652"/>
                      <a:pt x="13562" y="4155"/>
                      <a:pt x="14067" y="3777"/>
                    </a:cubicBezTo>
                    <a:cubicBezTo>
                      <a:pt x="15713" y="2543"/>
                      <a:pt x="17958" y="3030"/>
                      <a:pt x="19071" y="4862"/>
                    </a:cubicBezTo>
                    <a:cubicBezTo>
                      <a:pt x="20183" y="6694"/>
                      <a:pt x="19749" y="9188"/>
                      <a:pt x="18102" y="10422"/>
                    </a:cubicBezTo>
                    <a:cubicBezTo>
                      <a:pt x="16556" y="11580"/>
                      <a:pt x="14482" y="11221"/>
                      <a:pt x="13314" y="9656"/>
                    </a:cubicBezTo>
                    <a:close/>
                    <a:moveTo>
                      <a:pt x="15048" y="7148"/>
                    </a:moveTo>
                    <a:lnTo>
                      <a:pt x="12832" y="8808"/>
                    </a:lnTo>
                    <a:cubicBezTo>
                      <a:pt x="12470" y="7960"/>
                      <a:pt x="12397" y="7021"/>
                      <a:pt x="12588" y="6148"/>
                    </a:cubicBezTo>
                    <a:cubicBezTo>
                      <a:pt x="12588" y="6148"/>
                      <a:pt x="15048" y="7148"/>
                      <a:pt x="15048" y="7148"/>
                    </a:cubicBezTo>
                    <a:close/>
                    <a:moveTo>
                      <a:pt x="742" y="18594"/>
                    </a:moveTo>
                    <a:cubicBezTo>
                      <a:pt x="2079" y="20796"/>
                      <a:pt x="4768" y="21379"/>
                      <a:pt x="6747" y="19896"/>
                    </a:cubicBezTo>
                    <a:cubicBezTo>
                      <a:pt x="8726" y="18413"/>
                      <a:pt x="9246" y="15426"/>
                      <a:pt x="7909" y="13224"/>
                    </a:cubicBezTo>
                    <a:cubicBezTo>
                      <a:pt x="7134" y="11948"/>
                      <a:pt x="5905" y="11216"/>
                      <a:pt x="4623" y="11115"/>
                    </a:cubicBezTo>
                    <a:lnTo>
                      <a:pt x="4619" y="10101"/>
                    </a:lnTo>
                    <a:lnTo>
                      <a:pt x="8815" y="12059"/>
                    </a:lnTo>
                    <a:cubicBezTo>
                      <a:pt x="9382" y="12983"/>
                      <a:pt x="9863" y="13764"/>
                      <a:pt x="9886" y="13787"/>
                    </a:cubicBezTo>
                    <a:cubicBezTo>
                      <a:pt x="10275" y="14180"/>
                      <a:pt x="10877" y="14149"/>
                      <a:pt x="11230" y="13717"/>
                    </a:cubicBezTo>
                    <a:cubicBezTo>
                      <a:pt x="11531" y="13349"/>
                      <a:pt x="11553" y="12810"/>
                      <a:pt x="11313" y="12415"/>
                    </a:cubicBezTo>
                    <a:lnTo>
                      <a:pt x="11314" y="12414"/>
                    </a:lnTo>
                    <a:lnTo>
                      <a:pt x="10788" y="11548"/>
                    </a:lnTo>
                    <a:lnTo>
                      <a:pt x="12715" y="10105"/>
                    </a:lnTo>
                    <a:cubicBezTo>
                      <a:pt x="14109" y="12039"/>
                      <a:pt x="16627" y="12494"/>
                      <a:pt x="18506" y="11086"/>
                    </a:cubicBezTo>
                    <a:cubicBezTo>
                      <a:pt x="20485" y="9603"/>
                      <a:pt x="21005" y="6616"/>
                      <a:pt x="19668" y="4414"/>
                    </a:cubicBezTo>
                    <a:cubicBezTo>
                      <a:pt x="18331" y="2212"/>
                      <a:pt x="15642" y="1629"/>
                      <a:pt x="13663" y="3112"/>
                    </a:cubicBezTo>
                    <a:cubicBezTo>
                      <a:pt x="13027" y="3589"/>
                      <a:pt x="12542" y="4222"/>
                      <a:pt x="12221" y="4933"/>
                    </a:cubicBezTo>
                    <a:lnTo>
                      <a:pt x="11168" y="4506"/>
                    </a:lnTo>
                    <a:cubicBezTo>
                      <a:pt x="11303" y="3945"/>
                      <a:pt x="11158" y="3323"/>
                      <a:pt x="10745" y="2905"/>
                    </a:cubicBezTo>
                    <a:cubicBezTo>
                      <a:pt x="10551" y="2709"/>
                      <a:pt x="10321" y="2584"/>
                      <a:pt x="10082" y="2526"/>
                    </a:cubicBezTo>
                    <a:lnTo>
                      <a:pt x="10082" y="2525"/>
                    </a:lnTo>
                    <a:lnTo>
                      <a:pt x="5355" y="1211"/>
                    </a:lnTo>
                    <a:lnTo>
                      <a:pt x="5355" y="1211"/>
                    </a:lnTo>
                    <a:cubicBezTo>
                      <a:pt x="4823" y="1000"/>
                      <a:pt x="4206" y="1148"/>
                      <a:pt x="3803" y="1641"/>
                    </a:cubicBezTo>
                    <a:cubicBezTo>
                      <a:pt x="3485" y="2031"/>
                      <a:pt x="3373" y="2548"/>
                      <a:pt x="3458" y="3028"/>
                    </a:cubicBezTo>
                    <a:lnTo>
                      <a:pt x="3457" y="3029"/>
                    </a:lnTo>
                    <a:lnTo>
                      <a:pt x="3914" y="5740"/>
                    </a:lnTo>
                    <a:lnTo>
                      <a:pt x="2179" y="7041"/>
                    </a:lnTo>
                    <a:cubicBezTo>
                      <a:pt x="1849" y="7288"/>
                      <a:pt x="1762" y="7786"/>
                      <a:pt x="1985" y="8153"/>
                    </a:cubicBezTo>
                    <a:cubicBezTo>
                      <a:pt x="2193" y="8496"/>
                      <a:pt x="2598" y="8599"/>
                      <a:pt x="2919" y="8409"/>
                    </a:cubicBezTo>
                    <a:lnTo>
                      <a:pt x="3717" y="9723"/>
                    </a:lnTo>
                    <a:lnTo>
                      <a:pt x="3722" y="11148"/>
                    </a:lnTo>
                    <a:cubicBezTo>
                      <a:pt x="3090" y="11245"/>
                      <a:pt x="2469" y="11499"/>
                      <a:pt x="1905" y="11922"/>
                    </a:cubicBezTo>
                    <a:cubicBezTo>
                      <a:pt x="-75" y="13405"/>
                      <a:pt x="-595" y="16392"/>
                      <a:pt x="742" y="18594"/>
                    </a:cubicBezTo>
                    <a:close/>
                    <a:moveTo>
                      <a:pt x="2678" y="707"/>
                    </a:moveTo>
                    <a:cubicBezTo>
                      <a:pt x="2232" y="-27"/>
                      <a:pt x="1336" y="-221"/>
                      <a:pt x="676" y="273"/>
                    </a:cubicBezTo>
                    <a:cubicBezTo>
                      <a:pt x="16" y="767"/>
                      <a:pt x="-157" y="1763"/>
                      <a:pt x="289" y="2497"/>
                    </a:cubicBezTo>
                    <a:cubicBezTo>
                      <a:pt x="734" y="3231"/>
                      <a:pt x="1630" y="3426"/>
                      <a:pt x="2290" y="2931"/>
                    </a:cubicBezTo>
                    <a:cubicBezTo>
                      <a:pt x="2950" y="2437"/>
                      <a:pt x="3123" y="1441"/>
                      <a:pt x="2678" y="70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50" name="Shape 10446">
                <a:extLst>
                  <a:ext uri="{FF2B5EF4-FFF2-40B4-BE49-F238E27FC236}">
                    <a16:creationId xmlns:a16="http://schemas.microsoft.com/office/drawing/2014/main" xmlns="" id="{033CE383-1A59-4919-BF8F-F9EDE26566D5}"/>
                  </a:ext>
                </a:extLst>
              </p:cNvPr>
              <p:cNvSpPr/>
              <p:nvPr/>
            </p:nvSpPr>
            <p:spPr>
              <a:xfrm>
                <a:off x="15268311" y="8005315"/>
                <a:ext cx="498844" cy="55221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4"/>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51" name="Shape 10447">
                <a:extLst>
                  <a:ext uri="{FF2B5EF4-FFF2-40B4-BE49-F238E27FC236}">
                    <a16:creationId xmlns:a16="http://schemas.microsoft.com/office/drawing/2014/main" xmlns="" id="{97D99B59-32E9-4EC2-9183-794BD6B1A846}"/>
                  </a:ext>
                </a:extLst>
              </p:cNvPr>
              <p:cNvSpPr/>
              <p:nvPr/>
            </p:nvSpPr>
            <p:spPr>
              <a:xfrm>
                <a:off x="15182169" y="7422407"/>
                <a:ext cx="482787" cy="501737"/>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52" name="Shape 10448">
                <a:extLst>
                  <a:ext uri="{FF2B5EF4-FFF2-40B4-BE49-F238E27FC236}">
                    <a16:creationId xmlns:a16="http://schemas.microsoft.com/office/drawing/2014/main" xmlns="" id="{AD1630FB-DD2C-4DBA-8E3C-954729E6152F}"/>
                  </a:ext>
                </a:extLst>
              </p:cNvPr>
              <p:cNvSpPr/>
              <p:nvPr/>
            </p:nvSpPr>
            <p:spPr>
              <a:xfrm>
                <a:off x="15128417" y="6820077"/>
                <a:ext cx="371717" cy="5983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3" y="16426"/>
                    </a:lnTo>
                    <a:lnTo>
                      <a:pt x="6939" y="18801"/>
                    </a:lnTo>
                    <a:cubicBezTo>
                      <a:pt x="6939" y="18801"/>
                      <a:pt x="0" y="21600"/>
                      <a:pt x="0" y="21600"/>
                    </a:cubicBezTo>
                    <a:close/>
                    <a:moveTo>
                      <a:pt x="7564" y="18101"/>
                    </a:moveTo>
                    <a:lnTo>
                      <a:pt x="678" y="15726"/>
                    </a:lnTo>
                    <a:lnTo>
                      <a:pt x="11819" y="3241"/>
                    </a:lnTo>
                    <a:lnTo>
                      <a:pt x="18708" y="5613"/>
                    </a:lnTo>
                    <a:cubicBezTo>
                      <a:pt x="18708" y="5613"/>
                      <a:pt x="7564" y="18101"/>
                      <a:pt x="7564" y="18101"/>
                    </a:cubicBezTo>
                    <a:close/>
                    <a:moveTo>
                      <a:pt x="19345" y="4898"/>
                    </a:moveTo>
                    <a:lnTo>
                      <a:pt x="12456" y="2525"/>
                    </a:lnTo>
                    <a:lnTo>
                      <a:pt x="14711" y="0"/>
                    </a:lnTo>
                    <a:lnTo>
                      <a:pt x="21600" y="2372"/>
                    </a:lnTo>
                    <a:cubicBezTo>
                      <a:pt x="21600" y="2372"/>
                      <a:pt x="19345" y="4898"/>
                      <a:pt x="19345" y="4898"/>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53" name="Shape 10449">
                <a:extLst>
                  <a:ext uri="{FF2B5EF4-FFF2-40B4-BE49-F238E27FC236}">
                    <a16:creationId xmlns:a16="http://schemas.microsoft.com/office/drawing/2014/main" xmlns="" id="{8FFCDE22-1B0C-4BAC-834D-BE3F6BCE0D12}"/>
                  </a:ext>
                </a:extLst>
              </p:cNvPr>
              <p:cNvSpPr/>
              <p:nvPr/>
            </p:nvSpPr>
            <p:spPr>
              <a:xfrm>
                <a:off x="19860243" y="12623212"/>
                <a:ext cx="635104" cy="383208"/>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54" name="Shape 10450">
                <a:extLst>
                  <a:ext uri="{FF2B5EF4-FFF2-40B4-BE49-F238E27FC236}">
                    <a16:creationId xmlns:a16="http://schemas.microsoft.com/office/drawing/2014/main" xmlns="" id="{4F4B2F9E-03C9-47CD-9854-E821C6CA4D09}"/>
                  </a:ext>
                </a:extLst>
              </p:cNvPr>
              <p:cNvSpPr/>
              <p:nvPr/>
            </p:nvSpPr>
            <p:spPr>
              <a:xfrm>
                <a:off x="17597376" y="10224912"/>
                <a:ext cx="387029" cy="55339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55" name="Shape 10451">
                <a:extLst>
                  <a:ext uri="{FF2B5EF4-FFF2-40B4-BE49-F238E27FC236}">
                    <a16:creationId xmlns:a16="http://schemas.microsoft.com/office/drawing/2014/main" xmlns="" id="{A6B0DD94-BD49-468C-9B1D-097D511B8448}"/>
                  </a:ext>
                </a:extLst>
              </p:cNvPr>
              <p:cNvSpPr/>
              <p:nvPr/>
            </p:nvSpPr>
            <p:spPr>
              <a:xfrm>
                <a:off x="16686925" y="10342161"/>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56" name="Shape 10452">
                <a:extLst>
                  <a:ext uri="{FF2B5EF4-FFF2-40B4-BE49-F238E27FC236}">
                    <a16:creationId xmlns:a16="http://schemas.microsoft.com/office/drawing/2014/main" xmlns="" id="{BD3A8156-6A0D-47A1-9BFF-AD09E7CF4F13}"/>
                  </a:ext>
                </a:extLst>
              </p:cNvPr>
              <p:cNvSpPr/>
              <p:nvPr/>
            </p:nvSpPr>
            <p:spPr>
              <a:xfrm>
                <a:off x="16291806" y="10573227"/>
                <a:ext cx="326231"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57" name="Shape 10453">
                <a:extLst>
                  <a:ext uri="{FF2B5EF4-FFF2-40B4-BE49-F238E27FC236}">
                    <a16:creationId xmlns:a16="http://schemas.microsoft.com/office/drawing/2014/main" xmlns="" id="{658A25DD-C6B9-4F10-9E48-597BE625B25B}"/>
                  </a:ext>
                </a:extLst>
              </p:cNvPr>
              <p:cNvSpPr/>
              <p:nvPr/>
            </p:nvSpPr>
            <p:spPr>
              <a:xfrm>
                <a:off x="16950896" y="11189814"/>
                <a:ext cx="310646" cy="332439"/>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58" name="Shape 10454">
                <a:extLst>
                  <a:ext uri="{FF2B5EF4-FFF2-40B4-BE49-F238E27FC236}">
                    <a16:creationId xmlns:a16="http://schemas.microsoft.com/office/drawing/2014/main" xmlns="" id="{E7357A2D-8EE2-4BCA-9370-770520042F8F}"/>
                  </a:ext>
                </a:extLst>
              </p:cNvPr>
              <p:cNvSpPr/>
              <p:nvPr/>
            </p:nvSpPr>
            <p:spPr>
              <a:xfrm>
                <a:off x="18327415" y="11333188"/>
                <a:ext cx="410125" cy="290706"/>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59" name="Shape 10455">
                <a:extLst>
                  <a:ext uri="{FF2B5EF4-FFF2-40B4-BE49-F238E27FC236}">
                    <a16:creationId xmlns:a16="http://schemas.microsoft.com/office/drawing/2014/main" xmlns="" id="{73CDC663-91C2-4E9F-B411-8C5D8095294A}"/>
                  </a:ext>
                </a:extLst>
              </p:cNvPr>
              <p:cNvSpPr/>
              <p:nvPr/>
            </p:nvSpPr>
            <p:spPr>
              <a:xfrm>
                <a:off x="15200816" y="9711583"/>
                <a:ext cx="534281" cy="414613"/>
              </a:xfrm>
              <a:custGeom>
                <a:avLst/>
                <a:gdLst/>
                <a:ahLst/>
                <a:cxnLst>
                  <a:cxn ang="0">
                    <a:pos x="wd2" y="hd2"/>
                  </a:cxn>
                  <a:cxn ang="5400000">
                    <a:pos x="wd2" y="hd2"/>
                  </a:cxn>
                  <a:cxn ang="10800000">
                    <a:pos x="wd2" y="hd2"/>
                  </a:cxn>
                  <a:cxn ang="16200000">
                    <a:pos x="wd2" y="hd2"/>
                  </a:cxn>
                </a:cxnLst>
                <a:rect l="0" t="0" r="r" b="b"/>
                <a:pathLst>
                  <a:path w="21504" h="21459" extrusionOk="0">
                    <a:moveTo>
                      <a:pt x="20046" y="0"/>
                    </a:moveTo>
                    <a:lnTo>
                      <a:pt x="18382" y="1612"/>
                    </a:lnTo>
                    <a:cubicBezTo>
                      <a:pt x="18349" y="1555"/>
                      <a:pt x="18183" y="1271"/>
                      <a:pt x="18183" y="1271"/>
                    </a:cubicBezTo>
                    <a:lnTo>
                      <a:pt x="16876" y="2541"/>
                    </a:lnTo>
                    <a:lnTo>
                      <a:pt x="17075" y="2882"/>
                    </a:lnTo>
                    <a:lnTo>
                      <a:pt x="16682" y="3264"/>
                    </a:lnTo>
                    <a:lnTo>
                      <a:pt x="3502" y="16032"/>
                    </a:lnTo>
                    <a:cubicBezTo>
                      <a:pt x="3033" y="16486"/>
                      <a:pt x="956" y="19168"/>
                      <a:pt x="714" y="20293"/>
                    </a:cubicBezTo>
                    <a:cubicBezTo>
                      <a:pt x="679" y="20454"/>
                      <a:pt x="682" y="20584"/>
                      <a:pt x="733" y="20670"/>
                    </a:cubicBezTo>
                    <a:cubicBezTo>
                      <a:pt x="1136" y="21359"/>
                      <a:pt x="4430" y="19041"/>
                      <a:pt x="4965" y="18523"/>
                    </a:cubicBezTo>
                    <a:lnTo>
                      <a:pt x="18142" y="5753"/>
                    </a:lnTo>
                    <a:lnTo>
                      <a:pt x="18535" y="5371"/>
                    </a:lnTo>
                    <a:lnTo>
                      <a:pt x="18743" y="5727"/>
                    </a:lnTo>
                    <a:lnTo>
                      <a:pt x="13621" y="10688"/>
                    </a:lnTo>
                    <a:lnTo>
                      <a:pt x="13920" y="11200"/>
                    </a:lnTo>
                    <a:lnTo>
                      <a:pt x="20349" y="4970"/>
                    </a:lnTo>
                    <a:cubicBezTo>
                      <a:pt x="20349" y="4970"/>
                      <a:pt x="20022" y="4416"/>
                      <a:pt x="19840" y="4106"/>
                    </a:cubicBezTo>
                    <a:lnTo>
                      <a:pt x="21504" y="2494"/>
                    </a:lnTo>
                    <a:cubicBezTo>
                      <a:pt x="21504" y="2494"/>
                      <a:pt x="20046" y="0"/>
                      <a:pt x="20046" y="0"/>
                    </a:cubicBezTo>
                    <a:close/>
                    <a:moveTo>
                      <a:pt x="714" y="20293"/>
                    </a:moveTo>
                    <a:cubicBezTo>
                      <a:pt x="727" y="20240"/>
                      <a:pt x="731" y="20197"/>
                      <a:pt x="751" y="20139"/>
                    </a:cubicBezTo>
                    <a:lnTo>
                      <a:pt x="480" y="20398"/>
                    </a:lnTo>
                    <a:cubicBezTo>
                      <a:pt x="370" y="20505"/>
                      <a:pt x="-96" y="21209"/>
                      <a:pt x="18" y="21404"/>
                    </a:cubicBezTo>
                    <a:cubicBezTo>
                      <a:pt x="133" y="21600"/>
                      <a:pt x="787" y="21217"/>
                      <a:pt x="897" y="21111"/>
                    </a:cubicBezTo>
                    <a:lnTo>
                      <a:pt x="1169" y="20846"/>
                    </a:lnTo>
                    <a:cubicBezTo>
                      <a:pt x="944" y="20888"/>
                      <a:pt x="778" y="20864"/>
                      <a:pt x="705" y="20740"/>
                    </a:cubicBezTo>
                    <a:cubicBezTo>
                      <a:pt x="649" y="20644"/>
                      <a:pt x="665" y="20481"/>
                      <a:pt x="714" y="2029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60" name="Shape 10456">
                <a:extLst>
                  <a:ext uri="{FF2B5EF4-FFF2-40B4-BE49-F238E27FC236}">
                    <a16:creationId xmlns:a16="http://schemas.microsoft.com/office/drawing/2014/main" xmlns="" id="{ADC45312-0143-4F94-96E8-58EA57740930}"/>
                  </a:ext>
                </a:extLst>
              </p:cNvPr>
              <p:cNvSpPr/>
              <p:nvPr/>
            </p:nvSpPr>
            <p:spPr>
              <a:xfrm>
                <a:off x="15431053" y="9155015"/>
                <a:ext cx="444363" cy="290706"/>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grpSp>
      </p:grpSp>
      <p:grpSp>
        <p:nvGrpSpPr>
          <p:cNvPr id="6" name="Gruppieren 5">
            <a:extLst>
              <a:ext uri="{FF2B5EF4-FFF2-40B4-BE49-F238E27FC236}">
                <a16:creationId xmlns:a16="http://schemas.microsoft.com/office/drawing/2014/main" xmlns="" id="{3B28301B-BA06-4F0E-A8BE-C078823959D3}"/>
              </a:ext>
            </a:extLst>
          </p:cNvPr>
          <p:cNvGrpSpPr/>
          <p:nvPr/>
        </p:nvGrpSpPr>
        <p:grpSpPr>
          <a:xfrm>
            <a:off x="6987301" y="3733519"/>
            <a:ext cx="852880" cy="800998"/>
            <a:chOff x="5581517" y="2548400"/>
            <a:chExt cx="1808891" cy="1606818"/>
          </a:xfrm>
        </p:grpSpPr>
        <p:sp>
          <p:nvSpPr>
            <p:cNvPr id="261" name="Rounded Rectangle 60">
              <a:extLst>
                <a:ext uri="{FF2B5EF4-FFF2-40B4-BE49-F238E27FC236}">
                  <a16:creationId xmlns:a16="http://schemas.microsoft.com/office/drawing/2014/main" xmlns="" id="{7F79125A-920B-4B81-A425-ED1D7BBE299F}"/>
                </a:ext>
              </a:extLst>
            </p:cNvPr>
            <p:cNvSpPr/>
            <p:nvPr/>
          </p:nvSpPr>
          <p:spPr>
            <a:xfrm>
              <a:off x="5581517" y="3125088"/>
              <a:ext cx="1808891"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62" name="Rounded Rectangle 63">
              <a:extLst>
                <a:ext uri="{FF2B5EF4-FFF2-40B4-BE49-F238E27FC236}">
                  <a16:creationId xmlns:a16="http://schemas.microsoft.com/office/drawing/2014/main" xmlns="" id="{2C3D92D7-BF50-4449-A62B-E3C5AC5A3516}"/>
                </a:ext>
              </a:extLst>
            </p:cNvPr>
            <p:cNvSpPr/>
            <p:nvPr/>
          </p:nvSpPr>
          <p:spPr>
            <a:xfrm rot="18893649">
              <a:off x="6372910" y="3364478"/>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63" name="Rounded Rectangle 62">
              <a:extLst>
                <a:ext uri="{FF2B5EF4-FFF2-40B4-BE49-F238E27FC236}">
                  <a16:creationId xmlns:a16="http://schemas.microsoft.com/office/drawing/2014/main" xmlns="" id="{AC3B87E5-AFA2-4024-BE00-171D3BDF5CD3}"/>
                </a:ext>
              </a:extLst>
            </p:cNvPr>
            <p:cNvSpPr/>
            <p:nvPr/>
          </p:nvSpPr>
          <p:spPr>
            <a:xfrm rot="2717866">
              <a:off x="6373707" y="2882142"/>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sp>
        <p:nvSpPr>
          <p:cNvPr id="264" name="TextBox 21">
            <a:extLst>
              <a:ext uri="{FF2B5EF4-FFF2-40B4-BE49-F238E27FC236}">
                <a16:creationId xmlns:a16="http://schemas.microsoft.com/office/drawing/2014/main" xmlns="" id="{ED2DAB9C-A050-4309-8957-26960CA2AFD8}"/>
              </a:ext>
            </a:extLst>
          </p:cNvPr>
          <p:cNvSpPr txBox="1"/>
          <p:nvPr/>
        </p:nvSpPr>
        <p:spPr>
          <a:xfrm>
            <a:off x="3318330" y="1783645"/>
            <a:ext cx="2779287" cy="1077218"/>
          </a:xfrm>
          <a:prstGeom prst="rect">
            <a:avLst/>
          </a:prstGeom>
          <a:noFill/>
        </p:spPr>
        <p:txBody>
          <a:bodyPr wrap="none" rtlCol="0" anchor="t" anchorCtr="0">
            <a:spAutoFit/>
          </a:bodyPr>
          <a:lstStyle/>
          <a:p>
            <a:r>
              <a:rPr lang="en-US" sz="1600" b="1" dirty="0">
                <a:solidFill>
                  <a:schemeClr val="tx2"/>
                </a:solidFill>
                <a:latin typeface="+mj-lt"/>
                <a:ea typeface="League Spartan" charset="0"/>
                <a:cs typeface="Poppins" pitchFamily="2" charset="77"/>
              </a:rPr>
              <a:t>Política de no vergüenza</a:t>
            </a:r>
            <a:br>
              <a:rPr lang="en-US" sz="1600" b="1" dirty="0">
                <a:solidFill>
                  <a:schemeClr val="tx2"/>
                </a:solidFill>
                <a:latin typeface="+mj-lt"/>
                <a:ea typeface="League Spartan" charset="0"/>
                <a:cs typeface="Poppins" pitchFamily="2" charset="77"/>
              </a:rPr>
            </a:br>
            <a:r>
              <a:rPr lang="en-US" sz="1600" dirty="0">
                <a:solidFill>
                  <a:srgbClr val="245473"/>
                </a:solidFill>
                <a:latin typeface="+mj-lt"/>
                <a:ea typeface="League Spartan" charset="0"/>
                <a:cs typeface="Poppins" pitchFamily="2" charset="77"/>
              </a:rPr>
              <a:t>Cree un entorno</a:t>
            </a:r>
            <a:br>
              <a:rPr lang="en-US" sz="1600" dirty="0">
                <a:solidFill>
                  <a:srgbClr val="245473"/>
                </a:solidFill>
                <a:latin typeface="+mj-lt"/>
                <a:ea typeface="League Spartan" charset="0"/>
                <a:cs typeface="Poppins" pitchFamily="2" charset="77"/>
              </a:rPr>
            </a:br>
            <a:r>
              <a:rPr lang="en-US" sz="1600" dirty="0">
                <a:solidFill>
                  <a:srgbClr val="245473"/>
                </a:solidFill>
                <a:latin typeface="+mj-lt"/>
                <a:ea typeface="League Spartan" charset="0"/>
                <a:cs typeface="Poppins" pitchFamily="2" charset="77"/>
              </a:rPr>
              <a:t>en el que el fracaso no vaya seguido de </a:t>
            </a:r>
            <a:br>
              <a:rPr lang="en-US" sz="1600" dirty="0">
                <a:solidFill>
                  <a:srgbClr val="245473"/>
                </a:solidFill>
                <a:latin typeface="+mj-lt"/>
                <a:ea typeface="League Spartan" charset="0"/>
                <a:cs typeface="Poppins" pitchFamily="2" charset="77"/>
              </a:rPr>
            </a:br>
            <a:r>
              <a:rPr lang="en-US" sz="1600" dirty="0">
                <a:solidFill>
                  <a:srgbClr val="245473"/>
                </a:solidFill>
                <a:latin typeface="+mj-lt"/>
                <a:ea typeface="League Spartan" charset="0"/>
                <a:cs typeface="Poppins" pitchFamily="2" charset="77"/>
              </a:rPr>
              <a:t>vergüenza.</a:t>
            </a:r>
            <a:endParaRPr lang="en-US" sz="1600" b="1" dirty="0">
              <a:solidFill>
                <a:srgbClr val="245473"/>
              </a:solidFill>
              <a:latin typeface="+mj-lt"/>
              <a:ea typeface="League Spartan" charset="0"/>
              <a:cs typeface="Poppins" pitchFamily="2" charset="77"/>
            </a:endParaRPr>
          </a:p>
        </p:txBody>
      </p:sp>
      <p:sp>
        <p:nvSpPr>
          <p:cNvPr id="265" name="TextBox 21">
            <a:extLst>
              <a:ext uri="{FF2B5EF4-FFF2-40B4-BE49-F238E27FC236}">
                <a16:creationId xmlns:a16="http://schemas.microsoft.com/office/drawing/2014/main" xmlns="" id="{E2BFB5DD-AD15-47B7-A5B6-02C943839F87}"/>
              </a:ext>
            </a:extLst>
          </p:cNvPr>
          <p:cNvSpPr txBox="1"/>
          <p:nvPr/>
        </p:nvSpPr>
        <p:spPr>
          <a:xfrm>
            <a:off x="6100087" y="1783645"/>
            <a:ext cx="2627771" cy="1077218"/>
          </a:xfrm>
          <a:prstGeom prst="rect">
            <a:avLst/>
          </a:prstGeom>
          <a:noFill/>
        </p:spPr>
        <p:txBody>
          <a:bodyPr wrap="none" rtlCol="0" anchor="t" anchorCtr="0">
            <a:spAutoFit/>
          </a:bodyPr>
          <a:lstStyle/>
          <a:p>
            <a:r>
              <a:rPr lang="en-US" sz="1600" b="1" dirty="0">
                <a:solidFill>
                  <a:schemeClr val="tx2"/>
                </a:solidFill>
                <a:latin typeface="+mj-lt"/>
                <a:ea typeface="League Spartan" charset="0"/>
                <a:cs typeface="Poppins" pitchFamily="2" charset="77"/>
              </a:rPr>
              <a:t>Abordar el problema</a:t>
            </a:r>
            <a:br>
              <a:rPr lang="en-US" sz="1600" b="1" dirty="0">
                <a:solidFill>
                  <a:schemeClr val="tx2"/>
                </a:solidFill>
                <a:latin typeface="+mj-lt"/>
                <a:ea typeface="League Spartan" charset="0"/>
                <a:cs typeface="Poppins" pitchFamily="2" charset="77"/>
              </a:rPr>
            </a:br>
            <a:r>
              <a:rPr lang="en-US" sz="1600" dirty="0">
                <a:solidFill>
                  <a:srgbClr val="245473"/>
                </a:solidFill>
                <a:latin typeface="+mj-lt"/>
                <a:ea typeface="League Spartan" charset="0"/>
                <a:cs typeface="Poppins" pitchFamily="2" charset="77"/>
              </a:rPr>
              <a:t>No entierres la cabeza en la arena.</a:t>
            </a:r>
            <a:br>
              <a:rPr lang="en-US" sz="1600" dirty="0">
                <a:solidFill>
                  <a:srgbClr val="245473"/>
                </a:solidFill>
                <a:latin typeface="+mj-lt"/>
                <a:ea typeface="League Spartan" charset="0"/>
                <a:cs typeface="Poppins" pitchFamily="2" charset="77"/>
              </a:rPr>
            </a:br>
            <a:r>
              <a:rPr lang="en-US" sz="1600" dirty="0">
                <a:solidFill>
                  <a:srgbClr val="245473"/>
                </a:solidFill>
                <a:latin typeface="+mj-lt"/>
                <a:ea typeface="League Spartan" charset="0"/>
                <a:cs typeface="Poppins" pitchFamily="2" charset="77"/>
              </a:rPr>
              <a:t>¿Qué puedes hacer para mejorar la</a:t>
            </a:r>
            <a:br>
              <a:rPr lang="en-US" sz="1600" dirty="0">
                <a:solidFill>
                  <a:srgbClr val="245473"/>
                </a:solidFill>
                <a:latin typeface="+mj-lt"/>
                <a:ea typeface="League Spartan" charset="0"/>
                <a:cs typeface="Poppins" pitchFamily="2" charset="77"/>
              </a:rPr>
            </a:br>
            <a:r>
              <a:rPr lang="en-US" sz="1600" dirty="0">
                <a:solidFill>
                  <a:srgbClr val="245473"/>
                </a:solidFill>
                <a:latin typeface="+mj-lt"/>
                <a:ea typeface="League Spartan" charset="0"/>
                <a:cs typeface="Poppins" pitchFamily="2" charset="77"/>
              </a:rPr>
              <a:t>mejorar la situación?</a:t>
            </a:r>
            <a:endParaRPr lang="en-US" sz="1600" b="1" dirty="0">
              <a:solidFill>
                <a:srgbClr val="245473"/>
              </a:solidFill>
              <a:latin typeface="+mj-lt"/>
              <a:ea typeface="League Spartan" charset="0"/>
              <a:cs typeface="Poppins" pitchFamily="2" charset="77"/>
            </a:endParaRPr>
          </a:p>
        </p:txBody>
      </p:sp>
      <p:sp>
        <p:nvSpPr>
          <p:cNvPr id="267" name="TextBox 21">
            <a:extLst>
              <a:ext uri="{FF2B5EF4-FFF2-40B4-BE49-F238E27FC236}">
                <a16:creationId xmlns:a16="http://schemas.microsoft.com/office/drawing/2014/main" xmlns="" id="{340279B8-F07C-4F84-B499-5166633B1C04}"/>
              </a:ext>
            </a:extLst>
          </p:cNvPr>
          <p:cNvSpPr txBox="1"/>
          <p:nvPr/>
        </p:nvSpPr>
        <p:spPr>
          <a:xfrm>
            <a:off x="8674856" y="1780631"/>
            <a:ext cx="3396093" cy="1077218"/>
          </a:xfrm>
          <a:prstGeom prst="rect">
            <a:avLst/>
          </a:prstGeom>
          <a:noFill/>
        </p:spPr>
        <p:txBody>
          <a:bodyPr wrap="square" rtlCol="0" anchor="t" anchorCtr="0">
            <a:spAutoFit/>
          </a:bodyPr>
          <a:lstStyle/>
          <a:p>
            <a:r>
              <a:rPr lang="en-US" sz="1600" b="1" dirty="0">
                <a:solidFill>
                  <a:schemeClr val="tx2"/>
                </a:solidFill>
                <a:latin typeface="+mj-lt"/>
                <a:ea typeface="League Spartan" charset="0"/>
                <a:cs typeface="Poppins" pitchFamily="2" charset="77"/>
              </a:rPr>
              <a:t>Aprenda de sus errores</a:t>
            </a:r>
            <a:br>
              <a:rPr lang="en-US" sz="1600" b="1"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El verdadero fracaso es cuando has </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metido la pata y no has aprovechado</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la experiencia.</a:t>
            </a:r>
            <a:endParaRPr lang="en-US" sz="1600" b="1" dirty="0">
              <a:solidFill>
                <a:schemeClr val="tx2"/>
              </a:solidFill>
              <a:latin typeface="+mj-lt"/>
              <a:ea typeface="League Spartan" charset="0"/>
              <a:cs typeface="Poppins" pitchFamily="2" charset="77"/>
            </a:endParaRPr>
          </a:p>
        </p:txBody>
      </p:sp>
      <p:sp>
        <p:nvSpPr>
          <p:cNvPr id="268" name="TextBox 21">
            <a:extLst>
              <a:ext uri="{FF2B5EF4-FFF2-40B4-BE49-F238E27FC236}">
                <a16:creationId xmlns:a16="http://schemas.microsoft.com/office/drawing/2014/main" xmlns="" id="{411D80B6-7815-4D87-9485-A71F2A8B3697}"/>
              </a:ext>
            </a:extLst>
          </p:cNvPr>
          <p:cNvSpPr txBox="1"/>
          <p:nvPr/>
        </p:nvSpPr>
        <p:spPr>
          <a:xfrm>
            <a:off x="10355366" y="3836422"/>
            <a:ext cx="1850828" cy="830997"/>
          </a:xfrm>
          <a:prstGeom prst="rect">
            <a:avLst/>
          </a:prstGeom>
          <a:noFill/>
        </p:spPr>
        <p:txBody>
          <a:bodyPr wrap="none" lIns="91440" tIns="45720" rIns="91440" bIns="45720" rtlCol="0" anchor="t" anchorCtr="0">
            <a:spAutoFit/>
          </a:bodyPr>
          <a:lstStyle/>
          <a:p>
            <a:r>
              <a:rPr lang="en-US" sz="1600" b="1" dirty="0">
                <a:solidFill>
                  <a:schemeClr val="tx2"/>
                </a:solidFill>
                <a:latin typeface="+mj-lt"/>
                <a:ea typeface="League Spartan" charset="0"/>
                <a:cs typeface="Poppins" pitchFamily="2" charset="77"/>
              </a:rPr>
              <a:t>No lo reprimas</a:t>
            </a:r>
            <a:r>
              <a:rPr lang="en-US" sz="1600" b="1" dirty="0">
                <a:latin typeface="+mj-lt"/>
                <a:ea typeface="League Spartan" charset="0"/>
                <a:cs typeface="Poppins" pitchFamily="2" charset="77"/>
              </a:rPr>
              <a:t/>
            </a:r>
            <a:br>
              <a:rPr lang="en-US" sz="1600" b="1" dirty="0">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Habla con alguien como</a:t>
            </a:r>
            <a:r>
              <a:rPr lang="en-US" sz="1600" dirty="0">
                <a:latin typeface="+mj-lt"/>
                <a:ea typeface="League Spartan" charset="0"/>
                <a:cs typeface="Poppins" pitchFamily="2" charset="77"/>
              </a:rPr>
              <a:t/>
            </a:r>
            <a:br>
              <a:rPr lang="en-US" sz="1600" dirty="0">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familia y amigos.</a:t>
            </a:r>
            <a:endParaRPr lang="en-US" sz="1600" b="1" dirty="0">
              <a:solidFill>
                <a:schemeClr val="tx2"/>
              </a:solidFill>
              <a:latin typeface="+mj-lt"/>
              <a:ea typeface="League Spartan" charset="0"/>
              <a:cs typeface="Poppins" pitchFamily="2" charset="77"/>
            </a:endParaRPr>
          </a:p>
        </p:txBody>
      </p:sp>
      <p:sp>
        <p:nvSpPr>
          <p:cNvPr id="269" name="TextBox 21">
            <a:extLst>
              <a:ext uri="{FF2B5EF4-FFF2-40B4-BE49-F238E27FC236}">
                <a16:creationId xmlns:a16="http://schemas.microsoft.com/office/drawing/2014/main" xmlns="" id="{7A101EC3-DB6F-4C01-875B-5ECC89D3854A}"/>
              </a:ext>
            </a:extLst>
          </p:cNvPr>
          <p:cNvSpPr txBox="1"/>
          <p:nvPr/>
        </p:nvSpPr>
        <p:spPr>
          <a:xfrm>
            <a:off x="3412040" y="5471945"/>
            <a:ext cx="2039917" cy="1323439"/>
          </a:xfrm>
          <a:prstGeom prst="rect">
            <a:avLst/>
          </a:prstGeom>
          <a:noFill/>
        </p:spPr>
        <p:txBody>
          <a:bodyPr wrap="none" rtlCol="0" anchor="t" anchorCtr="0">
            <a:spAutoFit/>
          </a:bodyPr>
          <a:lstStyle/>
          <a:p>
            <a:r>
              <a:rPr lang="en-US" sz="1600" b="1" dirty="0">
                <a:solidFill>
                  <a:schemeClr val="tx2"/>
                </a:solidFill>
                <a:latin typeface="+mj-lt"/>
                <a:ea typeface="League Spartan" charset="0"/>
                <a:cs typeface="Poppins" pitchFamily="2" charset="77"/>
              </a:rPr>
              <a:t>Cuestiona tus miedos</a:t>
            </a:r>
            <a:br>
              <a:rPr lang="en-US" sz="1600" b="1"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Cuestiónate a ti mismo y a </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tus miedos. ¿Son</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realmente irracionales y</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y es poco probable que se hagan realidad?</a:t>
            </a:r>
            <a:endParaRPr lang="en-US" sz="1600" b="1" dirty="0">
              <a:solidFill>
                <a:schemeClr val="tx2"/>
              </a:solidFill>
              <a:latin typeface="+mj-lt"/>
              <a:ea typeface="League Spartan" charset="0"/>
              <a:cs typeface="Poppins" pitchFamily="2" charset="77"/>
            </a:endParaRPr>
          </a:p>
        </p:txBody>
      </p:sp>
      <p:sp>
        <p:nvSpPr>
          <p:cNvPr id="270" name="TextBox 21">
            <a:extLst>
              <a:ext uri="{FF2B5EF4-FFF2-40B4-BE49-F238E27FC236}">
                <a16:creationId xmlns:a16="http://schemas.microsoft.com/office/drawing/2014/main" xmlns="" id="{A5C85C3D-BF9D-41D9-937F-BCA203F824A7}"/>
              </a:ext>
            </a:extLst>
          </p:cNvPr>
          <p:cNvSpPr txBox="1"/>
          <p:nvPr/>
        </p:nvSpPr>
        <p:spPr>
          <a:xfrm>
            <a:off x="8106529" y="5516598"/>
            <a:ext cx="4159516" cy="830997"/>
          </a:xfrm>
          <a:prstGeom prst="rect">
            <a:avLst/>
          </a:prstGeom>
          <a:noFill/>
        </p:spPr>
        <p:txBody>
          <a:bodyPr wrap="square" rtlCol="0" anchor="t" anchorCtr="0">
            <a:spAutoFit/>
          </a:bodyPr>
          <a:lstStyle/>
          <a:p>
            <a:r>
              <a:rPr lang="en-US" sz="1600" b="1" dirty="0">
                <a:solidFill>
                  <a:schemeClr val="tx2"/>
                </a:solidFill>
                <a:latin typeface="+mj-lt"/>
                <a:ea typeface="League Spartan" charset="0"/>
                <a:cs typeface="Poppins" pitchFamily="2" charset="77"/>
              </a:rPr>
              <a:t>Concéntrese en lo que puede controlar</a:t>
            </a:r>
            <a:br>
              <a:rPr lang="en-US" sz="1600" b="1"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Muchas cosas están fuera de tu alcance: no hay</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no hay fracaso en las cosas que no puedes controlar.</a:t>
            </a:r>
            <a:endParaRPr lang="en-US" sz="1600" b="1" dirty="0">
              <a:solidFill>
                <a:schemeClr val="tx2"/>
              </a:solidFill>
              <a:latin typeface="+mj-lt"/>
              <a:ea typeface="League Spartan" charset="0"/>
              <a:cs typeface="Poppins" pitchFamily="2" charset="77"/>
            </a:endParaRPr>
          </a:p>
        </p:txBody>
      </p:sp>
      <p:sp>
        <p:nvSpPr>
          <p:cNvPr id="271" name="TextBox 21">
            <a:extLst>
              <a:ext uri="{FF2B5EF4-FFF2-40B4-BE49-F238E27FC236}">
                <a16:creationId xmlns:a16="http://schemas.microsoft.com/office/drawing/2014/main" xmlns="" id="{4A865BD5-3BF6-4AD3-ACC1-50D708E48ECB}"/>
              </a:ext>
            </a:extLst>
          </p:cNvPr>
          <p:cNvSpPr txBox="1"/>
          <p:nvPr/>
        </p:nvSpPr>
        <p:spPr>
          <a:xfrm>
            <a:off x="5554612" y="5484356"/>
            <a:ext cx="2551917" cy="1323439"/>
          </a:xfrm>
          <a:prstGeom prst="rect">
            <a:avLst/>
          </a:prstGeom>
          <a:noFill/>
        </p:spPr>
        <p:txBody>
          <a:bodyPr wrap="none" rtlCol="0" anchor="t" anchorCtr="0">
            <a:spAutoFit/>
          </a:bodyPr>
          <a:lstStyle/>
          <a:p>
            <a:r>
              <a:rPr lang="en-US" sz="1600" b="1" dirty="0">
                <a:solidFill>
                  <a:schemeClr val="tx2"/>
                </a:solidFill>
                <a:latin typeface="+mj-lt"/>
                <a:ea typeface="League Spartan" charset="0"/>
                <a:cs typeface="Poppins" pitchFamily="2" charset="77"/>
              </a:rPr>
              <a:t>Abrazar el gris</a:t>
            </a:r>
            <a:br>
              <a:rPr lang="en-US" sz="1600" b="1"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El éxito y el fracaso no son </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blanco o negro. Todo o nada</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aumenta el estrés y la ansiedad.</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ansiedad.</a:t>
            </a:r>
            <a:endParaRPr lang="en-US" sz="16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33561503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619132"/>
            <a:ext cx="8852375" cy="697353"/>
          </a:xfrm>
        </p:spPr>
        <p:txBody>
          <a:bodyPr>
            <a:normAutofit/>
          </a:bodyPr>
          <a:lstStyle/>
          <a:p>
            <a:r>
              <a:rPr lang="en-GB" dirty="0"/>
              <a:t>No hay blanco y negro en el éxito y el fracaso</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59631" y="1814542"/>
            <a:ext cx="4576468" cy="492985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latin typeface="+mj-lt"/>
              </a:rPr>
              <a:t>Aunque lo intentemos. No podemos evitar fracasar siempre. Y, como todo el mundo sabe, fracasar es diferente cada vez. Algunos fracasos influyen más que otros en tu comportamiento futuro. </a:t>
            </a:r>
            <a:endParaRPr lang="en-US" sz="2000" dirty="0"/>
          </a:p>
          <a:p>
            <a:pPr algn="l">
              <a:lnSpc>
                <a:spcPct val="100000"/>
              </a:lnSpc>
              <a:spcBef>
                <a:spcPts val="600"/>
              </a:spcBef>
            </a:pPr>
            <a:r>
              <a:rPr lang="en-GB" altLang="de-DE" sz="2000" dirty="0">
                <a:latin typeface="+mj-lt"/>
              </a:rPr>
              <a:t>A veces aprendemos de los fracasos y otras veces no. </a:t>
            </a:r>
          </a:p>
          <a:p>
            <a:pPr algn="l">
              <a:lnSpc>
                <a:spcPct val="100000"/>
              </a:lnSpc>
              <a:spcBef>
                <a:spcPts val="600"/>
              </a:spcBef>
            </a:pPr>
            <a:r>
              <a:rPr lang="en-GB" altLang="de-DE" sz="2000" dirty="0">
                <a:latin typeface="+mj-lt"/>
              </a:rPr>
              <a:t>Por eso la teoría del aprendizaje divide el fracaso en productivo e improductivo. Curiosamente, el éxito también puede ser productivo e improductivo</a:t>
            </a:r>
          </a:p>
          <a:p>
            <a:pPr algn="l">
              <a:lnSpc>
                <a:spcPct val="100000"/>
              </a:lnSpc>
              <a:spcBef>
                <a:spcPts val="600"/>
              </a:spcBef>
            </a:pPr>
            <a:r>
              <a:rPr lang="en-GB" altLang="de-DE" sz="2000" dirty="0">
                <a:latin typeface="+mj-lt"/>
              </a:rPr>
              <a:t>La cuestión de fracasar productivamente o improductivamente es sólo una cuestión de cuánto aprendizaje sacamos de nuestro fracaso. Es una cuestión de resultados</a:t>
            </a:r>
          </a:p>
        </p:txBody>
      </p:sp>
      <p:grpSp>
        <p:nvGrpSpPr>
          <p:cNvPr id="15" name="Gruppierung 8">
            <a:extLst>
              <a:ext uri="{FF2B5EF4-FFF2-40B4-BE49-F238E27FC236}">
                <a16:creationId xmlns:a16="http://schemas.microsoft.com/office/drawing/2014/main" xmlns="" id="{A7257A27-5505-42AE-B954-7BF2EF07F9C6}"/>
              </a:ext>
            </a:extLst>
          </p:cNvPr>
          <p:cNvGrpSpPr/>
          <p:nvPr/>
        </p:nvGrpSpPr>
        <p:grpSpPr>
          <a:xfrm>
            <a:off x="4833981" y="2971738"/>
            <a:ext cx="7359858" cy="3065573"/>
            <a:chOff x="737909" y="2802199"/>
            <a:chExt cx="7552769" cy="2877485"/>
          </a:xfrm>
        </p:grpSpPr>
        <p:grpSp>
          <p:nvGrpSpPr>
            <p:cNvPr id="17" name="Gruppierung 2">
              <a:extLst>
                <a:ext uri="{FF2B5EF4-FFF2-40B4-BE49-F238E27FC236}">
                  <a16:creationId xmlns:a16="http://schemas.microsoft.com/office/drawing/2014/main" xmlns="" id="{7AF1F25A-60CE-474D-92CB-EB3A94D1B98C}"/>
                </a:ext>
              </a:extLst>
            </p:cNvPr>
            <p:cNvGrpSpPr/>
            <p:nvPr/>
          </p:nvGrpSpPr>
          <p:grpSpPr>
            <a:xfrm>
              <a:off x="1223529" y="3001856"/>
              <a:ext cx="6823499" cy="2181777"/>
              <a:chOff x="4453317" y="3151397"/>
              <a:chExt cx="6823499" cy="2181777"/>
            </a:xfrm>
          </p:grpSpPr>
          <p:sp>
            <p:nvSpPr>
              <p:cNvPr id="31" name="Rechteck 30">
                <a:extLst>
                  <a:ext uri="{FF2B5EF4-FFF2-40B4-BE49-F238E27FC236}">
                    <a16:creationId xmlns:a16="http://schemas.microsoft.com/office/drawing/2014/main" xmlns="" id="{0AC17CD9-5A31-4183-8A1E-8ABCF38070B1}"/>
                  </a:ext>
                </a:extLst>
              </p:cNvPr>
              <p:cNvSpPr/>
              <p:nvPr/>
            </p:nvSpPr>
            <p:spPr>
              <a:xfrm>
                <a:off x="4453317" y="4339724"/>
                <a:ext cx="3319549" cy="993450"/>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GB" sz="1600" dirty="0">
                    <a:latin typeface="Helvetica"/>
                    <a:cs typeface="Helvetica"/>
                  </a:rPr>
                  <a:t>Imprudente</a:t>
                </a:r>
                <a:br>
                  <a:rPr lang="en-GB" sz="1600" dirty="0">
                    <a:latin typeface="Helvetica"/>
                    <a:cs typeface="Helvetica"/>
                  </a:rPr>
                </a:br>
                <a:r>
                  <a:rPr lang="en-GB" sz="1600" dirty="0">
                    <a:latin typeface="Helvetica"/>
                    <a:cs typeface="Helvetica"/>
                  </a:rPr>
                  <a:t>Fracaso</a:t>
                </a:r>
              </a:p>
            </p:txBody>
          </p:sp>
          <p:sp>
            <p:nvSpPr>
              <p:cNvPr id="32" name="Rechteck 31">
                <a:extLst>
                  <a:ext uri="{FF2B5EF4-FFF2-40B4-BE49-F238E27FC236}">
                    <a16:creationId xmlns:a16="http://schemas.microsoft.com/office/drawing/2014/main" xmlns="" id="{E2F9A2C6-DD03-4F40-9CAC-F27C8496B473}"/>
                  </a:ext>
                </a:extLst>
              </p:cNvPr>
              <p:cNvSpPr/>
              <p:nvPr/>
            </p:nvSpPr>
            <p:spPr>
              <a:xfrm>
                <a:off x="4453317" y="3151397"/>
                <a:ext cx="3319549" cy="993450"/>
              </a:xfrm>
              <a:prstGeom prst="rect">
                <a:avLst/>
              </a:prstGeom>
              <a:pattFill prst="wdDnDiag">
                <a:fgClr>
                  <a:schemeClr val="accent2"/>
                </a:fgClr>
                <a:bgClr>
                  <a:schemeClr val="accent6"/>
                </a:bgClr>
              </a:pattFill>
              <a:ln>
                <a:solidFill>
                  <a:schemeClr val="tx2">
                    <a:alpha val="89000"/>
                  </a:schemeClr>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GB" sz="1600" dirty="0">
                    <a:latin typeface="Helvetica"/>
                    <a:cs typeface="Helvetica"/>
                  </a:rPr>
                  <a:t>Productivo</a:t>
                </a:r>
                <a:br>
                  <a:rPr lang="en-GB" sz="1600" dirty="0">
                    <a:latin typeface="Helvetica"/>
                    <a:cs typeface="Helvetica"/>
                  </a:rPr>
                </a:br>
                <a:r>
                  <a:rPr lang="en-GB" sz="1600" dirty="0">
                    <a:latin typeface="Helvetica"/>
                    <a:cs typeface="Helvetica"/>
                  </a:rPr>
                  <a:t>Fracaso</a:t>
                </a:r>
              </a:p>
            </p:txBody>
          </p:sp>
          <p:sp>
            <p:nvSpPr>
              <p:cNvPr id="33" name="Rechteck 32">
                <a:extLst>
                  <a:ext uri="{FF2B5EF4-FFF2-40B4-BE49-F238E27FC236}">
                    <a16:creationId xmlns:a16="http://schemas.microsoft.com/office/drawing/2014/main" xmlns="" id="{305E68BB-6A05-4633-ABE4-B57BB7151962}"/>
                  </a:ext>
                </a:extLst>
              </p:cNvPr>
              <p:cNvSpPr/>
              <p:nvPr/>
            </p:nvSpPr>
            <p:spPr>
              <a:xfrm>
                <a:off x="7957267" y="4339724"/>
                <a:ext cx="3319549" cy="993450"/>
              </a:xfrm>
              <a:prstGeom prst="rect">
                <a:avLst/>
              </a:prstGeom>
              <a:pattFill prst="wdDnDiag">
                <a:fgClr>
                  <a:schemeClr val="accent2"/>
                </a:fgClr>
                <a:bgClr>
                  <a:schemeClr val="accent6"/>
                </a:bgClr>
              </a:pattFill>
              <a:ln>
                <a:solidFill>
                  <a:schemeClr val="tx2">
                    <a:alpha val="89000"/>
                  </a:schemeClr>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GB" sz="1600" dirty="0">
                    <a:latin typeface="Helvetica"/>
                    <a:cs typeface="Helvetica"/>
                  </a:rPr>
                  <a:t>Improductivo</a:t>
                </a:r>
                <a:br>
                  <a:rPr lang="en-GB" sz="1600" dirty="0">
                    <a:latin typeface="Helvetica"/>
                    <a:cs typeface="Helvetica"/>
                  </a:rPr>
                </a:br>
                <a:r>
                  <a:rPr lang="en-GB" sz="1600" dirty="0">
                    <a:latin typeface="Helvetica"/>
                    <a:cs typeface="Helvetica"/>
                  </a:rPr>
                  <a:t>Éxito</a:t>
                </a:r>
              </a:p>
            </p:txBody>
          </p:sp>
          <p:sp>
            <p:nvSpPr>
              <p:cNvPr id="34" name="Rechteck 33">
                <a:extLst>
                  <a:ext uri="{FF2B5EF4-FFF2-40B4-BE49-F238E27FC236}">
                    <a16:creationId xmlns:a16="http://schemas.microsoft.com/office/drawing/2014/main" xmlns="" id="{D1FEB52D-EBDF-4BA6-A9EF-C0B727932EF5}"/>
                  </a:ext>
                </a:extLst>
              </p:cNvPr>
              <p:cNvSpPr/>
              <p:nvPr/>
            </p:nvSpPr>
            <p:spPr>
              <a:xfrm>
                <a:off x="7957267" y="3151397"/>
                <a:ext cx="3319549" cy="993450"/>
              </a:xfrm>
              <a:prstGeom prst="rect">
                <a:avLst/>
              </a:prstGeom>
              <a:solidFill>
                <a:schemeClr val="accent6"/>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GB" sz="1600" dirty="0">
                    <a:latin typeface="Helvetica"/>
                    <a:cs typeface="Helvetica"/>
                  </a:rPr>
                  <a:t>Productivo</a:t>
                </a:r>
                <a:br>
                  <a:rPr lang="en-GB" sz="1600" dirty="0">
                    <a:latin typeface="Helvetica"/>
                    <a:cs typeface="Helvetica"/>
                  </a:rPr>
                </a:br>
                <a:r>
                  <a:rPr lang="en-GB" sz="1600" dirty="0">
                    <a:latin typeface="Helvetica"/>
                    <a:cs typeface="Helvetica"/>
                  </a:rPr>
                  <a:t>Éxito</a:t>
                </a:r>
              </a:p>
            </p:txBody>
          </p:sp>
        </p:grpSp>
        <p:cxnSp>
          <p:nvCxnSpPr>
            <p:cNvPr id="18" name="Gerade Verbindung mit Pfeil 17">
              <a:extLst>
                <a:ext uri="{FF2B5EF4-FFF2-40B4-BE49-F238E27FC236}">
                  <a16:creationId xmlns:a16="http://schemas.microsoft.com/office/drawing/2014/main" xmlns="" id="{590B8DC4-C585-4EB0-9432-9EAAE5F53369}"/>
                </a:ext>
              </a:extLst>
            </p:cNvPr>
            <p:cNvCxnSpPr/>
            <p:nvPr/>
          </p:nvCxnSpPr>
          <p:spPr>
            <a:xfrm flipV="1">
              <a:off x="1061074" y="2822503"/>
              <a:ext cx="14950" cy="2523822"/>
            </a:xfrm>
            <a:prstGeom prst="straightConnector1">
              <a:avLst/>
            </a:prstGeom>
            <a:ln>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4" name="Gerade Verbindung mit Pfeil 23">
              <a:extLst>
                <a:ext uri="{FF2B5EF4-FFF2-40B4-BE49-F238E27FC236}">
                  <a16:creationId xmlns:a16="http://schemas.microsoft.com/office/drawing/2014/main" xmlns="" id="{184864EB-C52C-4326-94D6-70C90C570F53}"/>
                </a:ext>
              </a:extLst>
            </p:cNvPr>
            <p:cNvCxnSpPr/>
            <p:nvPr/>
          </p:nvCxnSpPr>
          <p:spPr>
            <a:xfrm flipV="1">
              <a:off x="1076024" y="5324196"/>
              <a:ext cx="7214654" cy="16934"/>
            </a:xfrm>
            <a:prstGeom prst="straightConnector1">
              <a:avLst/>
            </a:prstGeom>
            <a:ln>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sp>
          <p:nvSpPr>
            <p:cNvPr id="25" name="Textfeld 24">
              <a:extLst>
                <a:ext uri="{FF2B5EF4-FFF2-40B4-BE49-F238E27FC236}">
                  <a16:creationId xmlns:a16="http://schemas.microsoft.com/office/drawing/2014/main" xmlns="" id="{F515E31D-BED8-4142-83E4-234414BC65E6}"/>
                </a:ext>
              </a:extLst>
            </p:cNvPr>
            <p:cNvSpPr txBox="1"/>
            <p:nvPr/>
          </p:nvSpPr>
          <p:spPr>
            <a:xfrm rot="16200000">
              <a:off x="431383" y="3920508"/>
              <a:ext cx="951607" cy="338554"/>
            </a:xfrm>
            <a:prstGeom prst="rect">
              <a:avLst/>
            </a:prstGeom>
            <a:noFill/>
            <a:ln>
              <a:noFill/>
            </a:ln>
          </p:spPr>
          <p:txBody>
            <a:bodyPr wrap="none" lIns="91440" tIns="45720" rIns="91440" bIns="45720" rtlCol="0" anchor="t">
              <a:spAutoFit/>
            </a:bodyPr>
            <a:lstStyle/>
            <a:p>
              <a:pPr algn="ctr"/>
              <a:r>
                <a:rPr lang="en-GB" sz="1600" dirty="0">
                  <a:solidFill>
                    <a:schemeClr val="tx2"/>
                  </a:solidFill>
                  <a:latin typeface="Helvetica Light"/>
                  <a:cs typeface="Helvetica Light"/>
                </a:rPr>
                <a:t>Aprender</a:t>
              </a:r>
            </a:p>
          </p:txBody>
        </p:sp>
        <p:sp>
          <p:nvSpPr>
            <p:cNvPr id="26" name="Textfeld 25">
              <a:extLst>
                <a:ext uri="{FF2B5EF4-FFF2-40B4-BE49-F238E27FC236}">
                  <a16:creationId xmlns:a16="http://schemas.microsoft.com/office/drawing/2014/main" xmlns="" id="{F8D6F09F-A0AB-4817-9C16-8AF4E96B5D6D}"/>
                </a:ext>
              </a:extLst>
            </p:cNvPr>
            <p:cNvSpPr txBox="1"/>
            <p:nvPr/>
          </p:nvSpPr>
          <p:spPr>
            <a:xfrm>
              <a:off x="1056930" y="5341130"/>
              <a:ext cx="614399" cy="338554"/>
            </a:xfrm>
            <a:prstGeom prst="rect">
              <a:avLst/>
            </a:prstGeom>
            <a:noFill/>
            <a:ln>
              <a:noFill/>
            </a:ln>
          </p:spPr>
          <p:txBody>
            <a:bodyPr wrap="none" lIns="91440" tIns="45720" rIns="91440" bIns="45720" rtlCol="0" anchor="t">
              <a:spAutoFit/>
            </a:bodyPr>
            <a:lstStyle/>
            <a:p>
              <a:r>
                <a:rPr lang="en-GB" sz="1600" dirty="0">
                  <a:solidFill>
                    <a:schemeClr val="tx2"/>
                  </a:solidFill>
                  <a:latin typeface="Helvetica Light"/>
                  <a:cs typeface="Helvetica Light"/>
                </a:rPr>
                <a:t>(baja)</a:t>
              </a:r>
            </a:p>
          </p:txBody>
        </p:sp>
        <p:sp>
          <p:nvSpPr>
            <p:cNvPr id="27" name="Textfeld 26">
              <a:extLst>
                <a:ext uri="{FF2B5EF4-FFF2-40B4-BE49-F238E27FC236}">
                  <a16:creationId xmlns:a16="http://schemas.microsoft.com/office/drawing/2014/main" xmlns="" id="{7636100F-C6EF-4378-894A-EE52D0EB68E2}"/>
                </a:ext>
              </a:extLst>
            </p:cNvPr>
            <p:cNvSpPr txBox="1"/>
            <p:nvPr/>
          </p:nvSpPr>
          <p:spPr>
            <a:xfrm>
              <a:off x="7596642" y="5341130"/>
              <a:ext cx="694036" cy="338554"/>
            </a:xfrm>
            <a:prstGeom prst="rect">
              <a:avLst/>
            </a:prstGeom>
            <a:noFill/>
            <a:ln>
              <a:noFill/>
            </a:ln>
          </p:spPr>
          <p:txBody>
            <a:bodyPr wrap="none" lIns="91440" tIns="45720" rIns="91440" bIns="45720" rtlCol="0" anchor="t">
              <a:spAutoFit/>
            </a:bodyPr>
            <a:lstStyle/>
            <a:p>
              <a:pPr algn="r"/>
              <a:r>
                <a:rPr lang="en-GB" sz="1600" dirty="0">
                  <a:solidFill>
                    <a:schemeClr val="tx2"/>
                  </a:solidFill>
                  <a:latin typeface="Helvetica Light"/>
                  <a:cs typeface="Helvetica Light"/>
                </a:rPr>
                <a:t>(alto)</a:t>
              </a:r>
            </a:p>
          </p:txBody>
        </p:sp>
        <p:sp>
          <p:nvSpPr>
            <p:cNvPr id="28" name="Textfeld 27">
              <a:extLst>
                <a:ext uri="{FF2B5EF4-FFF2-40B4-BE49-F238E27FC236}">
                  <a16:creationId xmlns:a16="http://schemas.microsoft.com/office/drawing/2014/main" xmlns="" id="{2A4E779B-3B03-4778-8377-69D2D53BE475}"/>
                </a:ext>
              </a:extLst>
            </p:cNvPr>
            <p:cNvSpPr txBox="1"/>
            <p:nvPr/>
          </p:nvSpPr>
          <p:spPr>
            <a:xfrm rot="16200000">
              <a:off x="560169" y="2979940"/>
              <a:ext cx="694036" cy="338554"/>
            </a:xfrm>
            <a:prstGeom prst="rect">
              <a:avLst/>
            </a:prstGeom>
            <a:noFill/>
            <a:ln>
              <a:noFill/>
            </a:ln>
          </p:spPr>
          <p:txBody>
            <a:bodyPr wrap="none" lIns="91440" tIns="45720" rIns="91440" bIns="45720" rtlCol="0" anchor="t">
              <a:spAutoFit/>
            </a:bodyPr>
            <a:lstStyle/>
            <a:p>
              <a:pPr algn="r"/>
              <a:r>
                <a:rPr lang="en-GB" sz="1600" dirty="0">
                  <a:solidFill>
                    <a:schemeClr val="tx2"/>
                  </a:solidFill>
                  <a:latin typeface="Helvetica Light"/>
                  <a:cs typeface="Helvetica Light"/>
                </a:rPr>
                <a:t>(alto)</a:t>
              </a:r>
            </a:p>
          </p:txBody>
        </p:sp>
        <p:sp>
          <p:nvSpPr>
            <p:cNvPr id="29" name="Textfeld 28">
              <a:extLst>
                <a:ext uri="{FF2B5EF4-FFF2-40B4-BE49-F238E27FC236}">
                  <a16:creationId xmlns:a16="http://schemas.microsoft.com/office/drawing/2014/main" xmlns="" id="{71DF2F59-49CD-4F84-8C34-74E6B248C7FC}"/>
                </a:ext>
              </a:extLst>
            </p:cNvPr>
            <p:cNvSpPr txBox="1"/>
            <p:nvPr/>
          </p:nvSpPr>
          <p:spPr>
            <a:xfrm rot="16200000">
              <a:off x="599986" y="4908510"/>
              <a:ext cx="614399" cy="338554"/>
            </a:xfrm>
            <a:prstGeom prst="rect">
              <a:avLst/>
            </a:prstGeom>
            <a:noFill/>
            <a:ln>
              <a:noFill/>
            </a:ln>
          </p:spPr>
          <p:txBody>
            <a:bodyPr wrap="none" lIns="91440" tIns="45720" rIns="91440" bIns="45720" rtlCol="0" anchor="t">
              <a:spAutoFit/>
            </a:bodyPr>
            <a:lstStyle/>
            <a:p>
              <a:r>
                <a:rPr lang="en-GB" sz="1600" dirty="0">
                  <a:solidFill>
                    <a:schemeClr val="tx2"/>
                  </a:solidFill>
                  <a:latin typeface="Helvetica Light"/>
                  <a:cs typeface="Helvetica Light"/>
                </a:rPr>
                <a:t>(baja)</a:t>
              </a:r>
            </a:p>
          </p:txBody>
        </p:sp>
        <p:sp>
          <p:nvSpPr>
            <p:cNvPr id="30" name="Textfeld 29">
              <a:extLst>
                <a:ext uri="{FF2B5EF4-FFF2-40B4-BE49-F238E27FC236}">
                  <a16:creationId xmlns:a16="http://schemas.microsoft.com/office/drawing/2014/main" xmlns="" id="{D67440E2-F898-4F26-BFCB-904EF6F65795}"/>
                </a:ext>
              </a:extLst>
            </p:cNvPr>
            <p:cNvSpPr txBox="1"/>
            <p:nvPr/>
          </p:nvSpPr>
          <p:spPr>
            <a:xfrm>
              <a:off x="3974527" y="5341130"/>
              <a:ext cx="1313501" cy="338554"/>
            </a:xfrm>
            <a:prstGeom prst="rect">
              <a:avLst/>
            </a:prstGeom>
            <a:noFill/>
            <a:ln>
              <a:noFill/>
            </a:ln>
          </p:spPr>
          <p:txBody>
            <a:bodyPr wrap="none" lIns="91440" tIns="45720" rIns="91440" bIns="45720" rtlCol="0" anchor="t">
              <a:spAutoFit/>
            </a:bodyPr>
            <a:lstStyle/>
            <a:p>
              <a:pPr algn="ctr"/>
              <a:r>
                <a:rPr lang="en-GB" sz="1600" dirty="0">
                  <a:solidFill>
                    <a:schemeClr val="tx2"/>
                  </a:solidFill>
                  <a:latin typeface="Helvetica Light"/>
                  <a:cs typeface="Helvetica Light"/>
                </a:rPr>
                <a:t>Rendimiento</a:t>
              </a:r>
            </a:p>
          </p:txBody>
        </p:sp>
      </p:grpSp>
    </p:spTree>
    <p:extLst>
      <p:ext uri="{BB962C8B-B14F-4D97-AF65-F5344CB8AC3E}">
        <p14:creationId xmlns:p14="http://schemas.microsoft.com/office/powerpoint/2010/main" val="5387595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813182" y="620562"/>
            <a:ext cx="8852375" cy="697353"/>
          </a:xfrm>
        </p:spPr>
        <p:txBody>
          <a:bodyPr>
            <a:normAutofit/>
          </a:bodyPr>
          <a:lstStyle/>
          <a:p>
            <a:r>
              <a:rPr lang="en-GB" dirty="0"/>
              <a:t>Cómo caen los poderosos, hay 5 etapas ...</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58750" y="1815591"/>
            <a:ext cx="2998128" cy="48375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1900" dirty="0">
                <a:latin typeface="+mj-lt"/>
              </a:rPr>
              <a:t>Jim Collins es un consultor empresarial estadounidense y un popular conferenciante y autor. Según Collins, hay cinco etapas en la caída de una empresa.</a:t>
            </a:r>
          </a:p>
          <a:p>
            <a:pPr algn="l">
              <a:lnSpc>
                <a:spcPct val="100000"/>
              </a:lnSpc>
              <a:spcBef>
                <a:spcPts val="600"/>
              </a:spcBef>
            </a:pPr>
            <a:r>
              <a:rPr lang="en-US" altLang="de-DE" sz="1900" b="1" dirty="0">
                <a:solidFill>
                  <a:srgbClr val="E53292"/>
                </a:solidFill>
                <a:latin typeface="+mj-lt"/>
              </a:rPr>
              <a:t>Etapa 1: La </a:t>
            </a:r>
            <a:r>
              <a:rPr lang="en-US" altLang="de-DE" sz="1900" dirty="0">
                <a:latin typeface="+mj-lt"/>
              </a:rPr>
              <a:t>arrogancia y el considerar el éxito prácticamente como un derecho son signos de la Etapa 1, "La arrogancia nacida del éxito". En esta etapa las personas pierden de vista lo que les hizo triunfar en primer lugar y empiezan a considerar que pueden triunfar en cualquier cosa.</a:t>
            </a:r>
            <a:endParaRPr lang="en-GB" altLang="de-DE" sz="1900" dirty="0">
              <a:latin typeface="+mj-lt"/>
            </a:endParaRPr>
          </a:p>
        </p:txBody>
      </p:sp>
      <p:sp>
        <p:nvSpPr>
          <p:cNvPr id="51" name="object 25">
            <a:extLst>
              <a:ext uri="{FF2B5EF4-FFF2-40B4-BE49-F238E27FC236}">
                <a16:creationId xmlns:a16="http://schemas.microsoft.com/office/drawing/2014/main" xmlns="" id="{59263594-F341-40B7-B9FB-183368666F4A}"/>
              </a:ext>
            </a:extLst>
          </p:cNvPr>
          <p:cNvSpPr txBox="1"/>
          <p:nvPr/>
        </p:nvSpPr>
        <p:spPr>
          <a:xfrm>
            <a:off x="3156878" y="1946220"/>
            <a:ext cx="1585218" cy="2991540"/>
          </a:xfrm>
          <a:prstGeom prst="rect">
            <a:avLst/>
          </a:prstGeom>
          <a:solidFill>
            <a:schemeClr val="accent6"/>
          </a:solidFill>
          <a:ln>
            <a:noFill/>
          </a:ln>
        </p:spPr>
        <p:txBody>
          <a:bodyPr vert="horz" wrap="square" lIns="0" tIns="22860" rIns="0" bIns="0" rtlCol="0">
            <a:noAutofit/>
          </a:bodyPr>
          <a:lstStyle/>
          <a:p>
            <a:pPr marL="217804" marR="210185" indent="-635" algn="ctr">
              <a:lnSpc>
                <a:spcPts val="1900"/>
              </a:lnSpc>
              <a:spcBef>
                <a:spcPts val="180"/>
              </a:spcBef>
            </a:pPr>
            <a:r>
              <a:rPr lang="en-GB" b="1" spc="-5" dirty="0">
                <a:solidFill>
                  <a:schemeClr val="bg1"/>
                </a:solidFill>
                <a:latin typeface="+mj-lt"/>
                <a:cs typeface="Arial"/>
              </a:rPr>
              <a:t>Etapa </a:t>
            </a:r>
            <a:r>
              <a:rPr lang="en-GB" b="1" dirty="0">
                <a:solidFill>
                  <a:schemeClr val="bg1"/>
                </a:solidFill>
                <a:latin typeface="+mj-lt"/>
                <a:cs typeface="Arial"/>
              </a:rPr>
              <a:t>1: La </a:t>
            </a:r>
            <a:r>
              <a:rPr lang="en-GB" b="1" spc="10" dirty="0">
                <a:solidFill>
                  <a:schemeClr val="bg1"/>
                </a:solidFill>
                <a:latin typeface="+mj-lt"/>
                <a:cs typeface="Arial"/>
              </a:rPr>
              <a:t>arrogancia </a:t>
            </a:r>
            <a:r>
              <a:rPr lang="en-GB" b="1" spc="20" dirty="0">
                <a:solidFill>
                  <a:schemeClr val="bg1"/>
                </a:solidFill>
                <a:latin typeface="+mj-lt"/>
                <a:cs typeface="Arial"/>
              </a:rPr>
              <a:t>nacida </a:t>
            </a:r>
            <a:r>
              <a:rPr lang="en-GB" b="1" dirty="0">
                <a:solidFill>
                  <a:schemeClr val="bg1"/>
                </a:solidFill>
                <a:latin typeface="+mj-lt"/>
                <a:cs typeface="Arial"/>
              </a:rPr>
              <a:t>del </a:t>
            </a:r>
            <a:r>
              <a:rPr lang="en-GB" b="1" spc="25" dirty="0">
                <a:solidFill>
                  <a:schemeClr val="bg1"/>
                </a:solidFill>
                <a:latin typeface="+mj-lt"/>
                <a:cs typeface="Arial"/>
              </a:rPr>
              <a:t>éxito</a:t>
            </a:r>
            <a:endParaRPr lang="en-GB" b="1" dirty="0">
              <a:solidFill>
                <a:schemeClr val="bg1"/>
              </a:solidFill>
              <a:latin typeface="+mj-lt"/>
              <a:cs typeface="Arial"/>
            </a:endParaRPr>
          </a:p>
          <a:p>
            <a:pPr>
              <a:lnSpc>
                <a:spcPct val="100000"/>
              </a:lnSpc>
            </a:pPr>
            <a:endParaRPr lang="en-GB" sz="1600" dirty="0">
              <a:solidFill>
                <a:schemeClr val="bg1"/>
              </a:solidFill>
              <a:latin typeface="+mj-lt"/>
              <a:cs typeface="Arial"/>
            </a:endParaRPr>
          </a:p>
          <a:p>
            <a:pPr marL="12065" marR="5080" algn="ctr">
              <a:lnSpc>
                <a:spcPts val="1600"/>
              </a:lnSpc>
            </a:pPr>
            <a:r>
              <a:rPr lang="en-GB" spc="-30" dirty="0">
                <a:solidFill>
                  <a:schemeClr val="bg1"/>
                </a:solidFill>
                <a:latin typeface="+mj-lt"/>
                <a:cs typeface="Arial"/>
              </a:rPr>
              <a:t>El </a:t>
            </a:r>
            <a:r>
              <a:rPr lang="en-GB" spc="15" dirty="0">
                <a:solidFill>
                  <a:schemeClr val="bg1"/>
                </a:solidFill>
                <a:latin typeface="+mj-lt"/>
                <a:cs typeface="Arial"/>
              </a:rPr>
              <a:t>punto de </a:t>
            </a:r>
            <a:r>
              <a:rPr lang="en-GB" spc="30" dirty="0">
                <a:solidFill>
                  <a:schemeClr val="bg1"/>
                </a:solidFill>
                <a:latin typeface="+mj-lt"/>
                <a:cs typeface="Arial"/>
              </a:rPr>
              <a:t>inflexión </a:t>
            </a:r>
            <a:r>
              <a:rPr lang="en-GB" spc="5" dirty="0">
                <a:solidFill>
                  <a:schemeClr val="bg1"/>
                </a:solidFill>
                <a:latin typeface="+mj-lt"/>
                <a:cs typeface="Arial"/>
              </a:rPr>
              <a:t>cultural </a:t>
            </a:r>
            <a:r>
              <a:rPr lang="en-GB" spc="-5" dirty="0">
                <a:solidFill>
                  <a:schemeClr val="bg1"/>
                </a:solidFill>
                <a:latin typeface="+mj-lt"/>
                <a:cs typeface="Arial"/>
              </a:rPr>
              <a:t>en el que el trabajo </a:t>
            </a:r>
            <a:r>
              <a:rPr lang="en-GB" spc="15" dirty="0">
                <a:solidFill>
                  <a:schemeClr val="bg1"/>
                </a:solidFill>
                <a:latin typeface="+mj-lt"/>
                <a:cs typeface="Arial"/>
              </a:rPr>
              <a:t>duro </a:t>
            </a:r>
            <a:r>
              <a:rPr lang="en-GB" spc="25" dirty="0">
                <a:solidFill>
                  <a:schemeClr val="bg1"/>
                </a:solidFill>
                <a:latin typeface="+mj-lt"/>
                <a:cs typeface="Arial"/>
              </a:rPr>
              <a:t>y la </a:t>
            </a:r>
            <a:r>
              <a:rPr lang="en-GB" spc="15" dirty="0">
                <a:solidFill>
                  <a:schemeClr val="bg1"/>
                </a:solidFill>
                <a:latin typeface="+mj-lt"/>
                <a:cs typeface="Arial"/>
              </a:rPr>
              <a:t>concentración </a:t>
            </a:r>
            <a:r>
              <a:rPr lang="en-GB" dirty="0">
                <a:solidFill>
                  <a:schemeClr val="bg1"/>
                </a:solidFill>
                <a:latin typeface="+mj-lt"/>
                <a:cs typeface="Arial"/>
              </a:rPr>
              <a:t>para </a:t>
            </a:r>
            <a:r>
              <a:rPr lang="en-GB" spc="-5" dirty="0">
                <a:solidFill>
                  <a:schemeClr val="bg1"/>
                </a:solidFill>
                <a:latin typeface="+mj-lt"/>
                <a:cs typeface="Arial"/>
              </a:rPr>
              <a:t>ganar </a:t>
            </a:r>
            <a:r>
              <a:rPr lang="en-GB" dirty="0">
                <a:solidFill>
                  <a:schemeClr val="bg1"/>
                </a:solidFill>
                <a:latin typeface="+mj-lt"/>
                <a:cs typeface="Arial"/>
              </a:rPr>
              <a:t>el </a:t>
            </a:r>
            <a:r>
              <a:rPr lang="en-GB" spc="5" dirty="0">
                <a:solidFill>
                  <a:schemeClr val="bg1"/>
                </a:solidFill>
                <a:latin typeface="+mj-lt"/>
                <a:cs typeface="Arial"/>
              </a:rPr>
              <a:t>negocio </a:t>
            </a:r>
            <a:r>
              <a:rPr lang="en-GB" dirty="0">
                <a:solidFill>
                  <a:schemeClr val="bg1"/>
                </a:solidFill>
                <a:latin typeface="+mj-lt"/>
                <a:cs typeface="Arial"/>
              </a:rPr>
              <a:t>se convierten </a:t>
            </a:r>
            <a:r>
              <a:rPr lang="en-GB" spc="-5" dirty="0">
                <a:solidFill>
                  <a:schemeClr val="bg1"/>
                </a:solidFill>
                <a:latin typeface="+mj-lt"/>
                <a:cs typeface="Arial"/>
              </a:rPr>
              <a:t>en un sentido </a:t>
            </a:r>
            <a:r>
              <a:rPr lang="en-GB" dirty="0">
                <a:solidFill>
                  <a:schemeClr val="bg1"/>
                </a:solidFill>
                <a:latin typeface="+mj-lt"/>
                <a:cs typeface="Arial"/>
              </a:rPr>
              <a:t>de </a:t>
            </a:r>
            <a:r>
              <a:rPr lang="en-GB" spc="-5" dirty="0">
                <a:solidFill>
                  <a:schemeClr val="bg1"/>
                </a:solidFill>
                <a:latin typeface="+mj-lt"/>
                <a:cs typeface="Arial"/>
              </a:rPr>
              <a:t>derecho </a:t>
            </a:r>
            <a:r>
              <a:rPr lang="en-GB" dirty="0">
                <a:solidFill>
                  <a:schemeClr val="bg1"/>
                </a:solidFill>
                <a:latin typeface="+mj-lt"/>
                <a:cs typeface="Arial"/>
              </a:rPr>
              <a:t>al </a:t>
            </a:r>
            <a:r>
              <a:rPr lang="en-GB" spc="15" dirty="0">
                <a:solidFill>
                  <a:schemeClr val="bg1"/>
                </a:solidFill>
                <a:latin typeface="+mj-lt"/>
                <a:cs typeface="Arial"/>
              </a:rPr>
              <a:t>éxito </a:t>
            </a:r>
            <a:r>
              <a:rPr lang="en-GB" dirty="0">
                <a:solidFill>
                  <a:schemeClr val="bg1"/>
                </a:solidFill>
                <a:latin typeface="+mj-lt"/>
                <a:cs typeface="Arial"/>
              </a:rPr>
              <a:t>futuro</a:t>
            </a:r>
            <a:r>
              <a:rPr lang="en-GB" spc="15" dirty="0">
                <a:solidFill>
                  <a:schemeClr val="bg1"/>
                </a:solidFill>
                <a:latin typeface="+mj-lt"/>
                <a:cs typeface="Arial"/>
              </a:rPr>
              <a:t>.</a:t>
            </a:r>
            <a:endParaRPr lang="en-GB" dirty="0">
              <a:solidFill>
                <a:schemeClr val="bg1"/>
              </a:solidFill>
              <a:latin typeface="+mj-lt"/>
              <a:cs typeface="Arial"/>
            </a:endParaRPr>
          </a:p>
        </p:txBody>
      </p:sp>
      <p:sp>
        <p:nvSpPr>
          <p:cNvPr id="6" name="Freihandform: Form 5">
            <a:extLst>
              <a:ext uri="{FF2B5EF4-FFF2-40B4-BE49-F238E27FC236}">
                <a16:creationId xmlns:a16="http://schemas.microsoft.com/office/drawing/2014/main" xmlns="" id="{B2AE5D6E-295E-42D8-AF5D-6AD2B0F75347}"/>
              </a:ext>
            </a:extLst>
          </p:cNvPr>
          <p:cNvSpPr/>
          <p:nvPr/>
        </p:nvSpPr>
        <p:spPr>
          <a:xfrm>
            <a:off x="3280543" y="2505477"/>
            <a:ext cx="8338726" cy="3518482"/>
          </a:xfrm>
          <a:custGeom>
            <a:avLst/>
            <a:gdLst>
              <a:gd name="connsiteX0" fmla="*/ 0 w 7934960"/>
              <a:gd name="connsiteY0" fmla="*/ 3101783 h 3518482"/>
              <a:gd name="connsiteX1" fmla="*/ 1676400 w 7934960"/>
              <a:gd name="connsiteY1" fmla="*/ 2553143 h 3518482"/>
              <a:gd name="connsiteX2" fmla="*/ 3322320 w 7934960"/>
              <a:gd name="connsiteY2" fmla="*/ 602423 h 3518482"/>
              <a:gd name="connsiteX3" fmla="*/ 3759200 w 7934960"/>
              <a:gd name="connsiteY3" fmla="*/ 267143 h 3518482"/>
              <a:gd name="connsiteX4" fmla="*/ 4602480 w 7934960"/>
              <a:gd name="connsiteY4" fmla="*/ 94423 h 3518482"/>
              <a:gd name="connsiteX5" fmla="*/ 5181600 w 7934960"/>
              <a:gd name="connsiteY5" fmla="*/ 1821623 h 3518482"/>
              <a:gd name="connsiteX6" fmla="*/ 5608320 w 7934960"/>
              <a:gd name="connsiteY6" fmla="*/ 1557463 h 3518482"/>
              <a:gd name="connsiteX7" fmla="*/ 6065520 w 7934960"/>
              <a:gd name="connsiteY7" fmla="*/ 2705543 h 3518482"/>
              <a:gd name="connsiteX8" fmla="*/ 6400800 w 7934960"/>
              <a:gd name="connsiteY8" fmla="*/ 2339783 h 3518482"/>
              <a:gd name="connsiteX9" fmla="*/ 6746240 w 7934960"/>
              <a:gd name="connsiteY9" fmla="*/ 3162743 h 3518482"/>
              <a:gd name="connsiteX10" fmla="*/ 7233920 w 7934960"/>
              <a:gd name="connsiteY10" fmla="*/ 2776663 h 3518482"/>
              <a:gd name="connsiteX11" fmla="*/ 7579360 w 7934960"/>
              <a:gd name="connsiteY11" fmla="*/ 3396423 h 3518482"/>
              <a:gd name="connsiteX12" fmla="*/ 7934960 w 7934960"/>
              <a:gd name="connsiteY12" fmla="*/ 3518343 h 3518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34960" h="3518482">
                <a:moveTo>
                  <a:pt x="0" y="3101783"/>
                </a:moveTo>
                <a:cubicBezTo>
                  <a:pt x="561340" y="3035743"/>
                  <a:pt x="1122680" y="2969703"/>
                  <a:pt x="1676400" y="2553143"/>
                </a:cubicBezTo>
                <a:cubicBezTo>
                  <a:pt x="2230120" y="2136583"/>
                  <a:pt x="2975187" y="983423"/>
                  <a:pt x="3322320" y="602423"/>
                </a:cubicBezTo>
                <a:cubicBezTo>
                  <a:pt x="3669453" y="221423"/>
                  <a:pt x="3545840" y="351810"/>
                  <a:pt x="3759200" y="267143"/>
                </a:cubicBezTo>
                <a:cubicBezTo>
                  <a:pt x="3972560" y="182476"/>
                  <a:pt x="4365413" y="-164657"/>
                  <a:pt x="4602480" y="94423"/>
                </a:cubicBezTo>
                <a:cubicBezTo>
                  <a:pt x="4839547" y="353503"/>
                  <a:pt x="5013960" y="1577783"/>
                  <a:pt x="5181600" y="1821623"/>
                </a:cubicBezTo>
                <a:cubicBezTo>
                  <a:pt x="5349240" y="2065463"/>
                  <a:pt x="5461000" y="1410143"/>
                  <a:pt x="5608320" y="1557463"/>
                </a:cubicBezTo>
                <a:cubicBezTo>
                  <a:pt x="5755640" y="1704783"/>
                  <a:pt x="5933440" y="2575156"/>
                  <a:pt x="6065520" y="2705543"/>
                </a:cubicBezTo>
                <a:cubicBezTo>
                  <a:pt x="6197600" y="2835930"/>
                  <a:pt x="6287347" y="2263583"/>
                  <a:pt x="6400800" y="2339783"/>
                </a:cubicBezTo>
                <a:cubicBezTo>
                  <a:pt x="6514253" y="2415983"/>
                  <a:pt x="6607387" y="3089930"/>
                  <a:pt x="6746240" y="3162743"/>
                </a:cubicBezTo>
                <a:cubicBezTo>
                  <a:pt x="6885093" y="3235556"/>
                  <a:pt x="7095067" y="2737716"/>
                  <a:pt x="7233920" y="2776663"/>
                </a:cubicBezTo>
                <a:cubicBezTo>
                  <a:pt x="7372773" y="2815610"/>
                  <a:pt x="7462520" y="3272810"/>
                  <a:pt x="7579360" y="3396423"/>
                </a:cubicBezTo>
                <a:cubicBezTo>
                  <a:pt x="7696200" y="3520036"/>
                  <a:pt x="7815580" y="3519189"/>
                  <a:pt x="7934960" y="3518343"/>
                </a:cubicBezTo>
              </a:path>
            </a:pathLst>
          </a:cu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Box 87">
            <a:extLst>
              <a:ext uri="{FF2B5EF4-FFF2-40B4-BE49-F238E27FC236}">
                <a16:creationId xmlns:a16="http://schemas.microsoft.com/office/drawing/2014/main" xmlns="" id="{D429BCE2-BE31-471C-B607-7CC1348133CC}"/>
              </a:ext>
            </a:extLst>
          </p:cNvPr>
          <p:cNvSpPr txBox="1"/>
          <p:nvPr/>
        </p:nvSpPr>
        <p:spPr>
          <a:xfrm>
            <a:off x="550278" y="6528494"/>
            <a:ext cx="647028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Fuente: Adaptado de Jim Collins, "How the Mighty Fall and Why Some Companies Never Give In" y Eli </a:t>
            </a:r>
            <a:r>
              <a:rPr lang="en-GB" sz="1000" dirty="0" err="1">
                <a:latin typeface="+mj-lt"/>
                <a:ea typeface="League Spartan" charset="0"/>
                <a:cs typeface="Poppins" pitchFamily="2" charset="77"/>
              </a:rPr>
              <a:t>Zelkha</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24295973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Cómo </a:t>
            </a:r>
            <a:r>
              <a:rPr lang="en-GB"/>
              <a:t>caen los poderosos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27686" y="1946220"/>
            <a:ext cx="2929192" cy="446819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000" b="1" dirty="0">
                <a:latin typeface="+mj-lt"/>
              </a:rPr>
              <a:t>Etapa 2:</a:t>
            </a:r>
          </a:p>
          <a:p>
            <a:pPr algn="l">
              <a:lnSpc>
                <a:spcPct val="100000"/>
              </a:lnSpc>
              <a:spcBef>
                <a:spcPts val="600"/>
              </a:spcBef>
            </a:pPr>
            <a:r>
              <a:rPr lang="en-US" altLang="de-DE" sz="2000" dirty="0">
                <a:latin typeface="+mj-lt"/>
              </a:rPr>
              <a:t>De la etapa 1 a la 2, "Búsqueda indisciplinada de más", hay un corto camino en el que las empresas persiguen más crecimiento con movimientos indisciplinados que no encajan en su actividad principal. O bien es el área a la que se lanza la empresa o el rápido ritmo de crecimiento lo que impide que la empresa destaque, o incluso ambas cosas.</a:t>
            </a:r>
            <a:endParaRPr lang="en-GB" altLang="de-DE" sz="2000" dirty="0">
              <a:latin typeface="+mj-lt"/>
            </a:endParaRPr>
          </a:p>
        </p:txBody>
      </p:sp>
      <p:sp>
        <p:nvSpPr>
          <p:cNvPr id="51" name="object 25">
            <a:extLst>
              <a:ext uri="{FF2B5EF4-FFF2-40B4-BE49-F238E27FC236}">
                <a16:creationId xmlns:a16="http://schemas.microsoft.com/office/drawing/2014/main" xmlns="" id="{59263594-F341-40B7-B9FB-183368666F4A}"/>
              </a:ext>
            </a:extLst>
          </p:cNvPr>
          <p:cNvSpPr txBox="1"/>
          <p:nvPr/>
        </p:nvSpPr>
        <p:spPr>
          <a:xfrm>
            <a:off x="3156878" y="1946220"/>
            <a:ext cx="1585218" cy="2991540"/>
          </a:xfrm>
          <a:prstGeom prst="rect">
            <a:avLst/>
          </a:prstGeom>
          <a:solidFill>
            <a:schemeClr val="accent6">
              <a:alpha val="30000"/>
            </a:schemeClr>
          </a:solidFill>
          <a:ln>
            <a:noFill/>
          </a:ln>
        </p:spPr>
        <p:txBody>
          <a:bodyPr vert="horz" wrap="square" lIns="0" tIns="22860" rIns="0" bIns="0" rtlCol="0">
            <a:noAutofit/>
          </a:bodyPr>
          <a:lstStyle/>
          <a:p>
            <a:pPr marL="217804" marR="210185" indent="-635" algn="ctr">
              <a:lnSpc>
                <a:spcPts val="1900"/>
              </a:lnSpc>
              <a:spcBef>
                <a:spcPts val="180"/>
              </a:spcBef>
            </a:pPr>
            <a:r>
              <a:rPr lang="en-GB" sz="1600" b="1" spc="-5" dirty="0">
                <a:solidFill>
                  <a:schemeClr val="tx2"/>
                </a:solidFill>
                <a:latin typeface="+mj-lt"/>
                <a:cs typeface="Arial"/>
              </a:rPr>
              <a:t>Etapa </a:t>
            </a:r>
            <a:r>
              <a:rPr lang="en-GB" sz="1600" b="1" dirty="0">
                <a:solidFill>
                  <a:schemeClr val="tx2"/>
                </a:solidFill>
                <a:latin typeface="+mj-lt"/>
                <a:cs typeface="Arial"/>
              </a:rPr>
              <a:t>1: La </a:t>
            </a:r>
            <a:r>
              <a:rPr lang="en-GB" sz="1600" b="1" spc="10" dirty="0">
                <a:solidFill>
                  <a:schemeClr val="tx2"/>
                </a:solidFill>
                <a:latin typeface="+mj-lt"/>
                <a:cs typeface="Arial"/>
              </a:rPr>
              <a:t>arrogancia </a:t>
            </a:r>
            <a:r>
              <a:rPr lang="en-GB" sz="1600" b="1" spc="20" dirty="0">
                <a:solidFill>
                  <a:schemeClr val="tx2"/>
                </a:solidFill>
                <a:latin typeface="+mj-lt"/>
                <a:cs typeface="Arial"/>
              </a:rPr>
              <a:t>nacida </a:t>
            </a:r>
            <a:r>
              <a:rPr lang="en-GB" sz="1600" b="1" dirty="0">
                <a:solidFill>
                  <a:schemeClr val="tx2"/>
                </a:solidFill>
                <a:latin typeface="+mj-lt"/>
                <a:cs typeface="Arial"/>
              </a:rPr>
              <a:t>del </a:t>
            </a:r>
            <a:r>
              <a:rPr lang="en-GB" sz="1600" b="1" spc="25" dirty="0">
                <a:solidFill>
                  <a:schemeClr val="tx2"/>
                </a:solidFill>
                <a:latin typeface="+mj-lt"/>
                <a:cs typeface="Arial"/>
              </a:rPr>
              <a:t>éxito</a:t>
            </a:r>
            <a:endParaRPr lang="en-GB" sz="1600" b="1" dirty="0">
              <a:solidFill>
                <a:schemeClr val="tx2"/>
              </a:solidFill>
              <a:latin typeface="+mj-lt"/>
              <a:cs typeface="Arial"/>
            </a:endParaRPr>
          </a:p>
          <a:p>
            <a:pPr>
              <a:lnSpc>
                <a:spcPct val="100000"/>
              </a:lnSpc>
            </a:pPr>
            <a:endParaRPr lang="en-GB" sz="1600" dirty="0">
              <a:solidFill>
                <a:schemeClr val="tx2"/>
              </a:solidFill>
              <a:latin typeface="+mj-lt"/>
              <a:cs typeface="Arial"/>
            </a:endParaRPr>
          </a:p>
          <a:p>
            <a:pPr>
              <a:spcBef>
                <a:spcPts val="20"/>
              </a:spcBef>
            </a:pPr>
            <a:endParaRPr lang="en-GB" sz="1400" dirty="0">
              <a:solidFill>
                <a:schemeClr val="tx2"/>
              </a:solidFill>
              <a:latin typeface="+mj-lt"/>
              <a:cs typeface="Arial"/>
            </a:endParaRPr>
          </a:p>
          <a:p>
            <a:pPr marL="12065" marR="5080" algn="ctr">
              <a:lnSpc>
                <a:spcPts val="1600"/>
              </a:lnSpc>
            </a:pPr>
            <a:r>
              <a:rPr lang="en-GB" sz="1400" spc="-30" dirty="0">
                <a:solidFill>
                  <a:schemeClr val="tx2"/>
                </a:solidFill>
                <a:latin typeface="+mj-lt"/>
                <a:cs typeface="Arial"/>
              </a:rPr>
              <a:t>El </a:t>
            </a:r>
            <a:r>
              <a:rPr lang="en-GB" sz="1400" spc="15" dirty="0">
                <a:solidFill>
                  <a:schemeClr val="tx2"/>
                </a:solidFill>
                <a:latin typeface="+mj-lt"/>
                <a:cs typeface="Arial"/>
              </a:rPr>
              <a:t>punto de </a:t>
            </a:r>
            <a:r>
              <a:rPr lang="en-GB" sz="1400" spc="30" dirty="0">
                <a:solidFill>
                  <a:schemeClr val="tx2"/>
                </a:solidFill>
                <a:latin typeface="+mj-lt"/>
                <a:cs typeface="Arial"/>
              </a:rPr>
              <a:t>inflexión </a:t>
            </a:r>
            <a:r>
              <a:rPr lang="en-GB" sz="1400" spc="5" dirty="0">
                <a:solidFill>
                  <a:schemeClr val="tx2"/>
                </a:solidFill>
                <a:latin typeface="+mj-lt"/>
                <a:cs typeface="Arial"/>
              </a:rPr>
              <a:t>cultural </a:t>
            </a:r>
            <a:r>
              <a:rPr lang="en-GB" sz="1400" spc="-5" dirty="0">
                <a:solidFill>
                  <a:schemeClr val="tx2"/>
                </a:solidFill>
                <a:latin typeface="+mj-lt"/>
                <a:cs typeface="Arial"/>
              </a:rPr>
              <a:t>en el que el trabajo </a:t>
            </a:r>
            <a:r>
              <a:rPr lang="en-GB" sz="1400" spc="15" dirty="0">
                <a:solidFill>
                  <a:schemeClr val="tx2"/>
                </a:solidFill>
                <a:latin typeface="+mj-lt"/>
                <a:cs typeface="Arial"/>
              </a:rPr>
              <a:t>duro </a:t>
            </a:r>
            <a:r>
              <a:rPr lang="en-GB" sz="1400" spc="25" dirty="0">
                <a:solidFill>
                  <a:schemeClr val="tx2"/>
                </a:solidFill>
                <a:latin typeface="+mj-lt"/>
                <a:cs typeface="Arial"/>
              </a:rPr>
              <a:t>y la </a:t>
            </a:r>
            <a:r>
              <a:rPr lang="en-GB" sz="1400" spc="15" dirty="0">
                <a:solidFill>
                  <a:schemeClr val="tx2"/>
                </a:solidFill>
                <a:latin typeface="+mj-lt"/>
                <a:cs typeface="Arial"/>
              </a:rPr>
              <a:t>concentración </a:t>
            </a:r>
            <a:r>
              <a:rPr lang="en-GB" sz="1400" dirty="0">
                <a:solidFill>
                  <a:schemeClr val="tx2"/>
                </a:solidFill>
                <a:latin typeface="+mj-lt"/>
                <a:cs typeface="Arial"/>
              </a:rPr>
              <a:t>para </a:t>
            </a:r>
            <a:r>
              <a:rPr lang="en-GB" sz="1400" spc="-5" dirty="0">
                <a:solidFill>
                  <a:schemeClr val="tx2"/>
                </a:solidFill>
                <a:latin typeface="+mj-lt"/>
                <a:cs typeface="Arial"/>
              </a:rPr>
              <a:t>ganar </a:t>
            </a:r>
            <a:r>
              <a:rPr lang="en-GB" sz="1400" dirty="0">
                <a:solidFill>
                  <a:schemeClr val="tx2"/>
                </a:solidFill>
                <a:latin typeface="+mj-lt"/>
                <a:cs typeface="Arial"/>
              </a:rPr>
              <a:t>el </a:t>
            </a:r>
            <a:r>
              <a:rPr lang="en-GB" sz="1400" spc="5" dirty="0">
                <a:solidFill>
                  <a:schemeClr val="tx2"/>
                </a:solidFill>
                <a:latin typeface="+mj-lt"/>
                <a:cs typeface="Arial"/>
              </a:rPr>
              <a:t>negocio </a:t>
            </a:r>
            <a:r>
              <a:rPr lang="en-GB" sz="1400" dirty="0">
                <a:solidFill>
                  <a:schemeClr val="tx2"/>
                </a:solidFill>
                <a:latin typeface="+mj-lt"/>
                <a:cs typeface="Arial"/>
              </a:rPr>
              <a:t>se convierten </a:t>
            </a:r>
            <a:r>
              <a:rPr lang="en-GB" sz="1400" spc="-5" dirty="0">
                <a:solidFill>
                  <a:schemeClr val="tx2"/>
                </a:solidFill>
                <a:latin typeface="+mj-lt"/>
                <a:cs typeface="Arial"/>
              </a:rPr>
              <a:t>en un sentido </a:t>
            </a:r>
            <a:r>
              <a:rPr lang="en-GB" sz="1400" dirty="0">
                <a:solidFill>
                  <a:schemeClr val="tx2"/>
                </a:solidFill>
                <a:latin typeface="+mj-lt"/>
                <a:cs typeface="Arial"/>
              </a:rPr>
              <a:t>de </a:t>
            </a:r>
            <a:r>
              <a:rPr lang="en-GB" sz="1400" spc="-5" dirty="0">
                <a:solidFill>
                  <a:schemeClr val="tx2"/>
                </a:solidFill>
                <a:latin typeface="+mj-lt"/>
                <a:cs typeface="Arial"/>
              </a:rPr>
              <a:t>derecho </a:t>
            </a:r>
            <a:r>
              <a:rPr lang="en-GB" sz="1400" dirty="0">
                <a:solidFill>
                  <a:schemeClr val="tx2"/>
                </a:solidFill>
                <a:latin typeface="+mj-lt"/>
                <a:cs typeface="Arial"/>
              </a:rPr>
              <a:t>al </a:t>
            </a:r>
            <a:r>
              <a:rPr lang="en-GB" sz="1400" spc="15" dirty="0">
                <a:solidFill>
                  <a:schemeClr val="tx2"/>
                </a:solidFill>
                <a:latin typeface="+mj-lt"/>
                <a:cs typeface="Arial"/>
              </a:rPr>
              <a:t>éxito </a:t>
            </a:r>
            <a:r>
              <a:rPr lang="en-GB" sz="1400" dirty="0">
                <a:solidFill>
                  <a:schemeClr val="tx2"/>
                </a:solidFill>
                <a:latin typeface="+mj-lt"/>
                <a:cs typeface="Arial"/>
              </a:rPr>
              <a:t>futuro</a:t>
            </a:r>
            <a:r>
              <a:rPr lang="en-GB" sz="1400" spc="15" dirty="0">
                <a:solidFill>
                  <a:schemeClr val="tx2"/>
                </a:solidFill>
                <a:latin typeface="+mj-lt"/>
                <a:cs typeface="Arial"/>
              </a:rPr>
              <a:t>.</a:t>
            </a:r>
            <a:endParaRPr lang="en-GB" sz="1400" dirty="0">
              <a:solidFill>
                <a:schemeClr val="tx2"/>
              </a:solidFill>
              <a:latin typeface="+mj-lt"/>
              <a:cs typeface="Arial"/>
            </a:endParaRPr>
          </a:p>
        </p:txBody>
      </p:sp>
      <p:sp>
        <p:nvSpPr>
          <p:cNvPr id="6" name="Freihandform: Form 5">
            <a:extLst>
              <a:ext uri="{FF2B5EF4-FFF2-40B4-BE49-F238E27FC236}">
                <a16:creationId xmlns:a16="http://schemas.microsoft.com/office/drawing/2014/main" xmlns="" id="{B2AE5D6E-295E-42D8-AF5D-6AD2B0F75347}"/>
              </a:ext>
            </a:extLst>
          </p:cNvPr>
          <p:cNvSpPr/>
          <p:nvPr/>
        </p:nvSpPr>
        <p:spPr>
          <a:xfrm>
            <a:off x="3280543" y="2505477"/>
            <a:ext cx="8338726" cy="3518482"/>
          </a:xfrm>
          <a:custGeom>
            <a:avLst/>
            <a:gdLst>
              <a:gd name="connsiteX0" fmla="*/ 0 w 7934960"/>
              <a:gd name="connsiteY0" fmla="*/ 3101783 h 3518482"/>
              <a:gd name="connsiteX1" fmla="*/ 1676400 w 7934960"/>
              <a:gd name="connsiteY1" fmla="*/ 2553143 h 3518482"/>
              <a:gd name="connsiteX2" fmla="*/ 3322320 w 7934960"/>
              <a:gd name="connsiteY2" fmla="*/ 602423 h 3518482"/>
              <a:gd name="connsiteX3" fmla="*/ 3759200 w 7934960"/>
              <a:gd name="connsiteY3" fmla="*/ 267143 h 3518482"/>
              <a:gd name="connsiteX4" fmla="*/ 4602480 w 7934960"/>
              <a:gd name="connsiteY4" fmla="*/ 94423 h 3518482"/>
              <a:gd name="connsiteX5" fmla="*/ 5181600 w 7934960"/>
              <a:gd name="connsiteY5" fmla="*/ 1821623 h 3518482"/>
              <a:gd name="connsiteX6" fmla="*/ 5608320 w 7934960"/>
              <a:gd name="connsiteY6" fmla="*/ 1557463 h 3518482"/>
              <a:gd name="connsiteX7" fmla="*/ 6065520 w 7934960"/>
              <a:gd name="connsiteY7" fmla="*/ 2705543 h 3518482"/>
              <a:gd name="connsiteX8" fmla="*/ 6400800 w 7934960"/>
              <a:gd name="connsiteY8" fmla="*/ 2339783 h 3518482"/>
              <a:gd name="connsiteX9" fmla="*/ 6746240 w 7934960"/>
              <a:gd name="connsiteY9" fmla="*/ 3162743 h 3518482"/>
              <a:gd name="connsiteX10" fmla="*/ 7233920 w 7934960"/>
              <a:gd name="connsiteY10" fmla="*/ 2776663 h 3518482"/>
              <a:gd name="connsiteX11" fmla="*/ 7579360 w 7934960"/>
              <a:gd name="connsiteY11" fmla="*/ 3396423 h 3518482"/>
              <a:gd name="connsiteX12" fmla="*/ 7934960 w 7934960"/>
              <a:gd name="connsiteY12" fmla="*/ 3518343 h 3518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34960" h="3518482">
                <a:moveTo>
                  <a:pt x="0" y="3101783"/>
                </a:moveTo>
                <a:cubicBezTo>
                  <a:pt x="561340" y="3035743"/>
                  <a:pt x="1122680" y="2969703"/>
                  <a:pt x="1676400" y="2553143"/>
                </a:cubicBezTo>
                <a:cubicBezTo>
                  <a:pt x="2230120" y="2136583"/>
                  <a:pt x="2975187" y="983423"/>
                  <a:pt x="3322320" y="602423"/>
                </a:cubicBezTo>
                <a:cubicBezTo>
                  <a:pt x="3669453" y="221423"/>
                  <a:pt x="3545840" y="351810"/>
                  <a:pt x="3759200" y="267143"/>
                </a:cubicBezTo>
                <a:cubicBezTo>
                  <a:pt x="3972560" y="182476"/>
                  <a:pt x="4365413" y="-164657"/>
                  <a:pt x="4602480" y="94423"/>
                </a:cubicBezTo>
                <a:cubicBezTo>
                  <a:pt x="4839547" y="353503"/>
                  <a:pt x="5013960" y="1577783"/>
                  <a:pt x="5181600" y="1821623"/>
                </a:cubicBezTo>
                <a:cubicBezTo>
                  <a:pt x="5349240" y="2065463"/>
                  <a:pt x="5461000" y="1410143"/>
                  <a:pt x="5608320" y="1557463"/>
                </a:cubicBezTo>
                <a:cubicBezTo>
                  <a:pt x="5755640" y="1704783"/>
                  <a:pt x="5933440" y="2575156"/>
                  <a:pt x="6065520" y="2705543"/>
                </a:cubicBezTo>
                <a:cubicBezTo>
                  <a:pt x="6197600" y="2835930"/>
                  <a:pt x="6287347" y="2263583"/>
                  <a:pt x="6400800" y="2339783"/>
                </a:cubicBezTo>
                <a:cubicBezTo>
                  <a:pt x="6514253" y="2415983"/>
                  <a:pt x="6607387" y="3089930"/>
                  <a:pt x="6746240" y="3162743"/>
                </a:cubicBezTo>
                <a:cubicBezTo>
                  <a:pt x="6885093" y="3235556"/>
                  <a:pt x="7095067" y="2737716"/>
                  <a:pt x="7233920" y="2776663"/>
                </a:cubicBezTo>
                <a:cubicBezTo>
                  <a:pt x="7372773" y="2815610"/>
                  <a:pt x="7462520" y="3272810"/>
                  <a:pt x="7579360" y="3396423"/>
                </a:cubicBezTo>
                <a:cubicBezTo>
                  <a:pt x="7696200" y="3520036"/>
                  <a:pt x="7815580" y="3519189"/>
                  <a:pt x="7934960" y="3518343"/>
                </a:cubicBezTo>
              </a:path>
            </a:pathLst>
          </a:cu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object 25">
            <a:extLst>
              <a:ext uri="{FF2B5EF4-FFF2-40B4-BE49-F238E27FC236}">
                <a16:creationId xmlns:a16="http://schemas.microsoft.com/office/drawing/2014/main" xmlns="" id="{218D54CB-EDD0-4F2D-8FAE-8686B16AB153}"/>
              </a:ext>
            </a:extLst>
          </p:cNvPr>
          <p:cNvSpPr txBox="1"/>
          <p:nvPr/>
        </p:nvSpPr>
        <p:spPr>
          <a:xfrm>
            <a:off x="4927599" y="1946219"/>
            <a:ext cx="1723571" cy="3659924"/>
          </a:xfrm>
          <a:prstGeom prst="rect">
            <a:avLst/>
          </a:prstGeom>
          <a:solidFill>
            <a:schemeClr val="accent6">
              <a:lumMod val="75000"/>
            </a:schemeClr>
          </a:solidFill>
          <a:ln>
            <a:noFill/>
          </a:ln>
        </p:spPr>
        <p:txBody>
          <a:bodyPr vert="horz" wrap="square" lIns="0" tIns="22860" rIns="0" bIns="0" rtlCol="0">
            <a:noAutofit/>
          </a:bodyPr>
          <a:lstStyle/>
          <a:p>
            <a:pPr marL="217804" marR="210185" indent="-635" algn="ctr">
              <a:lnSpc>
                <a:spcPts val="1900"/>
              </a:lnSpc>
              <a:spcBef>
                <a:spcPts val="180"/>
              </a:spcBef>
            </a:pPr>
            <a:r>
              <a:rPr lang="en-GB" b="1" spc="-5" dirty="0">
                <a:solidFill>
                  <a:schemeClr val="bg1"/>
                </a:solidFill>
                <a:latin typeface="+mj-lt"/>
                <a:cs typeface="Arial"/>
              </a:rPr>
              <a:t>Etapa 2: Búsqueda indisciplinada de más</a:t>
            </a:r>
          </a:p>
          <a:p>
            <a:pPr>
              <a:spcBef>
                <a:spcPts val="20"/>
              </a:spcBef>
            </a:pPr>
            <a:endParaRPr lang="en-GB" sz="1400" dirty="0">
              <a:solidFill>
                <a:schemeClr val="bg1"/>
              </a:solidFill>
              <a:latin typeface="+mj-lt"/>
              <a:cs typeface="Arial"/>
            </a:endParaRPr>
          </a:p>
          <a:p>
            <a:pPr marL="12065" marR="5080" algn="ctr"/>
            <a:r>
              <a:rPr lang="en-GB" sz="1700" spc="-30" dirty="0">
                <a:solidFill>
                  <a:schemeClr val="bg1"/>
                </a:solidFill>
                <a:latin typeface="+mj-lt"/>
                <a:cs typeface="Arial"/>
              </a:rPr>
              <a:t>Construir desde la primera etapa es que la gente persiga objetivos que la alejen de su núcleo, de su ventaja competitiva, todo en nombre del crecimiento, o de la gran estrategia.</a:t>
            </a:r>
          </a:p>
        </p:txBody>
      </p:sp>
      <p:sp>
        <p:nvSpPr>
          <p:cNvPr id="11" name="TextBox 87">
            <a:extLst>
              <a:ext uri="{FF2B5EF4-FFF2-40B4-BE49-F238E27FC236}">
                <a16:creationId xmlns:a16="http://schemas.microsoft.com/office/drawing/2014/main" xmlns="" id="{A5EBDC74-7CC3-4B77-BA97-819F11D52CDD}"/>
              </a:ext>
            </a:extLst>
          </p:cNvPr>
          <p:cNvSpPr txBox="1"/>
          <p:nvPr/>
        </p:nvSpPr>
        <p:spPr>
          <a:xfrm>
            <a:off x="550278" y="6528494"/>
            <a:ext cx="647028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Fuente: Adaptado de Jim Collins, "How the Mighty Fall and Why Some Companies Never Give In" y Eli </a:t>
            </a:r>
            <a:r>
              <a:rPr lang="en-GB" sz="1000" dirty="0" err="1">
                <a:latin typeface="+mj-lt"/>
                <a:ea typeface="League Spartan" charset="0"/>
                <a:cs typeface="Poppins" pitchFamily="2" charset="77"/>
              </a:rPr>
              <a:t>Zelkha</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12445283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086630" y="511344"/>
            <a:ext cx="8852375" cy="697353"/>
          </a:xfrm>
        </p:spPr>
        <p:txBody>
          <a:bodyPr>
            <a:normAutofit/>
          </a:bodyPr>
          <a:lstStyle/>
          <a:p>
            <a:r>
              <a:rPr lang="en-GB" dirty="0"/>
              <a:t>Cómo </a:t>
            </a:r>
            <a:r>
              <a:rPr lang="en-GB"/>
              <a:t>caen los poderosos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411983" y="2183194"/>
            <a:ext cx="2544762" cy="385264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000" b="1" dirty="0">
                <a:latin typeface="+mj-lt"/>
              </a:rPr>
              <a:t>Etapa 3:</a:t>
            </a:r>
          </a:p>
          <a:p>
            <a:pPr algn="l">
              <a:lnSpc>
                <a:spcPct val="100000"/>
              </a:lnSpc>
              <a:spcBef>
                <a:spcPts val="600"/>
              </a:spcBef>
            </a:pPr>
            <a:r>
              <a:rPr lang="en-US" altLang="de-DE" sz="2000" dirty="0">
                <a:latin typeface="+mj-lt"/>
              </a:rPr>
              <a:t>En la etapa 3, "Negación del riesgo y del peligro", las cosas parecen estar bien por fuera, pero aparecen signos internos de deterioro. Las empresas tienden a amplificar los datos positivos y a descartar, o explicar, los datos negativos.</a:t>
            </a:r>
            <a:endParaRPr lang="en-GB" altLang="de-DE" sz="2000" dirty="0">
              <a:latin typeface="+mj-lt"/>
            </a:endParaRPr>
          </a:p>
        </p:txBody>
      </p:sp>
      <p:sp>
        <p:nvSpPr>
          <p:cNvPr id="51" name="object 25">
            <a:extLst>
              <a:ext uri="{FF2B5EF4-FFF2-40B4-BE49-F238E27FC236}">
                <a16:creationId xmlns:a16="http://schemas.microsoft.com/office/drawing/2014/main" xmlns="" id="{59263594-F341-40B7-B9FB-183368666F4A}"/>
              </a:ext>
            </a:extLst>
          </p:cNvPr>
          <p:cNvSpPr txBox="1"/>
          <p:nvPr/>
        </p:nvSpPr>
        <p:spPr>
          <a:xfrm>
            <a:off x="3156878" y="1946220"/>
            <a:ext cx="1585218" cy="2991540"/>
          </a:xfrm>
          <a:prstGeom prst="rect">
            <a:avLst/>
          </a:prstGeom>
          <a:solidFill>
            <a:schemeClr val="accent6">
              <a:alpha val="30000"/>
            </a:schemeClr>
          </a:solidFill>
          <a:ln>
            <a:noFill/>
          </a:ln>
        </p:spPr>
        <p:txBody>
          <a:bodyPr vert="horz" wrap="square" lIns="0" tIns="22860" rIns="0" bIns="0" rtlCol="0">
            <a:noAutofit/>
          </a:bodyPr>
          <a:lstStyle/>
          <a:p>
            <a:pPr marL="217804" marR="210185" indent="-635" algn="ctr">
              <a:lnSpc>
                <a:spcPts val="1900"/>
              </a:lnSpc>
              <a:spcBef>
                <a:spcPts val="180"/>
              </a:spcBef>
            </a:pPr>
            <a:r>
              <a:rPr lang="en-GB" sz="1600" b="1" spc="-5" dirty="0">
                <a:solidFill>
                  <a:schemeClr val="tx2"/>
                </a:solidFill>
                <a:latin typeface="+mj-lt"/>
                <a:cs typeface="Arial"/>
              </a:rPr>
              <a:t>Etapa </a:t>
            </a:r>
            <a:r>
              <a:rPr lang="en-GB" sz="1600" b="1" dirty="0">
                <a:solidFill>
                  <a:schemeClr val="tx2"/>
                </a:solidFill>
                <a:latin typeface="+mj-lt"/>
                <a:cs typeface="Arial"/>
              </a:rPr>
              <a:t>1: La </a:t>
            </a:r>
            <a:r>
              <a:rPr lang="en-GB" sz="1600" b="1" spc="10" dirty="0">
                <a:solidFill>
                  <a:schemeClr val="tx2"/>
                </a:solidFill>
                <a:latin typeface="+mj-lt"/>
                <a:cs typeface="Arial"/>
              </a:rPr>
              <a:t>arrogancia </a:t>
            </a:r>
            <a:r>
              <a:rPr lang="en-GB" sz="1600" b="1" spc="20" dirty="0">
                <a:solidFill>
                  <a:schemeClr val="tx2"/>
                </a:solidFill>
                <a:latin typeface="+mj-lt"/>
                <a:cs typeface="Arial"/>
              </a:rPr>
              <a:t>nacida </a:t>
            </a:r>
            <a:r>
              <a:rPr lang="en-GB" sz="1600" b="1" dirty="0">
                <a:solidFill>
                  <a:schemeClr val="tx2"/>
                </a:solidFill>
                <a:latin typeface="+mj-lt"/>
                <a:cs typeface="Arial"/>
              </a:rPr>
              <a:t>del </a:t>
            </a:r>
            <a:r>
              <a:rPr lang="en-GB" sz="1600" b="1" spc="25" dirty="0">
                <a:solidFill>
                  <a:schemeClr val="tx2"/>
                </a:solidFill>
                <a:latin typeface="+mj-lt"/>
                <a:cs typeface="Arial"/>
              </a:rPr>
              <a:t>éxito</a:t>
            </a:r>
            <a:endParaRPr lang="en-GB" sz="1600" b="1" dirty="0">
              <a:solidFill>
                <a:schemeClr val="tx2"/>
              </a:solidFill>
              <a:latin typeface="+mj-lt"/>
              <a:cs typeface="Arial"/>
            </a:endParaRPr>
          </a:p>
          <a:p>
            <a:pPr>
              <a:lnSpc>
                <a:spcPct val="100000"/>
              </a:lnSpc>
            </a:pPr>
            <a:endParaRPr lang="en-GB" sz="1600" dirty="0">
              <a:solidFill>
                <a:schemeClr val="tx2"/>
              </a:solidFill>
              <a:latin typeface="+mj-lt"/>
              <a:cs typeface="Arial"/>
            </a:endParaRPr>
          </a:p>
          <a:p>
            <a:pPr>
              <a:spcBef>
                <a:spcPts val="20"/>
              </a:spcBef>
            </a:pPr>
            <a:endParaRPr lang="en-GB" sz="1400" dirty="0">
              <a:solidFill>
                <a:schemeClr val="tx2"/>
              </a:solidFill>
              <a:latin typeface="+mj-lt"/>
              <a:cs typeface="Arial"/>
            </a:endParaRPr>
          </a:p>
          <a:p>
            <a:pPr marL="12065" marR="5080" algn="ctr">
              <a:lnSpc>
                <a:spcPts val="1600"/>
              </a:lnSpc>
            </a:pPr>
            <a:r>
              <a:rPr lang="en-GB" sz="1400" spc="-30" dirty="0">
                <a:solidFill>
                  <a:schemeClr val="tx2"/>
                </a:solidFill>
                <a:latin typeface="+mj-lt"/>
                <a:cs typeface="Arial"/>
              </a:rPr>
              <a:t>El </a:t>
            </a:r>
            <a:r>
              <a:rPr lang="en-GB" sz="1400" spc="15" dirty="0">
                <a:solidFill>
                  <a:schemeClr val="tx2"/>
                </a:solidFill>
                <a:latin typeface="+mj-lt"/>
                <a:cs typeface="Arial"/>
              </a:rPr>
              <a:t>punto de </a:t>
            </a:r>
            <a:r>
              <a:rPr lang="en-GB" sz="1400" spc="30" dirty="0">
                <a:solidFill>
                  <a:schemeClr val="tx2"/>
                </a:solidFill>
                <a:latin typeface="+mj-lt"/>
                <a:cs typeface="Arial"/>
              </a:rPr>
              <a:t>inflexión </a:t>
            </a:r>
            <a:r>
              <a:rPr lang="en-GB" sz="1400" spc="5" dirty="0">
                <a:solidFill>
                  <a:schemeClr val="tx2"/>
                </a:solidFill>
                <a:latin typeface="+mj-lt"/>
                <a:cs typeface="Arial"/>
              </a:rPr>
              <a:t>cultural </a:t>
            </a:r>
            <a:r>
              <a:rPr lang="en-GB" sz="1400" spc="-5" dirty="0">
                <a:solidFill>
                  <a:schemeClr val="tx2"/>
                </a:solidFill>
                <a:latin typeface="+mj-lt"/>
                <a:cs typeface="Arial"/>
              </a:rPr>
              <a:t>en el que el trabajo </a:t>
            </a:r>
            <a:r>
              <a:rPr lang="en-GB" sz="1400" spc="15" dirty="0">
                <a:solidFill>
                  <a:schemeClr val="tx2"/>
                </a:solidFill>
                <a:latin typeface="+mj-lt"/>
                <a:cs typeface="Arial"/>
              </a:rPr>
              <a:t>duro </a:t>
            </a:r>
            <a:r>
              <a:rPr lang="en-GB" sz="1400" spc="25" dirty="0">
                <a:solidFill>
                  <a:schemeClr val="tx2"/>
                </a:solidFill>
                <a:latin typeface="+mj-lt"/>
                <a:cs typeface="Arial"/>
              </a:rPr>
              <a:t>y la </a:t>
            </a:r>
            <a:r>
              <a:rPr lang="en-GB" sz="1400" spc="15" dirty="0">
                <a:solidFill>
                  <a:schemeClr val="tx2"/>
                </a:solidFill>
                <a:latin typeface="+mj-lt"/>
                <a:cs typeface="Arial"/>
              </a:rPr>
              <a:t>concentración </a:t>
            </a:r>
            <a:r>
              <a:rPr lang="en-GB" sz="1400" dirty="0">
                <a:solidFill>
                  <a:schemeClr val="tx2"/>
                </a:solidFill>
                <a:latin typeface="+mj-lt"/>
                <a:cs typeface="Arial"/>
              </a:rPr>
              <a:t>para </a:t>
            </a:r>
            <a:r>
              <a:rPr lang="en-GB" sz="1400" spc="-5" dirty="0">
                <a:solidFill>
                  <a:schemeClr val="tx2"/>
                </a:solidFill>
                <a:latin typeface="+mj-lt"/>
                <a:cs typeface="Arial"/>
              </a:rPr>
              <a:t>ganar </a:t>
            </a:r>
            <a:r>
              <a:rPr lang="en-GB" sz="1400" dirty="0">
                <a:solidFill>
                  <a:schemeClr val="tx2"/>
                </a:solidFill>
                <a:latin typeface="+mj-lt"/>
                <a:cs typeface="Arial"/>
              </a:rPr>
              <a:t>el </a:t>
            </a:r>
            <a:r>
              <a:rPr lang="en-GB" sz="1400" spc="5" dirty="0">
                <a:solidFill>
                  <a:schemeClr val="tx2"/>
                </a:solidFill>
                <a:latin typeface="+mj-lt"/>
                <a:cs typeface="Arial"/>
              </a:rPr>
              <a:t>negocio </a:t>
            </a:r>
            <a:r>
              <a:rPr lang="en-GB" sz="1400" dirty="0">
                <a:solidFill>
                  <a:schemeClr val="tx2"/>
                </a:solidFill>
                <a:latin typeface="+mj-lt"/>
                <a:cs typeface="Arial"/>
              </a:rPr>
              <a:t>se convierten </a:t>
            </a:r>
            <a:r>
              <a:rPr lang="en-GB" sz="1400" spc="-5" dirty="0">
                <a:solidFill>
                  <a:schemeClr val="tx2"/>
                </a:solidFill>
                <a:latin typeface="+mj-lt"/>
                <a:cs typeface="Arial"/>
              </a:rPr>
              <a:t>en un sentido </a:t>
            </a:r>
            <a:r>
              <a:rPr lang="en-GB" sz="1400" dirty="0">
                <a:solidFill>
                  <a:schemeClr val="tx2"/>
                </a:solidFill>
                <a:latin typeface="+mj-lt"/>
                <a:cs typeface="Arial"/>
              </a:rPr>
              <a:t>de </a:t>
            </a:r>
            <a:r>
              <a:rPr lang="en-GB" sz="1400" spc="-5" dirty="0">
                <a:solidFill>
                  <a:schemeClr val="tx2"/>
                </a:solidFill>
                <a:latin typeface="+mj-lt"/>
                <a:cs typeface="Arial"/>
              </a:rPr>
              <a:t>derecho </a:t>
            </a:r>
            <a:r>
              <a:rPr lang="en-GB" sz="1400" dirty="0">
                <a:solidFill>
                  <a:schemeClr val="tx2"/>
                </a:solidFill>
                <a:latin typeface="+mj-lt"/>
                <a:cs typeface="Arial"/>
              </a:rPr>
              <a:t>al </a:t>
            </a:r>
            <a:r>
              <a:rPr lang="en-GB" sz="1400" spc="15" dirty="0">
                <a:solidFill>
                  <a:schemeClr val="tx2"/>
                </a:solidFill>
                <a:latin typeface="+mj-lt"/>
                <a:cs typeface="Arial"/>
              </a:rPr>
              <a:t>éxito </a:t>
            </a:r>
            <a:r>
              <a:rPr lang="en-GB" sz="1400" dirty="0">
                <a:solidFill>
                  <a:schemeClr val="tx2"/>
                </a:solidFill>
                <a:latin typeface="+mj-lt"/>
                <a:cs typeface="Arial"/>
              </a:rPr>
              <a:t>futuro</a:t>
            </a:r>
            <a:r>
              <a:rPr lang="en-GB" sz="1400" spc="15" dirty="0">
                <a:solidFill>
                  <a:schemeClr val="tx2"/>
                </a:solidFill>
                <a:latin typeface="+mj-lt"/>
                <a:cs typeface="Arial"/>
              </a:rPr>
              <a:t>.</a:t>
            </a:r>
            <a:endParaRPr lang="en-GB" sz="1400" dirty="0">
              <a:solidFill>
                <a:schemeClr val="tx2"/>
              </a:solidFill>
              <a:latin typeface="+mj-lt"/>
              <a:cs typeface="Arial"/>
            </a:endParaRPr>
          </a:p>
        </p:txBody>
      </p:sp>
      <p:sp>
        <p:nvSpPr>
          <p:cNvPr id="6" name="Freihandform: Form 5">
            <a:extLst>
              <a:ext uri="{FF2B5EF4-FFF2-40B4-BE49-F238E27FC236}">
                <a16:creationId xmlns:a16="http://schemas.microsoft.com/office/drawing/2014/main" xmlns="" id="{B2AE5D6E-295E-42D8-AF5D-6AD2B0F75347}"/>
              </a:ext>
            </a:extLst>
          </p:cNvPr>
          <p:cNvSpPr/>
          <p:nvPr/>
        </p:nvSpPr>
        <p:spPr>
          <a:xfrm>
            <a:off x="3280543" y="2505477"/>
            <a:ext cx="8338726" cy="3518482"/>
          </a:xfrm>
          <a:custGeom>
            <a:avLst/>
            <a:gdLst>
              <a:gd name="connsiteX0" fmla="*/ 0 w 7934960"/>
              <a:gd name="connsiteY0" fmla="*/ 3101783 h 3518482"/>
              <a:gd name="connsiteX1" fmla="*/ 1676400 w 7934960"/>
              <a:gd name="connsiteY1" fmla="*/ 2553143 h 3518482"/>
              <a:gd name="connsiteX2" fmla="*/ 3322320 w 7934960"/>
              <a:gd name="connsiteY2" fmla="*/ 602423 h 3518482"/>
              <a:gd name="connsiteX3" fmla="*/ 3759200 w 7934960"/>
              <a:gd name="connsiteY3" fmla="*/ 267143 h 3518482"/>
              <a:gd name="connsiteX4" fmla="*/ 4602480 w 7934960"/>
              <a:gd name="connsiteY4" fmla="*/ 94423 h 3518482"/>
              <a:gd name="connsiteX5" fmla="*/ 5181600 w 7934960"/>
              <a:gd name="connsiteY5" fmla="*/ 1821623 h 3518482"/>
              <a:gd name="connsiteX6" fmla="*/ 5608320 w 7934960"/>
              <a:gd name="connsiteY6" fmla="*/ 1557463 h 3518482"/>
              <a:gd name="connsiteX7" fmla="*/ 6065520 w 7934960"/>
              <a:gd name="connsiteY7" fmla="*/ 2705543 h 3518482"/>
              <a:gd name="connsiteX8" fmla="*/ 6400800 w 7934960"/>
              <a:gd name="connsiteY8" fmla="*/ 2339783 h 3518482"/>
              <a:gd name="connsiteX9" fmla="*/ 6746240 w 7934960"/>
              <a:gd name="connsiteY9" fmla="*/ 3162743 h 3518482"/>
              <a:gd name="connsiteX10" fmla="*/ 7233920 w 7934960"/>
              <a:gd name="connsiteY10" fmla="*/ 2776663 h 3518482"/>
              <a:gd name="connsiteX11" fmla="*/ 7579360 w 7934960"/>
              <a:gd name="connsiteY11" fmla="*/ 3396423 h 3518482"/>
              <a:gd name="connsiteX12" fmla="*/ 7934960 w 7934960"/>
              <a:gd name="connsiteY12" fmla="*/ 3518343 h 3518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34960" h="3518482">
                <a:moveTo>
                  <a:pt x="0" y="3101783"/>
                </a:moveTo>
                <a:cubicBezTo>
                  <a:pt x="561340" y="3035743"/>
                  <a:pt x="1122680" y="2969703"/>
                  <a:pt x="1676400" y="2553143"/>
                </a:cubicBezTo>
                <a:cubicBezTo>
                  <a:pt x="2230120" y="2136583"/>
                  <a:pt x="2975187" y="983423"/>
                  <a:pt x="3322320" y="602423"/>
                </a:cubicBezTo>
                <a:cubicBezTo>
                  <a:pt x="3669453" y="221423"/>
                  <a:pt x="3545840" y="351810"/>
                  <a:pt x="3759200" y="267143"/>
                </a:cubicBezTo>
                <a:cubicBezTo>
                  <a:pt x="3972560" y="182476"/>
                  <a:pt x="4365413" y="-164657"/>
                  <a:pt x="4602480" y="94423"/>
                </a:cubicBezTo>
                <a:cubicBezTo>
                  <a:pt x="4839547" y="353503"/>
                  <a:pt x="5013960" y="1577783"/>
                  <a:pt x="5181600" y="1821623"/>
                </a:cubicBezTo>
                <a:cubicBezTo>
                  <a:pt x="5349240" y="2065463"/>
                  <a:pt x="5461000" y="1410143"/>
                  <a:pt x="5608320" y="1557463"/>
                </a:cubicBezTo>
                <a:cubicBezTo>
                  <a:pt x="5755640" y="1704783"/>
                  <a:pt x="5933440" y="2575156"/>
                  <a:pt x="6065520" y="2705543"/>
                </a:cubicBezTo>
                <a:cubicBezTo>
                  <a:pt x="6197600" y="2835930"/>
                  <a:pt x="6287347" y="2263583"/>
                  <a:pt x="6400800" y="2339783"/>
                </a:cubicBezTo>
                <a:cubicBezTo>
                  <a:pt x="6514253" y="2415983"/>
                  <a:pt x="6607387" y="3089930"/>
                  <a:pt x="6746240" y="3162743"/>
                </a:cubicBezTo>
                <a:cubicBezTo>
                  <a:pt x="6885093" y="3235556"/>
                  <a:pt x="7095067" y="2737716"/>
                  <a:pt x="7233920" y="2776663"/>
                </a:cubicBezTo>
                <a:cubicBezTo>
                  <a:pt x="7372773" y="2815610"/>
                  <a:pt x="7462520" y="3272810"/>
                  <a:pt x="7579360" y="3396423"/>
                </a:cubicBezTo>
                <a:cubicBezTo>
                  <a:pt x="7696200" y="3520036"/>
                  <a:pt x="7815580" y="3519189"/>
                  <a:pt x="7934960" y="3518343"/>
                </a:cubicBezTo>
              </a:path>
            </a:pathLst>
          </a:cu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object 25">
            <a:extLst>
              <a:ext uri="{FF2B5EF4-FFF2-40B4-BE49-F238E27FC236}">
                <a16:creationId xmlns:a16="http://schemas.microsoft.com/office/drawing/2014/main" xmlns="" id="{218D54CB-EDD0-4F2D-8FAE-8686B16AB153}"/>
              </a:ext>
            </a:extLst>
          </p:cNvPr>
          <p:cNvSpPr txBox="1"/>
          <p:nvPr/>
        </p:nvSpPr>
        <p:spPr>
          <a:xfrm>
            <a:off x="4927600" y="1946220"/>
            <a:ext cx="1585218" cy="2991540"/>
          </a:xfrm>
          <a:prstGeom prst="rect">
            <a:avLst/>
          </a:prstGeom>
          <a:solidFill>
            <a:schemeClr val="accent6">
              <a:lumMod val="75000"/>
              <a:alpha val="30000"/>
            </a:schemeClr>
          </a:solidFill>
          <a:ln>
            <a:noFill/>
          </a:ln>
        </p:spPr>
        <p:txBody>
          <a:bodyPr vert="horz" wrap="square" lIns="0" tIns="22860" rIns="0" bIns="0" rtlCol="0">
            <a:noAutofit/>
          </a:bodyPr>
          <a:lstStyle/>
          <a:p>
            <a:pPr marL="217804" marR="210185" indent="-635" algn="ctr">
              <a:lnSpc>
                <a:spcPts val="1900"/>
              </a:lnSpc>
              <a:spcBef>
                <a:spcPts val="180"/>
              </a:spcBef>
            </a:pPr>
            <a:r>
              <a:rPr lang="en-GB" sz="1600" b="1" spc="-5">
                <a:solidFill>
                  <a:schemeClr val="tx2"/>
                </a:solidFill>
                <a:latin typeface="+mj-lt"/>
                <a:cs typeface="Arial"/>
              </a:rPr>
              <a:t>Etapa 2: Búsqueda indisciplinada de más</a:t>
            </a:r>
          </a:p>
          <a:p>
            <a:pPr>
              <a:spcBef>
                <a:spcPts val="20"/>
              </a:spcBef>
            </a:pPr>
            <a:endParaRPr lang="en-GB" sz="1400" dirty="0">
              <a:solidFill>
                <a:schemeClr val="tx2"/>
              </a:solidFill>
              <a:latin typeface="+mj-lt"/>
              <a:cs typeface="Arial"/>
            </a:endParaRPr>
          </a:p>
          <a:p>
            <a:pPr marL="12065" marR="5080" algn="ctr">
              <a:lnSpc>
                <a:spcPts val="1600"/>
              </a:lnSpc>
            </a:pPr>
            <a:r>
              <a:rPr lang="en-GB" sz="1400" spc="-30">
                <a:solidFill>
                  <a:schemeClr val="tx2"/>
                </a:solidFill>
                <a:latin typeface="+mj-lt"/>
                <a:cs typeface="Arial"/>
              </a:rPr>
              <a:t>Construir desde la primera etapa es que la gente persiga objetivos que la alejen de su núcleo, de su ventaja competitiva, todo en nombre del crecimiento, o de la gran estrategia.</a:t>
            </a:r>
            <a:endParaRPr lang="en-GB" sz="1400" spc="-30" dirty="0">
              <a:solidFill>
                <a:schemeClr val="tx2"/>
              </a:solidFill>
              <a:latin typeface="+mj-lt"/>
              <a:cs typeface="Arial"/>
            </a:endParaRPr>
          </a:p>
        </p:txBody>
      </p:sp>
      <p:sp>
        <p:nvSpPr>
          <p:cNvPr id="11" name="object 25">
            <a:extLst>
              <a:ext uri="{FF2B5EF4-FFF2-40B4-BE49-F238E27FC236}">
                <a16:creationId xmlns:a16="http://schemas.microsoft.com/office/drawing/2014/main" xmlns="" id="{0D6015C8-25E3-4B49-B49D-F30F6FD512CE}"/>
              </a:ext>
            </a:extLst>
          </p:cNvPr>
          <p:cNvSpPr txBox="1"/>
          <p:nvPr/>
        </p:nvSpPr>
        <p:spPr>
          <a:xfrm>
            <a:off x="6698322" y="1946220"/>
            <a:ext cx="1585218" cy="3779666"/>
          </a:xfrm>
          <a:prstGeom prst="rect">
            <a:avLst/>
          </a:prstGeom>
          <a:solidFill>
            <a:schemeClr val="tx2"/>
          </a:solidFill>
          <a:ln>
            <a:noFill/>
          </a:ln>
        </p:spPr>
        <p:txBody>
          <a:bodyPr vert="horz" wrap="square" lIns="0" tIns="22860" rIns="0" bIns="0" rtlCol="0">
            <a:noAutofit/>
          </a:bodyPr>
          <a:lstStyle/>
          <a:p>
            <a:pPr marL="217804" marR="210185" indent="-635" algn="ctr">
              <a:spcBef>
                <a:spcPts val="180"/>
              </a:spcBef>
            </a:pPr>
            <a:r>
              <a:rPr lang="en-GB" sz="2400" b="1" spc="-5" dirty="0">
                <a:solidFill>
                  <a:schemeClr val="bg1"/>
                </a:solidFill>
                <a:latin typeface="+mj-lt"/>
                <a:cs typeface="Arial"/>
              </a:rPr>
              <a:t>Etapa 3: Negación del riesgo</a:t>
            </a:r>
          </a:p>
          <a:p>
            <a:pPr marL="217804" marR="210185" indent="-635" algn="ctr">
              <a:spcBef>
                <a:spcPts val="180"/>
              </a:spcBef>
            </a:pPr>
            <a:r>
              <a:rPr lang="en-GB" sz="2400" b="1" spc="-5" dirty="0">
                <a:solidFill>
                  <a:schemeClr val="bg1"/>
                </a:solidFill>
                <a:latin typeface="+mj-lt"/>
                <a:cs typeface="Arial"/>
              </a:rPr>
              <a:t>y el peligro</a:t>
            </a:r>
          </a:p>
          <a:p>
            <a:endParaRPr lang="en-GB" sz="2400" dirty="0">
              <a:solidFill>
                <a:schemeClr val="bg1"/>
              </a:solidFill>
              <a:latin typeface="+mj-lt"/>
              <a:cs typeface="Arial"/>
            </a:endParaRPr>
          </a:p>
          <a:p>
            <a:pPr marL="12065" marR="5080" algn="ctr"/>
            <a:r>
              <a:rPr lang="en-GB" sz="2000" spc="-30" dirty="0">
                <a:solidFill>
                  <a:schemeClr val="bg1"/>
                </a:solidFill>
                <a:latin typeface="+mj-lt"/>
                <a:cs typeface="Arial"/>
              </a:rPr>
              <a:t>Perseguir cosas que no forman parte de tu núcleo, no ver los problemas.</a:t>
            </a:r>
          </a:p>
        </p:txBody>
      </p:sp>
      <p:sp>
        <p:nvSpPr>
          <p:cNvPr id="22" name="TextBox 87">
            <a:extLst>
              <a:ext uri="{FF2B5EF4-FFF2-40B4-BE49-F238E27FC236}">
                <a16:creationId xmlns:a16="http://schemas.microsoft.com/office/drawing/2014/main" xmlns="" id="{0B853FD0-7751-4E2F-8AC3-130F2902EBC7}"/>
              </a:ext>
            </a:extLst>
          </p:cNvPr>
          <p:cNvSpPr txBox="1"/>
          <p:nvPr/>
        </p:nvSpPr>
        <p:spPr>
          <a:xfrm>
            <a:off x="550278" y="6528494"/>
            <a:ext cx="647028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Fuente: Adaptado de Jim Collins, "How the Mighty Fall and Why Some Companies Never Give In" y Eli </a:t>
            </a:r>
            <a:r>
              <a:rPr lang="en-GB" sz="1000" dirty="0" err="1">
                <a:latin typeface="+mj-lt"/>
                <a:ea typeface="League Spartan" charset="0"/>
                <a:cs typeface="Poppins" pitchFamily="2" charset="77"/>
              </a:rPr>
              <a:t>Zelkha</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411822422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Cómo </a:t>
            </a:r>
            <a:r>
              <a:rPr lang="en-GB"/>
              <a:t>caen los poderosos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64774" y="1815478"/>
            <a:ext cx="2606600" cy="446819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000" b="1" dirty="0">
                <a:latin typeface="+mj-lt"/>
              </a:rPr>
              <a:t>Etapa 4:</a:t>
            </a:r>
          </a:p>
          <a:p>
            <a:pPr algn="l">
              <a:lnSpc>
                <a:spcPct val="100000"/>
              </a:lnSpc>
              <a:spcBef>
                <a:spcPts val="600"/>
              </a:spcBef>
            </a:pPr>
            <a:r>
              <a:rPr lang="en-US" altLang="de-DE" sz="2000" dirty="0">
                <a:latin typeface="+mj-lt"/>
              </a:rPr>
              <a:t>La negación puede llevar a la etapa 4, "Aferrarse a la salvación", en la que el declive se hace visible para todos. En esta etapa es instintivo hacer todo lo que se les ocurra a los líderes para revertir el declive. Pero la clave es no hacer todo a un ritmo frenético, sino pensar qué no hacer con un enfoque centrado.</a:t>
            </a:r>
            <a:endParaRPr lang="en-GB" altLang="de-DE" sz="2000" dirty="0">
              <a:latin typeface="+mj-lt"/>
            </a:endParaRPr>
          </a:p>
        </p:txBody>
      </p:sp>
      <p:sp>
        <p:nvSpPr>
          <p:cNvPr id="51" name="object 25">
            <a:extLst>
              <a:ext uri="{FF2B5EF4-FFF2-40B4-BE49-F238E27FC236}">
                <a16:creationId xmlns:a16="http://schemas.microsoft.com/office/drawing/2014/main" xmlns="" id="{59263594-F341-40B7-B9FB-183368666F4A}"/>
              </a:ext>
            </a:extLst>
          </p:cNvPr>
          <p:cNvSpPr txBox="1"/>
          <p:nvPr/>
        </p:nvSpPr>
        <p:spPr>
          <a:xfrm>
            <a:off x="3156878" y="1946220"/>
            <a:ext cx="1585218" cy="2991540"/>
          </a:xfrm>
          <a:prstGeom prst="rect">
            <a:avLst/>
          </a:prstGeom>
          <a:solidFill>
            <a:schemeClr val="accent6">
              <a:alpha val="30000"/>
            </a:schemeClr>
          </a:solidFill>
          <a:ln>
            <a:noFill/>
          </a:ln>
        </p:spPr>
        <p:txBody>
          <a:bodyPr vert="horz" wrap="square" lIns="0" tIns="22860" rIns="0" bIns="0" rtlCol="0">
            <a:noAutofit/>
          </a:bodyPr>
          <a:lstStyle/>
          <a:p>
            <a:pPr marL="217804" marR="210185" indent="-635" algn="ctr">
              <a:lnSpc>
                <a:spcPts val="1900"/>
              </a:lnSpc>
              <a:spcBef>
                <a:spcPts val="180"/>
              </a:spcBef>
            </a:pPr>
            <a:r>
              <a:rPr lang="en-GB" sz="1600" b="1" spc="-5" dirty="0">
                <a:solidFill>
                  <a:schemeClr val="tx2"/>
                </a:solidFill>
                <a:latin typeface="+mj-lt"/>
                <a:cs typeface="Arial"/>
              </a:rPr>
              <a:t>Etapa </a:t>
            </a:r>
            <a:r>
              <a:rPr lang="en-GB" sz="1600" b="1" dirty="0">
                <a:solidFill>
                  <a:schemeClr val="tx2"/>
                </a:solidFill>
                <a:latin typeface="+mj-lt"/>
                <a:cs typeface="Arial"/>
              </a:rPr>
              <a:t>1: La </a:t>
            </a:r>
            <a:r>
              <a:rPr lang="en-GB" sz="1600" b="1" spc="10" dirty="0">
                <a:solidFill>
                  <a:schemeClr val="tx2"/>
                </a:solidFill>
                <a:latin typeface="+mj-lt"/>
                <a:cs typeface="Arial"/>
              </a:rPr>
              <a:t>arrogancia </a:t>
            </a:r>
            <a:r>
              <a:rPr lang="en-GB" sz="1600" b="1" spc="20" dirty="0">
                <a:solidFill>
                  <a:schemeClr val="tx2"/>
                </a:solidFill>
                <a:latin typeface="+mj-lt"/>
                <a:cs typeface="Arial"/>
              </a:rPr>
              <a:t>nacida </a:t>
            </a:r>
            <a:r>
              <a:rPr lang="en-GB" sz="1600" b="1" dirty="0">
                <a:solidFill>
                  <a:schemeClr val="tx2"/>
                </a:solidFill>
                <a:latin typeface="+mj-lt"/>
                <a:cs typeface="Arial"/>
              </a:rPr>
              <a:t>del </a:t>
            </a:r>
            <a:r>
              <a:rPr lang="en-GB" sz="1600" b="1" spc="25" dirty="0">
                <a:solidFill>
                  <a:schemeClr val="tx2"/>
                </a:solidFill>
                <a:latin typeface="+mj-lt"/>
                <a:cs typeface="Arial"/>
              </a:rPr>
              <a:t>éxito</a:t>
            </a:r>
            <a:endParaRPr lang="en-GB" sz="1600" b="1" dirty="0">
              <a:solidFill>
                <a:schemeClr val="tx2"/>
              </a:solidFill>
              <a:latin typeface="+mj-lt"/>
              <a:cs typeface="Arial"/>
            </a:endParaRPr>
          </a:p>
          <a:p>
            <a:pPr>
              <a:lnSpc>
                <a:spcPct val="100000"/>
              </a:lnSpc>
            </a:pPr>
            <a:endParaRPr lang="en-GB" sz="1600" dirty="0">
              <a:solidFill>
                <a:schemeClr val="tx2"/>
              </a:solidFill>
              <a:latin typeface="+mj-lt"/>
              <a:cs typeface="Arial"/>
            </a:endParaRPr>
          </a:p>
          <a:p>
            <a:pPr>
              <a:spcBef>
                <a:spcPts val="20"/>
              </a:spcBef>
            </a:pPr>
            <a:endParaRPr lang="en-GB" sz="1400" dirty="0">
              <a:solidFill>
                <a:schemeClr val="tx2"/>
              </a:solidFill>
              <a:latin typeface="+mj-lt"/>
              <a:cs typeface="Arial"/>
            </a:endParaRPr>
          </a:p>
          <a:p>
            <a:pPr marL="12065" marR="5080" algn="ctr">
              <a:lnSpc>
                <a:spcPts val="1600"/>
              </a:lnSpc>
            </a:pPr>
            <a:r>
              <a:rPr lang="en-GB" sz="1400" spc="-30" dirty="0">
                <a:solidFill>
                  <a:schemeClr val="tx2"/>
                </a:solidFill>
                <a:latin typeface="+mj-lt"/>
                <a:cs typeface="Arial"/>
              </a:rPr>
              <a:t>El </a:t>
            </a:r>
            <a:r>
              <a:rPr lang="en-GB" sz="1400" spc="15" dirty="0">
                <a:solidFill>
                  <a:schemeClr val="tx2"/>
                </a:solidFill>
                <a:latin typeface="+mj-lt"/>
                <a:cs typeface="Arial"/>
              </a:rPr>
              <a:t>punto de </a:t>
            </a:r>
            <a:r>
              <a:rPr lang="en-GB" sz="1400" spc="30" dirty="0">
                <a:solidFill>
                  <a:schemeClr val="tx2"/>
                </a:solidFill>
                <a:latin typeface="+mj-lt"/>
                <a:cs typeface="Arial"/>
              </a:rPr>
              <a:t>inflexión </a:t>
            </a:r>
            <a:r>
              <a:rPr lang="en-GB" sz="1400" spc="5" dirty="0">
                <a:solidFill>
                  <a:schemeClr val="tx2"/>
                </a:solidFill>
                <a:latin typeface="+mj-lt"/>
                <a:cs typeface="Arial"/>
              </a:rPr>
              <a:t>cultural </a:t>
            </a:r>
            <a:r>
              <a:rPr lang="en-GB" sz="1400" spc="-5" dirty="0">
                <a:solidFill>
                  <a:schemeClr val="tx2"/>
                </a:solidFill>
                <a:latin typeface="+mj-lt"/>
                <a:cs typeface="Arial"/>
              </a:rPr>
              <a:t>en el que el trabajo </a:t>
            </a:r>
            <a:r>
              <a:rPr lang="en-GB" sz="1400" spc="15" dirty="0">
                <a:solidFill>
                  <a:schemeClr val="tx2"/>
                </a:solidFill>
                <a:latin typeface="+mj-lt"/>
                <a:cs typeface="Arial"/>
              </a:rPr>
              <a:t>duro </a:t>
            </a:r>
            <a:r>
              <a:rPr lang="en-GB" sz="1400" spc="25" dirty="0">
                <a:solidFill>
                  <a:schemeClr val="tx2"/>
                </a:solidFill>
                <a:latin typeface="+mj-lt"/>
                <a:cs typeface="Arial"/>
              </a:rPr>
              <a:t>y la </a:t>
            </a:r>
            <a:r>
              <a:rPr lang="en-GB" sz="1400" spc="15" dirty="0">
                <a:solidFill>
                  <a:schemeClr val="tx2"/>
                </a:solidFill>
                <a:latin typeface="+mj-lt"/>
                <a:cs typeface="Arial"/>
              </a:rPr>
              <a:t>concentración </a:t>
            </a:r>
            <a:r>
              <a:rPr lang="en-GB" sz="1400" dirty="0">
                <a:solidFill>
                  <a:schemeClr val="tx2"/>
                </a:solidFill>
                <a:latin typeface="+mj-lt"/>
                <a:cs typeface="Arial"/>
              </a:rPr>
              <a:t>para </a:t>
            </a:r>
            <a:r>
              <a:rPr lang="en-GB" sz="1400" spc="-5" dirty="0">
                <a:solidFill>
                  <a:schemeClr val="tx2"/>
                </a:solidFill>
                <a:latin typeface="+mj-lt"/>
                <a:cs typeface="Arial"/>
              </a:rPr>
              <a:t>ganar </a:t>
            </a:r>
            <a:r>
              <a:rPr lang="en-GB" sz="1400" dirty="0">
                <a:solidFill>
                  <a:schemeClr val="tx2"/>
                </a:solidFill>
                <a:latin typeface="+mj-lt"/>
                <a:cs typeface="Arial"/>
              </a:rPr>
              <a:t>el </a:t>
            </a:r>
            <a:r>
              <a:rPr lang="en-GB" sz="1400" spc="5" dirty="0">
                <a:solidFill>
                  <a:schemeClr val="tx2"/>
                </a:solidFill>
                <a:latin typeface="+mj-lt"/>
                <a:cs typeface="Arial"/>
              </a:rPr>
              <a:t>negocio </a:t>
            </a:r>
            <a:r>
              <a:rPr lang="en-GB" sz="1400" dirty="0">
                <a:solidFill>
                  <a:schemeClr val="tx2"/>
                </a:solidFill>
                <a:latin typeface="+mj-lt"/>
                <a:cs typeface="Arial"/>
              </a:rPr>
              <a:t>se convierten </a:t>
            </a:r>
            <a:r>
              <a:rPr lang="en-GB" sz="1400" spc="-5" dirty="0">
                <a:solidFill>
                  <a:schemeClr val="tx2"/>
                </a:solidFill>
                <a:latin typeface="+mj-lt"/>
                <a:cs typeface="Arial"/>
              </a:rPr>
              <a:t>en un sentido </a:t>
            </a:r>
            <a:r>
              <a:rPr lang="en-GB" sz="1400" dirty="0">
                <a:solidFill>
                  <a:schemeClr val="tx2"/>
                </a:solidFill>
                <a:latin typeface="+mj-lt"/>
                <a:cs typeface="Arial"/>
              </a:rPr>
              <a:t>de </a:t>
            </a:r>
            <a:r>
              <a:rPr lang="en-GB" sz="1400" spc="-5" dirty="0">
                <a:solidFill>
                  <a:schemeClr val="tx2"/>
                </a:solidFill>
                <a:latin typeface="+mj-lt"/>
                <a:cs typeface="Arial"/>
              </a:rPr>
              <a:t>derecho </a:t>
            </a:r>
            <a:r>
              <a:rPr lang="en-GB" sz="1400" dirty="0">
                <a:solidFill>
                  <a:schemeClr val="tx2"/>
                </a:solidFill>
                <a:latin typeface="+mj-lt"/>
                <a:cs typeface="Arial"/>
              </a:rPr>
              <a:t>al </a:t>
            </a:r>
            <a:r>
              <a:rPr lang="en-GB" sz="1400" spc="15" dirty="0">
                <a:solidFill>
                  <a:schemeClr val="tx2"/>
                </a:solidFill>
                <a:latin typeface="+mj-lt"/>
                <a:cs typeface="Arial"/>
              </a:rPr>
              <a:t>éxito </a:t>
            </a:r>
            <a:r>
              <a:rPr lang="en-GB" sz="1400" dirty="0">
                <a:solidFill>
                  <a:schemeClr val="tx2"/>
                </a:solidFill>
                <a:latin typeface="+mj-lt"/>
                <a:cs typeface="Arial"/>
              </a:rPr>
              <a:t>futuro</a:t>
            </a:r>
            <a:r>
              <a:rPr lang="en-GB" sz="1400" spc="15" dirty="0">
                <a:solidFill>
                  <a:schemeClr val="tx2"/>
                </a:solidFill>
                <a:latin typeface="+mj-lt"/>
                <a:cs typeface="Arial"/>
              </a:rPr>
              <a:t>.</a:t>
            </a:r>
            <a:endParaRPr lang="en-GB" sz="1400" dirty="0">
              <a:solidFill>
                <a:schemeClr val="tx2"/>
              </a:solidFill>
              <a:latin typeface="+mj-lt"/>
              <a:cs typeface="Arial"/>
            </a:endParaRPr>
          </a:p>
        </p:txBody>
      </p:sp>
      <p:sp>
        <p:nvSpPr>
          <p:cNvPr id="6" name="Freihandform: Form 5">
            <a:extLst>
              <a:ext uri="{FF2B5EF4-FFF2-40B4-BE49-F238E27FC236}">
                <a16:creationId xmlns:a16="http://schemas.microsoft.com/office/drawing/2014/main" xmlns="" id="{B2AE5D6E-295E-42D8-AF5D-6AD2B0F75347}"/>
              </a:ext>
            </a:extLst>
          </p:cNvPr>
          <p:cNvSpPr/>
          <p:nvPr/>
        </p:nvSpPr>
        <p:spPr>
          <a:xfrm>
            <a:off x="3280543" y="2505477"/>
            <a:ext cx="8338726" cy="3518482"/>
          </a:xfrm>
          <a:custGeom>
            <a:avLst/>
            <a:gdLst>
              <a:gd name="connsiteX0" fmla="*/ 0 w 7934960"/>
              <a:gd name="connsiteY0" fmla="*/ 3101783 h 3518482"/>
              <a:gd name="connsiteX1" fmla="*/ 1676400 w 7934960"/>
              <a:gd name="connsiteY1" fmla="*/ 2553143 h 3518482"/>
              <a:gd name="connsiteX2" fmla="*/ 3322320 w 7934960"/>
              <a:gd name="connsiteY2" fmla="*/ 602423 h 3518482"/>
              <a:gd name="connsiteX3" fmla="*/ 3759200 w 7934960"/>
              <a:gd name="connsiteY3" fmla="*/ 267143 h 3518482"/>
              <a:gd name="connsiteX4" fmla="*/ 4602480 w 7934960"/>
              <a:gd name="connsiteY4" fmla="*/ 94423 h 3518482"/>
              <a:gd name="connsiteX5" fmla="*/ 5181600 w 7934960"/>
              <a:gd name="connsiteY5" fmla="*/ 1821623 h 3518482"/>
              <a:gd name="connsiteX6" fmla="*/ 5608320 w 7934960"/>
              <a:gd name="connsiteY6" fmla="*/ 1557463 h 3518482"/>
              <a:gd name="connsiteX7" fmla="*/ 6065520 w 7934960"/>
              <a:gd name="connsiteY7" fmla="*/ 2705543 h 3518482"/>
              <a:gd name="connsiteX8" fmla="*/ 6400800 w 7934960"/>
              <a:gd name="connsiteY8" fmla="*/ 2339783 h 3518482"/>
              <a:gd name="connsiteX9" fmla="*/ 6746240 w 7934960"/>
              <a:gd name="connsiteY9" fmla="*/ 3162743 h 3518482"/>
              <a:gd name="connsiteX10" fmla="*/ 7233920 w 7934960"/>
              <a:gd name="connsiteY10" fmla="*/ 2776663 h 3518482"/>
              <a:gd name="connsiteX11" fmla="*/ 7579360 w 7934960"/>
              <a:gd name="connsiteY11" fmla="*/ 3396423 h 3518482"/>
              <a:gd name="connsiteX12" fmla="*/ 7934960 w 7934960"/>
              <a:gd name="connsiteY12" fmla="*/ 3518343 h 3518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34960" h="3518482">
                <a:moveTo>
                  <a:pt x="0" y="3101783"/>
                </a:moveTo>
                <a:cubicBezTo>
                  <a:pt x="561340" y="3035743"/>
                  <a:pt x="1122680" y="2969703"/>
                  <a:pt x="1676400" y="2553143"/>
                </a:cubicBezTo>
                <a:cubicBezTo>
                  <a:pt x="2230120" y="2136583"/>
                  <a:pt x="2975187" y="983423"/>
                  <a:pt x="3322320" y="602423"/>
                </a:cubicBezTo>
                <a:cubicBezTo>
                  <a:pt x="3669453" y="221423"/>
                  <a:pt x="3545840" y="351810"/>
                  <a:pt x="3759200" y="267143"/>
                </a:cubicBezTo>
                <a:cubicBezTo>
                  <a:pt x="3972560" y="182476"/>
                  <a:pt x="4365413" y="-164657"/>
                  <a:pt x="4602480" y="94423"/>
                </a:cubicBezTo>
                <a:cubicBezTo>
                  <a:pt x="4839547" y="353503"/>
                  <a:pt x="5013960" y="1577783"/>
                  <a:pt x="5181600" y="1821623"/>
                </a:cubicBezTo>
                <a:cubicBezTo>
                  <a:pt x="5349240" y="2065463"/>
                  <a:pt x="5461000" y="1410143"/>
                  <a:pt x="5608320" y="1557463"/>
                </a:cubicBezTo>
                <a:cubicBezTo>
                  <a:pt x="5755640" y="1704783"/>
                  <a:pt x="5933440" y="2575156"/>
                  <a:pt x="6065520" y="2705543"/>
                </a:cubicBezTo>
                <a:cubicBezTo>
                  <a:pt x="6197600" y="2835930"/>
                  <a:pt x="6287347" y="2263583"/>
                  <a:pt x="6400800" y="2339783"/>
                </a:cubicBezTo>
                <a:cubicBezTo>
                  <a:pt x="6514253" y="2415983"/>
                  <a:pt x="6607387" y="3089930"/>
                  <a:pt x="6746240" y="3162743"/>
                </a:cubicBezTo>
                <a:cubicBezTo>
                  <a:pt x="6885093" y="3235556"/>
                  <a:pt x="7095067" y="2737716"/>
                  <a:pt x="7233920" y="2776663"/>
                </a:cubicBezTo>
                <a:cubicBezTo>
                  <a:pt x="7372773" y="2815610"/>
                  <a:pt x="7462520" y="3272810"/>
                  <a:pt x="7579360" y="3396423"/>
                </a:cubicBezTo>
                <a:cubicBezTo>
                  <a:pt x="7696200" y="3520036"/>
                  <a:pt x="7815580" y="3519189"/>
                  <a:pt x="7934960" y="3518343"/>
                </a:cubicBezTo>
              </a:path>
            </a:pathLst>
          </a:cu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object 25">
            <a:extLst>
              <a:ext uri="{FF2B5EF4-FFF2-40B4-BE49-F238E27FC236}">
                <a16:creationId xmlns:a16="http://schemas.microsoft.com/office/drawing/2014/main" xmlns="" id="{218D54CB-EDD0-4F2D-8FAE-8686B16AB153}"/>
              </a:ext>
            </a:extLst>
          </p:cNvPr>
          <p:cNvSpPr txBox="1"/>
          <p:nvPr/>
        </p:nvSpPr>
        <p:spPr>
          <a:xfrm>
            <a:off x="4927600" y="1946220"/>
            <a:ext cx="1585218" cy="2991540"/>
          </a:xfrm>
          <a:prstGeom prst="rect">
            <a:avLst/>
          </a:prstGeom>
          <a:solidFill>
            <a:schemeClr val="accent6">
              <a:lumMod val="75000"/>
              <a:alpha val="30000"/>
            </a:schemeClr>
          </a:solidFill>
          <a:ln>
            <a:noFill/>
          </a:ln>
        </p:spPr>
        <p:txBody>
          <a:bodyPr vert="horz" wrap="square" lIns="0" tIns="22860" rIns="0" bIns="0" rtlCol="0">
            <a:noAutofit/>
          </a:bodyPr>
          <a:lstStyle/>
          <a:p>
            <a:pPr marL="217804" marR="210185" indent="-635" algn="ctr">
              <a:lnSpc>
                <a:spcPts val="1900"/>
              </a:lnSpc>
              <a:spcBef>
                <a:spcPts val="180"/>
              </a:spcBef>
            </a:pPr>
            <a:r>
              <a:rPr lang="en-GB" sz="1600" b="1" spc="-5">
                <a:solidFill>
                  <a:schemeClr val="tx2"/>
                </a:solidFill>
                <a:latin typeface="+mj-lt"/>
                <a:cs typeface="Arial"/>
              </a:rPr>
              <a:t>Etapa 2: Búsqueda indisciplinada de más</a:t>
            </a:r>
          </a:p>
          <a:p>
            <a:pPr>
              <a:spcBef>
                <a:spcPts val="20"/>
              </a:spcBef>
            </a:pPr>
            <a:endParaRPr lang="en-GB" sz="1400" dirty="0">
              <a:solidFill>
                <a:schemeClr val="tx2"/>
              </a:solidFill>
              <a:latin typeface="+mj-lt"/>
              <a:cs typeface="Arial"/>
            </a:endParaRPr>
          </a:p>
          <a:p>
            <a:pPr marL="12065" marR="5080" algn="ctr">
              <a:lnSpc>
                <a:spcPts val="1600"/>
              </a:lnSpc>
            </a:pPr>
            <a:r>
              <a:rPr lang="en-GB" sz="1400" spc="-30">
                <a:solidFill>
                  <a:schemeClr val="tx2"/>
                </a:solidFill>
                <a:latin typeface="+mj-lt"/>
                <a:cs typeface="Arial"/>
              </a:rPr>
              <a:t>Construir desde la primera etapa es que la gente persiga objetivos que la alejen de su núcleo, de su ventaja competitiva, todo en nombre del crecimiento, o de la gran estrategia.</a:t>
            </a:r>
            <a:endParaRPr lang="en-GB" sz="1400" spc="-30" dirty="0">
              <a:solidFill>
                <a:schemeClr val="tx2"/>
              </a:solidFill>
              <a:latin typeface="+mj-lt"/>
              <a:cs typeface="Arial"/>
            </a:endParaRPr>
          </a:p>
        </p:txBody>
      </p:sp>
      <p:sp>
        <p:nvSpPr>
          <p:cNvPr id="11" name="object 25">
            <a:extLst>
              <a:ext uri="{FF2B5EF4-FFF2-40B4-BE49-F238E27FC236}">
                <a16:creationId xmlns:a16="http://schemas.microsoft.com/office/drawing/2014/main" xmlns="" id="{0D6015C8-25E3-4B49-B49D-F30F6FD512CE}"/>
              </a:ext>
            </a:extLst>
          </p:cNvPr>
          <p:cNvSpPr txBox="1"/>
          <p:nvPr/>
        </p:nvSpPr>
        <p:spPr>
          <a:xfrm>
            <a:off x="6698322" y="1946220"/>
            <a:ext cx="1585218" cy="2991540"/>
          </a:xfrm>
          <a:prstGeom prst="rect">
            <a:avLst/>
          </a:prstGeom>
          <a:solidFill>
            <a:schemeClr val="tx2">
              <a:alpha val="30000"/>
            </a:schemeClr>
          </a:solidFill>
          <a:ln>
            <a:noFill/>
          </a:ln>
        </p:spPr>
        <p:txBody>
          <a:bodyPr vert="horz" wrap="square" lIns="0" tIns="22860" rIns="0" bIns="0" rtlCol="0">
            <a:noAutofit/>
          </a:bodyPr>
          <a:lstStyle/>
          <a:p>
            <a:pPr marL="217804" marR="210185" indent="-635" algn="ctr">
              <a:lnSpc>
                <a:spcPts val="1900"/>
              </a:lnSpc>
              <a:spcBef>
                <a:spcPts val="180"/>
              </a:spcBef>
            </a:pPr>
            <a:r>
              <a:rPr lang="en-GB" sz="1600" b="1" spc="-5">
                <a:solidFill>
                  <a:schemeClr val="tx2"/>
                </a:solidFill>
                <a:latin typeface="+mj-lt"/>
                <a:cs typeface="Arial"/>
              </a:rPr>
              <a:t>Etapa 3: Negación del riesgo</a:t>
            </a:r>
          </a:p>
          <a:p>
            <a:pPr marL="217804" marR="210185" indent="-635" algn="ctr">
              <a:lnSpc>
                <a:spcPts val="1900"/>
              </a:lnSpc>
              <a:spcBef>
                <a:spcPts val="180"/>
              </a:spcBef>
            </a:pPr>
            <a:endParaRPr lang="en-GB" sz="1600" b="1" spc="-5">
              <a:solidFill>
                <a:schemeClr val="tx2"/>
              </a:solidFill>
              <a:latin typeface="+mj-lt"/>
              <a:cs typeface="Arial"/>
            </a:endParaRPr>
          </a:p>
          <a:p>
            <a:pPr>
              <a:lnSpc>
                <a:spcPct val="100000"/>
              </a:lnSpc>
            </a:pPr>
            <a:endParaRPr lang="en-GB" sz="1600" dirty="0">
              <a:solidFill>
                <a:schemeClr val="tx2"/>
              </a:solidFill>
              <a:latin typeface="+mj-lt"/>
              <a:cs typeface="Arial"/>
            </a:endParaRPr>
          </a:p>
          <a:p>
            <a:pPr>
              <a:spcBef>
                <a:spcPts val="20"/>
              </a:spcBef>
            </a:pPr>
            <a:endParaRPr lang="en-GB" sz="1400" dirty="0">
              <a:solidFill>
                <a:schemeClr val="tx2"/>
              </a:solidFill>
              <a:latin typeface="+mj-lt"/>
              <a:cs typeface="Arial"/>
            </a:endParaRPr>
          </a:p>
          <a:p>
            <a:pPr marL="12065" marR="5080" algn="ctr">
              <a:lnSpc>
                <a:spcPts val="1600"/>
              </a:lnSpc>
            </a:pPr>
            <a:r>
              <a:rPr lang="en-GB" sz="1400" spc="-30">
                <a:solidFill>
                  <a:schemeClr val="tx2"/>
                </a:solidFill>
                <a:latin typeface="+mj-lt"/>
                <a:cs typeface="Arial"/>
              </a:rPr>
              <a:t>Perseguir cosas que no forman parte de tu núcleo, no ver los problemas.</a:t>
            </a:r>
            <a:endParaRPr lang="en-GB" sz="1400" spc="-30" dirty="0">
              <a:solidFill>
                <a:schemeClr val="tx2"/>
              </a:solidFill>
              <a:latin typeface="+mj-lt"/>
              <a:cs typeface="Arial"/>
            </a:endParaRPr>
          </a:p>
        </p:txBody>
      </p:sp>
      <p:sp>
        <p:nvSpPr>
          <p:cNvPr id="14" name="object 25">
            <a:extLst>
              <a:ext uri="{FF2B5EF4-FFF2-40B4-BE49-F238E27FC236}">
                <a16:creationId xmlns:a16="http://schemas.microsoft.com/office/drawing/2014/main" xmlns="" id="{A0B3E0BD-55F5-44C6-8525-77853E200DC8}"/>
              </a:ext>
            </a:extLst>
          </p:cNvPr>
          <p:cNvSpPr txBox="1"/>
          <p:nvPr/>
        </p:nvSpPr>
        <p:spPr>
          <a:xfrm>
            <a:off x="8469044" y="1946220"/>
            <a:ext cx="1585218" cy="3627266"/>
          </a:xfrm>
          <a:prstGeom prst="rect">
            <a:avLst/>
          </a:prstGeom>
          <a:solidFill>
            <a:schemeClr val="accent2"/>
          </a:solidFill>
          <a:ln>
            <a:noFill/>
          </a:ln>
        </p:spPr>
        <p:txBody>
          <a:bodyPr vert="horz" wrap="square" lIns="0" tIns="22860" rIns="0" bIns="0" rtlCol="0">
            <a:noAutofit/>
          </a:bodyPr>
          <a:lstStyle/>
          <a:p>
            <a:pPr marL="217804" marR="210185" indent="-635" algn="ctr">
              <a:lnSpc>
                <a:spcPts val="1900"/>
              </a:lnSpc>
              <a:spcBef>
                <a:spcPts val="180"/>
              </a:spcBef>
            </a:pPr>
            <a:r>
              <a:rPr lang="en-GB" sz="2400" b="1" spc="-5" dirty="0">
                <a:solidFill>
                  <a:schemeClr val="bg1"/>
                </a:solidFill>
                <a:latin typeface="+mj-lt"/>
                <a:cs typeface="Arial"/>
              </a:rPr>
              <a:t>Etapa 4: Aferrarse a la salvación</a:t>
            </a:r>
          </a:p>
          <a:p>
            <a:pPr>
              <a:lnSpc>
                <a:spcPct val="100000"/>
              </a:lnSpc>
            </a:pPr>
            <a:endParaRPr lang="en-GB" sz="2400" dirty="0">
              <a:solidFill>
                <a:schemeClr val="bg1"/>
              </a:solidFill>
              <a:latin typeface="+mj-lt"/>
              <a:cs typeface="Arial"/>
            </a:endParaRPr>
          </a:p>
          <a:p>
            <a:pPr>
              <a:spcBef>
                <a:spcPts val="20"/>
              </a:spcBef>
            </a:pPr>
            <a:endParaRPr lang="en-GB" sz="2000" dirty="0">
              <a:solidFill>
                <a:schemeClr val="bg1"/>
              </a:solidFill>
              <a:latin typeface="+mj-lt"/>
              <a:cs typeface="Arial"/>
            </a:endParaRPr>
          </a:p>
          <a:p>
            <a:pPr marL="12065" marR="5080" algn="ctr">
              <a:lnSpc>
                <a:spcPts val="1600"/>
              </a:lnSpc>
            </a:pPr>
            <a:r>
              <a:rPr lang="en-GB" sz="2000" spc="-30" dirty="0">
                <a:solidFill>
                  <a:schemeClr val="bg1"/>
                </a:solidFill>
                <a:latin typeface="+mj-lt"/>
                <a:cs typeface="Arial"/>
              </a:rPr>
              <a:t>La bala de plata, abandonar el volante y perseguir cosas fuera del núcleo.</a:t>
            </a:r>
          </a:p>
        </p:txBody>
      </p:sp>
      <p:sp>
        <p:nvSpPr>
          <p:cNvPr id="12" name="TextBox 87">
            <a:extLst>
              <a:ext uri="{FF2B5EF4-FFF2-40B4-BE49-F238E27FC236}">
                <a16:creationId xmlns:a16="http://schemas.microsoft.com/office/drawing/2014/main" xmlns="" id="{9199FCE4-EC51-4D85-92F8-2D9660C90FBB}"/>
              </a:ext>
            </a:extLst>
          </p:cNvPr>
          <p:cNvSpPr txBox="1"/>
          <p:nvPr/>
        </p:nvSpPr>
        <p:spPr>
          <a:xfrm>
            <a:off x="550278" y="6528494"/>
            <a:ext cx="647028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Fuente: Adaptado de Jim Collins, "How the Mighty Fall and Why Some Companies Never Give In" y Eli </a:t>
            </a:r>
            <a:r>
              <a:rPr lang="en-GB" sz="1000" dirty="0" err="1">
                <a:latin typeface="+mj-lt"/>
                <a:ea typeface="League Spartan" charset="0"/>
                <a:cs typeface="Poppins" pitchFamily="2" charset="77"/>
              </a:rPr>
              <a:t>Zelkha</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24330397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272134" y="485364"/>
            <a:ext cx="8852375" cy="697353"/>
          </a:xfrm>
        </p:spPr>
        <p:txBody>
          <a:bodyPr>
            <a:normAutofit/>
          </a:bodyPr>
          <a:lstStyle/>
          <a:p>
            <a:r>
              <a:rPr lang="en-GB" dirty="0"/>
              <a:t>Cómo caen los poderoso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71934" y="1712640"/>
            <a:ext cx="2538610" cy="360641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b="1" dirty="0">
                <a:latin typeface="+mj-lt"/>
              </a:rPr>
              <a:t>Etapa 5:</a:t>
            </a:r>
          </a:p>
          <a:p>
            <a:pPr algn="l">
              <a:lnSpc>
                <a:spcPct val="100000"/>
              </a:lnSpc>
              <a:spcBef>
                <a:spcPts val="600"/>
              </a:spcBef>
            </a:pPr>
            <a:r>
              <a:rPr lang="en-US" altLang="de-DE" sz="2000" dirty="0">
                <a:latin typeface="+mj-lt"/>
              </a:rPr>
              <a:t>La quinta etapa es "Capitulación a la irrelevancia o a la muerte". En esta etapa todos los repetidos intentos infructuosos han agotado tanto las finanzas como los líderes de la empresa. No hay vuelta atrás en esta etapa.</a:t>
            </a:r>
            <a:endParaRPr lang="en-GB" altLang="de-DE" sz="2000" dirty="0">
              <a:latin typeface="+mj-lt"/>
            </a:endParaRPr>
          </a:p>
        </p:txBody>
      </p:sp>
      <p:sp>
        <p:nvSpPr>
          <p:cNvPr id="51" name="object 25">
            <a:extLst>
              <a:ext uri="{FF2B5EF4-FFF2-40B4-BE49-F238E27FC236}">
                <a16:creationId xmlns:a16="http://schemas.microsoft.com/office/drawing/2014/main" xmlns="" id="{59263594-F341-40B7-B9FB-183368666F4A}"/>
              </a:ext>
            </a:extLst>
          </p:cNvPr>
          <p:cNvSpPr txBox="1"/>
          <p:nvPr/>
        </p:nvSpPr>
        <p:spPr>
          <a:xfrm>
            <a:off x="3156878" y="1946220"/>
            <a:ext cx="1585218" cy="2991540"/>
          </a:xfrm>
          <a:prstGeom prst="rect">
            <a:avLst/>
          </a:prstGeom>
          <a:solidFill>
            <a:schemeClr val="accent6">
              <a:alpha val="30000"/>
            </a:schemeClr>
          </a:solidFill>
          <a:ln>
            <a:noFill/>
          </a:ln>
        </p:spPr>
        <p:txBody>
          <a:bodyPr vert="horz" wrap="square" lIns="0" tIns="22860" rIns="0" bIns="0" rtlCol="0">
            <a:noAutofit/>
          </a:bodyPr>
          <a:lstStyle/>
          <a:p>
            <a:pPr marL="217804" marR="210185" indent="-635" algn="ctr">
              <a:lnSpc>
                <a:spcPts val="1900"/>
              </a:lnSpc>
              <a:spcBef>
                <a:spcPts val="180"/>
              </a:spcBef>
            </a:pPr>
            <a:r>
              <a:rPr lang="en-GB" sz="1600" b="1" spc="-5" dirty="0">
                <a:solidFill>
                  <a:schemeClr val="tx2"/>
                </a:solidFill>
                <a:latin typeface="+mj-lt"/>
                <a:cs typeface="Arial"/>
              </a:rPr>
              <a:t>Etapa </a:t>
            </a:r>
            <a:r>
              <a:rPr lang="en-GB" sz="1600" b="1" dirty="0">
                <a:solidFill>
                  <a:schemeClr val="tx2"/>
                </a:solidFill>
                <a:latin typeface="+mj-lt"/>
                <a:cs typeface="Arial"/>
              </a:rPr>
              <a:t>1: La </a:t>
            </a:r>
            <a:r>
              <a:rPr lang="en-GB" sz="1600" b="1" spc="10" dirty="0">
                <a:solidFill>
                  <a:schemeClr val="tx2"/>
                </a:solidFill>
                <a:latin typeface="+mj-lt"/>
                <a:cs typeface="Arial"/>
              </a:rPr>
              <a:t>arrogancia </a:t>
            </a:r>
            <a:r>
              <a:rPr lang="en-GB" sz="1600" b="1" spc="20" dirty="0">
                <a:solidFill>
                  <a:schemeClr val="tx2"/>
                </a:solidFill>
                <a:latin typeface="+mj-lt"/>
                <a:cs typeface="Arial"/>
              </a:rPr>
              <a:t>nacida </a:t>
            </a:r>
            <a:r>
              <a:rPr lang="en-GB" sz="1600" b="1" dirty="0">
                <a:solidFill>
                  <a:schemeClr val="tx2"/>
                </a:solidFill>
                <a:latin typeface="+mj-lt"/>
                <a:cs typeface="Arial"/>
              </a:rPr>
              <a:t>del </a:t>
            </a:r>
            <a:r>
              <a:rPr lang="en-GB" sz="1600" b="1" spc="25" dirty="0">
                <a:solidFill>
                  <a:schemeClr val="tx2"/>
                </a:solidFill>
                <a:latin typeface="+mj-lt"/>
                <a:cs typeface="Arial"/>
              </a:rPr>
              <a:t>éxito</a:t>
            </a:r>
            <a:endParaRPr lang="en-GB" sz="1600" b="1" dirty="0">
              <a:solidFill>
                <a:schemeClr val="tx2"/>
              </a:solidFill>
              <a:latin typeface="+mj-lt"/>
              <a:cs typeface="Arial"/>
            </a:endParaRPr>
          </a:p>
          <a:p>
            <a:pPr>
              <a:lnSpc>
                <a:spcPct val="100000"/>
              </a:lnSpc>
            </a:pPr>
            <a:endParaRPr lang="en-GB" sz="1600" dirty="0">
              <a:solidFill>
                <a:schemeClr val="tx2"/>
              </a:solidFill>
              <a:latin typeface="+mj-lt"/>
              <a:cs typeface="Arial"/>
            </a:endParaRPr>
          </a:p>
          <a:p>
            <a:pPr>
              <a:spcBef>
                <a:spcPts val="20"/>
              </a:spcBef>
            </a:pPr>
            <a:endParaRPr lang="en-GB" sz="1400" dirty="0">
              <a:solidFill>
                <a:schemeClr val="tx2"/>
              </a:solidFill>
              <a:latin typeface="+mj-lt"/>
              <a:cs typeface="Arial"/>
            </a:endParaRPr>
          </a:p>
          <a:p>
            <a:pPr marL="12065" marR="5080" algn="ctr">
              <a:lnSpc>
                <a:spcPts val="1600"/>
              </a:lnSpc>
            </a:pPr>
            <a:r>
              <a:rPr lang="en-GB" sz="1400" spc="-30" dirty="0">
                <a:solidFill>
                  <a:schemeClr val="tx2"/>
                </a:solidFill>
                <a:latin typeface="+mj-lt"/>
                <a:cs typeface="Arial"/>
              </a:rPr>
              <a:t>El </a:t>
            </a:r>
            <a:r>
              <a:rPr lang="en-GB" sz="1400" spc="15" dirty="0">
                <a:solidFill>
                  <a:schemeClr val="tx2"/>
                </a:solidFill>
                <a:latin typeface="+mj-lt"/>
                <a:cs typeface="Arial"/>
              </a:rPr>
              <a:t>punto de </a:t>
            </a:r>
            <a:r>
              <a:rPr lang="en-GB" sz="1400" spc="30" dirty="0">
                <a:solidFill>
                  <a:schemeClr val="tx2"/>
                </a:solidFill>
                <a:latin typeface="+mj-lt"/>
                <a:cs typeface="Arial"/>
              </a:rPr>
              <a:t>inflexión </a:t>
            </a:r>
            <a:r>
              <a:rPr lang="en-GB" sz="1400" spc="5" dirty="0">
                <a:solidFill>
                  <a:schemeClr val="tx2"/>
                </a:solidFill>
                <a:latin typeface="+mj-lt"/>
                <a:cs typeface="Arial"/>
              </a:rPr>
              <a:t>cultural </a:t>
            </a:r>
            <a:r>
              <a:rPr lang="en-GB" sz="1400" spc="-5" dirty="0">
                <a:solidFill>
                  <a:schemeClr val="tx2"/>
                </a:solidFill>
                <a:latin typeface="+mj-lt"/>
                <a:cs typeface="Arial"/>
              </a:rPr>
              <a:t>en el que el trabajo </a:t>
            </a:r>
            <a:r>
              <a:rPr lang="en-GB" sz="1400" spc="15" dirty="0">
                <a:solidFill>
                  <a:schemeClr val="tx2"/>
                </a:solidFill>
                <a:latin typeface="+mj-lt"/>
                <a:cs typeface="Arial"/>
              </a:rPr>
              <a:t>duro </a:t>
            </a:r>
            <a:r>
              <a:rPr lang="en-GB" sz="1400" spc="25" dirty="0">
                <a:solidFill>
                  <a:schemeClr val="tx2"/>
                </a:solidFill>
                <a:latin typeface="+mj-lt"/>
                <a:cs typeface="Arial"/>
              </a:rPr>
              <a:t>y la </a:t>
            </a:r>
            <a:r>
              <a:rPr lang="en-GB" sz="1400" spc="15" dirty="0">
                <a:solidFill>
                  <a:schemeClr val="tx2"/>
                </a:solidFill>
                <a:latin typeface="+mj-lt"/>
                <a:cs typeface="Arial"/>
              </a:rPr>
              <a:t>concentración </a:t>
            </a:r>
            <a:r>
              <a:rPr lang="en-GB" sz="1400" dirty="0">
                <a:solidFill>
                  <a:schemeClr val="tx2"/>
                </a:solidFill>
                <a:latin typeface="+mj-lt"/>
                <a:cs typeface="Arial"/>
              </a:rPr>
              <a:t>para </a:t>
            </a:r>
            <a:r>
              <a:rPr lang="en-GB" sz="1400" spc="-5" dirty="0">
                <a:solidFill>
                  <a:schemeClr val="tx2"/>
                </a:solidFill>
                <a:latin typeface="+mj-lt"/>
                <a:cs typeface="Arial"/>
              </a:rPr>
              <a:t>ganar </a:t>
            </a:r>
            <a:r>
              <a:rPr lang="en-GB" sz="1400" dirty="0">
                <a:solidFill>
                  <a:schemeClr val="tx2"/>
                </a:solidFill>
                <a:latin typeface="+mj-lt"/>
                <a:cs typeface="Arial"/>
              </a:rPr>
              <a:t>el </a:t>
            </a:r>
            <a:r>
              <a:rPr lang="en-GB" sz="1400" spc="5" dirty="0">
                <a:solidFill>
                  <a:schemeClr val="tx2"/>
                </a:solidFill>
                <a:latin typeface="+mj-lt"/>
                <a:cs typeface="Arial"/>
              </a:rPr>
              <a:t>negocio </a:t>
            </a:r>
            <a:r>
              <a:rPr lang="en-GB" sz="1400" dirty="0">
                <a:solidFill>
                  <a:schemeClr val="tx2"/>
                </a:solidFill>
                <a:latin typeface="+mj-lt"/>
                <a:cs typeface="Arial"/>
              </a:rPr>
              <a:t>se convierten </a:t>
            </a:r>
            <a:r>
              <a:rPr lang="en-GB" sz="1400" spc="-5" dirty="0">
                <a:solidFill>
                  <a:schemeClr val="tx2"/>
                </a:solidFill>
                <a:latin typeface="+mj-lt"/>
                <a:cs typeface="Arial"/>
              </a:rPr>
              <a:t>en un sentido </a:t>
            </a:r>
            <a:r>
              <a:rPr lang="en-GB" sz="1400" dirty="0">
                <a:solidFill>
                  <a:schemeClr val="tx2"/>
                </a:solidFill>
                <a:latin typeface="+mj-lt"/>
                <a:cs typeface="Arial"/>
              </a:rPr>
              <a:t>de </a:t>
            </a:r>
            <a:r>
              <a:rPr lang="en-GB" sz="1400" spc="-5" dirty="0">
                <a:solidFill>
                  <a:schemeClr val="tx2"/>
                </a:solidFill>
                <a:latin typeface="+mj-lt"/>
                <a:cs typeface="Arial"/>
              </a:rPr>
              <a:t>derecho </a:t>
            </a:r>
            <a:r>
              <a:rPr lang="en-GB" sz="1400" dirty="0">
                <a:solidFill>
                  <a:schemeClr val="tx2"/>
                </a:solidFill>
                <a:latin typeface="+mj-lt"/>
                <a:cs typeface="Arial"/>
              </a:rPr>
              <a:t>al </a:t>
            </a:r>
            <a:r>
              <a:rPr lang="en-GB" sz="1400" spc="15" dirty="0">
                <a:solidFill>
                  <a:schemeClr val="tx2"/>
                </a:solidFill>
                <a:latin typeface="+mj-lt"/>
                <a:cs typeface="Arial"/>
              </a:rPr>
              <a:t>éxito </a:t>
            </a:r>
            <a:r>
              <a:rPr lang="en-GB" sz="1400" dirty="0">
                <a:solidFill>
                  <a:schemeClr val="tx2"/>
                </a:solidFill>
                <a:latin typeface="+mj-lt"/>
                <a:cs typeface="Arial"/>
              </a:rPr>
              <a:t>futuro</a:t>
            </a:r>
            <a:r>
              <a:rPr lang="en-GB" sz="1400" spc="15" dirty="0">
                <a:solidFill>
                  <a:schemeClr val="tx2"/>
                </a:solidFill>
                <a:latin typeface="+mj-lt"/>
                <a:cs typeface="Arial"/>
              </a:rPr>
              <a:t>.</a:t>
            </a:r>
            <a:endParaRPr lang="en-GB" sz="1400" dirty="0">
              <a:solidFill>
                <a:schemeClr val="tx2"/>
              </a:solidFill>
              <a:latin typeface="+mj-lt"/>
              <a:cs typeface="Arial"/>
            </a:endParaRPr>
          </a:p>
        </p:txBody>
      </p:sp>
      <p:sp>
        <p:nvSpPr>
          <p:cNvPr id="6" name="Freihandform: Form 5">
            <a:extLst>
              <a:ext uri="{FF2B5EF4-FFF2-40B4-BE49-F238E27FC236}">
                <a16:creationId xmlns:a16="http://schemas.microsoft.com/office/drawing/2014/main" xmlns="" id="{B2AE5D6E-295E-42D8-AF5D-6AD2B0F75347}"/>
              </a:ext>
            </a:extLst>
          </p:cNvPr>
          <p:cNvSpPr/>
          <p:nvPr/>
        </p:nvSpPr>
        <p:spPr>
          <a:xfrm>
            <a:off x="3280543" y="2505477"/>
            <a:ext cx="8338726" cy="3518482"/>
          </a:xfrm>
          <a:custGeom>
            <a:avLst/>
            <a:gdLst>
              <a:gd name="connsiteX0" fmla="*/ 0 w 7934960"/>
              <a:gd name="connsiteY0" fmla="*/ 3101783 h 3518482"/>
              <a:gd name="connsiteX1" fmla="*/ 1676400 w 7934960"/>
              <a:gd name="connsiteY1" fmla="*/ 2553143 h 3518482"/>
              <a:gd name="connsiteX2" fmla="*/ 3322320 w 7934960"/>
              <a:gd name="connsiteY2" fmla="*/ 602423 h 3518482"/>
              <a:gd name="connsiteX3" fmla="*/ 3759200 w 7934960"/>
              <a:gd name="connsiteY3" fmla="*/ 267143 h 3518482"/>
              <a:gd name="connsiteX4" fmla="*/ 4602480 w 7934960"/>
              <a:gd name="connsiteY4" fmla="*/ 94423 h 3518482"/>
              <a:gd name="connsiteX5" fmla="*/ 5181600 w 7934960"/>
              <a:gd name="connsiteY5" fmla="*/ 1821623 h 3518482"/>
              <a:gd name="connsiteX6" fmla="*/ 5608320 w 7934960"/>
              <a:gd name="connsiteY6" fmla="*/ 1557463 h 3518482"/>
              <a:gd name="connsiteX7" fmla="*/ 6065520 w 7934960"/>
              <a:gd name="connsiteY7" fmla="*/ 2705543 h 3518482"/>
              <a:gd name="connsiteX8" fmla="*/ 6400800 w 7934960"/>
              <a:gd name="connsiteY8" fmla="*/ 2339783 h 3518482"/>
              <a:gd name="connsiteX9" fmla="*/ 6746240 w 7934960"/>
              <a:gd name="connsiteY9" fmla="*/ 3162743 h 3518482"/>
              <a:gd name="connsiteX10" fmla="*/ 7233920 w 7934960"/>
              <a:gd name="connsiteY10" fmla="*/ 2776663 h 3518482"/>
              <a:gd name="connsiteX11" fmla="*/ 7579360 w 7934960"/>
              <a:gd name="connsiteY11" fmla="*/ 3396423 h 3518482"/>
              <a:gd name="connsiteX12" fmla="*/ 7934960 w 7934960"/>
              <a:gd name="connsiteY12" fmla="*/ 3518343 h 3518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34960" h="3518482">
                <a:moveTo>
                  <a:pt x="0" y="3101783"/>
                </a:moveTo>
                <a:cubicBezTo>
                  <a:pt x="561340" y="3035743"/>
                  <a:pt x="1122680" y="2969703"/>
                  <a:pt x="1676400" y="2553143"/>
                </a:cubicBezTo>
                <a:cubicBezTo>
                  <a:pt x="2230120" y="2136583"/>
                  <a:pt x="2975187" y="983423"/>
                  <a:pt x="3322320" y="602423"/>
                </a:cubicBezTo>
                <a:cubicBezTo>
                  <a:pt x="3669453" y="221423"/>
                  <a:pt x="3545840" y="351810"/>
                  <a:pt x="3759200" y="267143"/>
                </a:cubicBezTo>
                <a:cubicBezTo>
                  <a:pt x="3972560" y="182476"/>
                  <a:pt x="4365413" y="-164657"/>
                  <a:pt x="4602480" y="94423"/>
                </a:cubicBezTo>
                <a:cubicBezTo>
                  <a:pt x="4839547" y="353503"/>
                  <a:pt x="5013960" y="1577783"/>
                  <a:pt x="5181600" y="1821623"/>
                </a:cubicBezTo>
                <a:cubicBezTo>
                  <a:pt x="5349240" y="2065463"/>
                  <a:pt x="5461000" y="1410143"/>
                  <a:pt x="5608320" y="1557463"/>
                </a:cubicBezTo>
                <a:cubicBezTo>
                  <a:pt x="5755640" y="1704783"/>
                  <a:pt x="5933440" y="2575156"/>
                  <a:pt x="6065520" y="2705543"/>
                </a:cubicBezTo>
                <a:cubicBezTo>
                  <a:pt x="6197600" y="2835930"/>
                  <a:pt x="6287347" y="2263583"/>
                  <a:pt x="6400800" y="2339783"/>
                </a:cubicBezTo>
                <a:cubicBezTo>
                  <a:pt x="6514253" y="2415983"/>
                  <a:pt x="6607387" y="3089930"/>
                  <a:pt x="6746240" y="3162743"/>
                </a:cubicBezTo>
                <a:cubicBezTo>
                  <a:pt x="6885093" y="3235556"/>
                  <a:pt x="7095067" y="2737716"/>
                  <a:pt x="7233920" y="2776663"/>
                </a:cubicBezTo>
                <a:cubicBezTo>
                  <a:pt x="7372773" y="2815610"/>
                  <a:pt x="7462520" y="3272810"/>
                  <a:pt x="7579360" y="3396423"/>
                </a:cubicBezTo>
                <a:cubicBezTo>
                  <a:pt x="7696200" y="3520036"/>
                  <a:pt x="7815580" y="3519189"/>
                  <a:pt x="7934960" y="3518343"/>
                </a:cubicBezTo>
              </a:path>
            </a:pathLst>
          </a:cu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object 25">
            <a:extLst>
              <a:ext uri="{FF2B5EF4-FFF2-40B4-BE49-F238E27FC236}">
                <a16:creationId xmlns:a16="http://schemas.microsoft.com/office/drawing/2014/main" xmlns="" id="{218D54CB-EDD0-4F2D-8FAE-8686B16AB153}"/>
              </a:ext>
            </a:extLst>
          </p:cNvPr>
          <p:cNvSpPr txBox="1"/>
          <p:nvPr/>
        </p:nvSpPr>
        <p:spPr>
          <a:xfrm>
            <a:off x="4927600" y="1946220"/>
            <a:ext cx="1585218" cy="2991540"/>
          </a:xfrm>
          <a:prstGeom prst="rect">
            <a:avLst/>
          </a:prstGeom>
          <a:solidFill>
            <a:schemeClr val="accent6">
              <a:lumMod val="75000"/>
              <a:alpha val="30000"/>
            </a:schemeClr>
          </a:solidFill>
          <a:ln>
            <a:noFill/>
          </a:ln>
        </p:spPr>
        <p:txBody>
          <a:bodyPr vert="horz" wrap="square" lIns="0" tIns="22860" rIns="0" bIns="0" rtlCol="0">
            <a:noAutofit/>
          </a:bodyPr>
          <a:lstStyle/>
          <a:p>
            <a:pPr marL="217804" marR="210185" indent="-635" algn="ctr">
              <a:lnSpc>
                <a:spcPts val="1900"/>
              </a:lnSpc>
              <a:spcBef>
                <a:spcPts val="180"/>
              </a:spcBef>
            </a:pPr>
            <a:r>
              <a:rPr lang="en-GB" sz="1600" b="1" spc="-5">
                <a:solidFill>
                  <a:schemeClr val="tx2"/>
                </a:solidFill>
                <a:latin typeface="+mj-lt"/>
                <a:cs typeface="Arial"/>
              </a:rPr>
              <a:t>Etapa 2: Búsqueda indisciplinada de más</a:t>
            </a:r>
          </a:p>
          <a:p>
            <a:pPr>
              <a:spcBef>
                <a:spcPts val="20"/>
              </a:spcBef>
            </a:pPr>
            <a:endParaRPr lang="en-GB" sz="1400" dirty="0">
              <a:solidFill>
                <a:schemeClr val="tx2"/>
              </a:solidFill>
              <a:latin typeface="+mj-lt"/>
              <a:cs typeface="Arial"/>
            </a:endParaRPr>
          </a:p>
          <a:p>
            <a:pPr marL="12065" marR="5080" algn="ctr">
              <a:lnSpc>
                <a:spcPts val="1600"/>
              </a:lnSpc>
            </a:pPr>
            <a:r>
              <a:rPr lang="en-GB" sz="1400" spc="-30">
                <a:solidFill>
                  <a:schemeClr val="tx2"/>
                </a:solidFill>
                <a:latin typeface="+mj-lt"/>
                <a:cs typeface="Arial"/>
              </a:rPr>
              <a:t>Construir desde la primera etapa es que la gente persiga objetivos que la alejen de su núcleo, de su ventaja competitiva, todo en nombre del crecimiento, o de la gran estrategia.</a:t>
            </a:r>
            <a:endParaRPr lang="en-GB" sz="1400" spc="-30" dirty="0">
              <a:solidFill>
                <a:schemeClr val="tx2"/>
              </a:solidFill>
              <a:latin typeface="+mj-lt"/>
              <a:cs typeface="Arial"/>
            </a:endParaRPr>
          </a:p>
        </p:txBody>
      </p:sp>
      <p:sp>
        <p:nvSpPr>
          <p:cNvPr id="11" name="object 25">
            <a:extLst>
              <a:ext uri="{FF2B5EF4-FFF2-40B4-BE49-F238E27FC236}">
                <a16:creationId xmlns:a16="http://schemas.microsoft.com/office/drawing/2014/main" xmlns="" id="{0D6015C8-25E3-4B49-B49D-F30F6FD512CE}"/>
              </a:ext>
            </a:extLst>
          </p:cNvPr>
          <p:cNvSpPr txBox="1"/>
          <p:nvPr/>
        </p:nvSpPr>
        <p:spPr>
          <a:xfrm>
            <a:off x="6698322" y="1946220"/>
            <a:ext cx="1585218" cy="2991540"/>
          </a:xfrm>
          <a:prstGeom prst="rect">
            <a:avLst/>
          </a:prstGeom>
          <a:solidFill>
            <a:schemeClr val="tx2">
              <a:alpha val="30000"/>
            </a:schemeClr>
          </a:solidFill>
          <a:ln>
            <a:noFill/>
          </a:ln>
        </p:spPr>
        <p:txBody>
          <a:bodyPr vert="horz" wrap="square" lIns="0" tIns="22860" rIns="0" bIns="0" rtlCol="0">
            <a:noAutofit/>
          </a:bodyPr>
          <a:lstStyle/>
          <a:p>
            <a:pPr marL="217804" marR="210185" indent="-635" algn="ctr">
              <a:lnSpc>
                <a:spcPts val="1900"/>
              </a:lnSpc>
              <a:spcBef>
                <a:spcPts val="180"/>
              </a:spcBef>
            </a:pPr>
            <a:r>
              <a:rPr lang="en-GB" sz="1600" b="1" spc="-5">
                <a:solidFill>
                  <a:schemeClr val="tx2"/>
                </a:solidFill>
                <a:latin typeface="+mj-lt"/>
                <a:cs typeface="Arial"/>
              </a:rPr>
              <a:t>Etapa 3: Negación del riesgo</a:t>
            </a:r>
          </a:p>
          <a:p>
            <a:pPr marL="217804" marR="210185" indent="-635" algn="ctr">
              <a:lnSpc>
                <a:spcPts val="1900"/>
              </a:lnSpc>
              <a:spcBef>
                <a:spcPts val="180"/>
              </a:spcBef>
            </a:pPr>
            <a:endParaRPr lang="en-GB" sz="1600" b="1" spc="-5">
              <a:solidFill>
                <a:schemeClr val="tx2"/>
              </a:solidFill>
              <a:latin typeface="+mj-lt"/>
              <a:cs typeface="Arial"/>
            </a:endParaRPr>
          </a:p>
          <a:p>
            <a:pPr>
              <a:lnSpc>
                <a:spcPct val="100000"/>
              </a:lnSpc>
            </a:pPr>
            <a:endParaRPr lang="en-GB" sz="1600" dirty="0">
              <a:solidFill>
                <a:schemeClr val="tx2"/>
              </a:solidFill>
              <a:latin typeface="+mj-lt"/>
              <a:cs typeface="Arial"/>
            </a:endParaRPr>
          </a:p>
          <a:p>
            <a:pPr>
              <a:spcBef>
                <a:spcPts val="20"/>
              </a:spcBef>
            </a:pPr>
            <a:endParaRPr lang="en-GB" sz="1400" dirty="0">
              <a:solidFill>
                <a:schemeClr val="tx2"/>
              </a:solidFill>
              <a:latin typeface="+mj-lt"/>
              <a:cs typeface="Arial"/>
            </a:endParaRPr>
          </a:p>
          <a:p>
            <a:pPr marL="12065" marR="5080" algn="ctr">
              <a:lnSpc>
                <a:spcPts val="1600"/>
              </a:lnSpc>
            </a:pPr>
            <a:r>
              <a:rPr lang="en-GB" sz="1400" spc="-30">
                <a:solidFill>
                  <a:schemeClr val="tx2"/>
                </a:solidFill>
                <a:latin typeface="+mj-lt"/>
                <a:cs typeface="Arial"/>
              </a:rPr>
              <a:t>Perseguir cosas que no forman parte de tu núcleo, no ver los problemas.</a:t>
            </a:r>
            <a:endParaRPr lang="en-GB" sz="1400" spc="-30" dirty="0">
              <a:solidFill>
                <a:schemeClr val="tx2"/>
              </a:solidFill>
              <a:latin typeface="+mj-lt"/>
              <a:cs typeface="Arial"/>
            </a:endParaRPr>
          </a:p>
        </p:txBody>
      </p:sp>
      <p:sp>
        <p:nvSpPr>
          <p:cNvPr id="14" name="object 25">
            <a:extLst>
              <a:ext uri="{FF2B5EF4-FFF2-40B4-BE49-F238E27FC236}">
                <a16:creationId xmlns:a16="http://schemas.microsoft.com/office/drawing/2014/main" xmlns="" id="{A0B3E0BD-55F5-44C6-8525-77853E200DC8}"/>
              </a:ext>
            </a:extLst>
          </p:cNvPr>
          <p:cNvSpPr txBox="1"/>
          <p:nvPr/>
        </p:nvSpPr>
        <p:spPr>
          <a:xfrm>
            <a:off x="8469044" y="1946220"/>
            <a:ext cx="1585218" cy="2991540"/>
          </a:xfrm>
          <a:prstGeom prst="rect">
            <a:avLst/>
          </a:prstGeom>
          <a:solidFill>
            <a:schemeClr val="accent2">
              <a:alpha val="30000"/>
            </a:schemeClr>
          </a:solidFill>
          <a:ln>
            <a:noFill/>
          </a:ln>
        </p:spPr>
        <p:txBody>
          <a:bodyPr vert="horz" wrap="square" lIns="0" tIns="22860" rIns="0" bIns="0" rtlCol="0">
            <a:noAutofit/>
          </a:bodyPr>
          <a:lstStyle/>
          <a:p>
            <a:pPr marL="217804" marR="210185" indent="-635" algn="ctr">
              <a:lnSpc>
                <a:spcPts val="1900"/>
              </a:lnSpc>
              <a:spcBef>
                <a:spcPts val="180"/>
              </a:spcBef>
            </a:pPr>
            <a:r>
              <a:rPr lang="en-GB" sz="1600" b="1" spc="-5">
                <a:solidFill>
                  <a:schemeClr val="tx2"/>
                </a:solidFill>
                <a:latin typeface="+mj-lt"/>
                <a:cs typeface="Arial"/>
              </a:rPr>
              <a:t>Etapa 4: Aferrarse a la salvación</a:t>
            </a:r>
          </a:p>
          <a:p>
            <a:pPr>
              <a:lnSpc>
                <a:spcPct val="100000"/>
              </a:lnSpc>
            </a:pPr>
            <a:endParaRPr lang="en-GB" sz="1600" dirty="0">
              <a:solidFill>
                <a:schemeClr val="tx2"/>
              </a:solidFill>
              <a:latin typeface="+mj-lt"/>
              <a:cs typeface="Arial"/>
            </a:endParaRPr>
          </a:p>
          <a:p>
            <a:pPr>
              <a:spcBef>
                <a:spcPts val="20"/>
              </a:spcBef>
            </a:pPr>
            <a:endParaRPr lang="en-GB" sz="1400" dirty="0">
              <a:solidFill>
                <a:schemeClr val="tx2"/>
              </a:solidFill>
              <a:latin typeface="+mj-lt"/>
              <a:cs typeface="Arial"/>
            </a:endParaRPr>
          </a:p>
          <a:p>
            <a:pPr marL="12065" marR="5080" algn="ctr">
              <a:lnSpc>
                <a:spcPts val="1600"/>
              </a:lnSpc>
            </a:pPr>
            <a:r>
              <a:rPr lang="en-GB" sz="1400" spc="-30">
                <a:solidFill>
                  <a:schemeClr val="tx2"/>
                </a:solidFill>
                <a:latin typeface="+mj-lt"/>
                <a:cs typeface="Arial"/>
              </a:rPr>
              <a:t>La bala de plata, abandonar el volante y perseguir cosas fuera del núcleo.</a:t>
            </a:r>
            <a:endParaRPr lang="en-GB" sz="1400" spc="-30" dirty="0">
              <a:solidFill>
                <a:schemeClr val="tx2"/>
              </a:solidFill>
              <a:latin typeface="+mj-lt"/>
              <a:cs typeface="Arial"/>
            </a:endParaRPr>
          </a:p>
        </p:txBody>
      </p:sp>
      <p:sp>
        <p:nvSpPr>
          <p:cNvPr id="15" name="object 25">
            <a:extLst>
              <a:ext uri="{FF2B5EF4-FFF2-40B4-BE49-F238E27FC236}">
                <a16:creationId xmlns:a16="http://schemas.microsoft.com/office/drawing/2014/main" xmlns="" id="{630D3B3F-353C-4EA1-B3A1-CB6B792D89F4}"/>
              </a:ext>
            </a:extLst>
          </p:cNvPr>
          <p:cNvSpPr txBox="1"/>
          <p:nvPr/>
        </p:nvSpPr>
        <p:spPr>
          <a:xfrm>
            <a:off x="10239766" y="1946219"/>
            <a:ext cx="1585218" cy="3518481"/>
          </a:xfrm>
          <a:prstGeom prst="rect">
            <a:avLst/>
          </a:prstGeom>
          <a:solidFill>
            <a:schemeClr val="accent2">
              <a:lumMod val="75000"/>
            </a:schemeClr>
          </a:solidFill>
          <a:ln>
            <a:noFill/>
          </a:ln>
        </p:spPr>
        <p:txBody>
          <a:bodyPr vert="horz" wrap="square" lIns="0" tIns="22860" rIns="0" bIns="0" rtlCol="0">
            <a:noAutofit/>
          </a:bodyPr>
          <a:lstStyle/>
          <a:p>
            <a:pPr marL="217804" marR="210185" indent="-635" algn="ctr">
              <a:spcBef>
                <a:spcPts val="180"/>
              </a:spcBef>
            </a:pPr>
            <a:r>
              <a:rPr lang="en-GB" sz="2000" b="1" spc="-5" dirty="0">
                <a:solidFill>
                  <a:schemeClr val="bg1"/>
                </a:solidFill>
                <a:latin typeface="+mj-lt"/>
                <a:cs typeface="Arial"/>
              </a:rPr>
              <a:t>Etapa 5: Capitulación a la irrelevancia o a la muerte</a:t>
            </a:r>
          </a:p>
          <a:p>
            <a:pPr>
              <a:spcBef>
                <a:spcPts val="20"/>
              </a:spcBef>
            </a:pPr>
            <a:endParaRPr lang="en-GB" dirty="0">
              <a:solidFill>
                <a:schemeClr val="bg1"/>
              </a:solidFill>
              <a:latin typeface="+mj-lt"/>
              <a:cs typeface="Arial"/>
            </a:endParaRPr>
          </a:p>
          <a:p>
            <a:pPr marL="12065" marR="5080" algn="ctr"/>
            <a:r>
              <a:rPr lang="en-GB" spc="-30" dirty="0">
                <a:solidFill>
                  <a:schemeClr val="bg1"/>
                </a:solidFill>
                <a:latin typeface="+mj-lt"/>
                <a:cs typeface="Arial"/>
              </a:rPr>
              <a:t>Contratiempos acumulados, fuerza financiera erosionada, abandono de la esperanza</a:t>
            </a:r>
          </a:p>
        </p:txBody>
      </p:sp>
      <p:sp>
        <p:nvSpPr>
          <p:cNvPr id="13" name="TextBox 87">
            <a:extLst>
              <a:ext uri="{FF2B5EF4-FFF2-40B4-BE49-F238E27FC236}">
                <a16:creationId xmlns:a16="http://schemas.microsoft.com/office/drawing/2014/main" xmlns="" id="{66E2211D-5405-41E3-81C7-174F8AEE2F4E}"/>
              </a:ext>
            </a:extLst>
          </p:cNvPr>
          <p:cNvSpPr txBox="1"/>
          <p:nvPr/>
        </p:nvSpPr>
        <p:spPr>
          <a:xfrm>
            <a:off x="550278" y="6528494"/>
            <a:ext cx="647028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Fuente: Adaptado de Jim Collins, "How the Mighty Fall and Why Some Companies Never Give In" y Eli </a:t>
            </a:r>
            <a:r>
              <a:rPr lang="en-GB" sz="1000" dirty="0" err="1">
                <a:latin typeface="+mj-lt"/>
                <a:ea typeface="League Spartan" charset="0"/>
                <a:cs typeface="Poppins" pitchFamily="2" charset="77"/>
              </a:rPr>
              <a:t>Zelkha</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39256572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14597" y="474870"/>
            <a:ext cx="8852375" cy="697353"/>
          </a:xfrm>
        </p:spPr>
        <p:txBody>
          <a:bodyPr>
            <a:normAutofit/>
          </a:bodyPr>
          <a:lstStyle/>
          <a:p>
            <a:r>
              <a:rPr lang="en-GB"/>
              <a:t>Aprender de la crisis para lograr el cambio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11404" y="1800073"/>
            <a:ext cx="3885135" cy="485291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Es posible utilizar una crisis como una oportunidad para crear una organización mejor. Para ello, sin embargo, es necesario que los líderes adopten una mentalidad de aprendizaje.  Las empresas no pueden permitirse gestionar luchando contra las crisis. No existen para reaccionar a las tendencias del mercado o a las preocupaciones de los empleados, sino para fabricar productos, prestar servicios y crear valor. </a:t>
            </a:r>
          </a:p>
          <a:p>
            <a:pPr algn="l">
              <a:lnSpc>
                <a:spcPct val="100000"/>
              </a:lnSpc>
              <a:spcBef>
                <a:spcPts val="600"/>
              </a:spcBef>
            </a:pPr>
            <a:r>
              <a:rPr lang="en-GB" altLang="de-DE" sz="2000" dirty="0">
                <a:solidFill>
                  <a:srgbClr val="245473"/>
                </a:solidFill>
                <a:latin typeface="+mj-lt"/>
              </a:rPr>
              <a:t>Las empresas que gestionan constantemente en este modo reaccionario son menos competitivas en el mercado. </a:t>
            </a:r>
          </a:p>
          <a:p>
            <a:pPr algn="l">
              <a:lnSpc>
                <a:spcPct val="100000"/>
              </a:lnSpc>
              <a:spcBef>
                <a:spcPts val="600"/>
              </a:spcBef>
            </a:pPr>
            <a:endParaRPr lang="en-GB" sz="2000" dirty="0">
              <a:latin typeface="+mj-lt"/>
            </a:endParaRPr>
          </a:p>
        </p:txBody>
      </p:sp>
      <p:sp>
        <p:nvSpPr>
          <p:cNvPr id="39" name="Subtitle 2">
            <a:extLst>
              <a:ext uri="{FF2B5EF4-FFF2-40B4-BE49-F238E27FC236}">
                <a16:creationId xmlns:a16="http://schemas.microsoft.com/office/drawing/2014/main" xmlns="" id="{287F9887-A65E-48BD-ADD4-5093959DEDBA}"/>
              </a:ext>
            </a:extLst>
          </p:cNvPr>
          <p:cNvSpPr txBox="1">
            <a:spLocks/>
          </p:cNvSpPr>
          <p:nvPr/>
        </p:nvSpPr>
        <p:spPr>
          <a:xfrm>
            <a:off x="4557879" y="1882731"/>
            <a:ext cx="7346836" cy="65018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latin typeface="+mj-lt"/>
                <a:sym typeface="Wingdings" panose="05000000000000000000" pitchFamily="2" charset="2"/>
              </a:rPr>
              <a:t>El aprendizaje implica examinar la organización -su cultura, sus políticas y sus procedimientos- para sacar a la luz las causas profundas de las crisis.</a:t>
            </a:r>
            <a:endParaRPr lang="en-GB" sz="2000" dirty="0">
              <a:latin typeface="+mj-lt"/>
              <a:ea typeface="Lato Light" panose="020F0502020204030203" pitchFamily="34" charset="0"/>
              <a:cs typeface="Mukta ExtraLight" panose="020B0000000000000000" pitchFamily="34" charset="77"/>
            </a:endParaRPr>
          </a:p>
        </p:txBody>
      </p:sp>
      <p:grpSp>
        <p:nvGrpSpPr>
          <p:cNvPr id="6" name="Gruppieren 5">
            <a:extLst>
              <a:ext uri="{FF2B5EF4-FFF2-40B4-BE49-F238E27FC236}">
                <a16:creationId xmlns:a16="http://schemas.microsoft.com/office/drawing/2014/main" xmlns="" id="{E12BF028-3F18-4A0D-910A-31226A542013}"/>
              </a:ext>
            </a:extLst>
          </p:cNvPr>
          <p:cNvGrpSpPr/>
          <p:nvPr/>
        </p:nvGrpSpPr>
        <p:grpSpPr>
          <a:xfrm>
            <a:off x="4416044" y="2723202"/>
            <a:ext cx="7679771" cy="3311251"/>
            <a:chOff x="3783484" y="2938701"/>
            <a:chExt cx="7679771" cy="2255044"/>
          </a:xfrm>
        </p:grpSpPr>
        <p:sp>
          <p:nvSpPr>
            <p:cNvPr id="40" name="Freeform 39">
              <a:extLst>
                <a:ext uri="{FF2B5EF4-FFF2-40B4-BE49-F238E27FC236}">
                  <a16:creationId xmlns:a16="http://schemas.microsoft.com/office/drawing/2014/main" xmlns="" id="{60829DA5-747B-411D-B310-0B3146C21E06}"/>
                </a:ext>
              </a:extLst>
            </p:cNvPr>
            <p:cNvSpPr>
              <a:spLocks/>
            </p:cNvSpPr>
            <p:nvPr/>
          </p:nvSpPr>
          <p:spPr bwMode="auto">
            <a:xfrm>
              <a:off x="3925319" y="2964961"/>
              <a:ext cx="3581301" cy="1020040"/>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200" b="1" dirty="0">
                <a:solidFill>
                  <a:schemeClr val="accent1">
                    <a:lumMod val="60000"/>
                    <a:lumOff val="40000"/>
                  </a:schemeClr>
                </a:solidFill>
                <a:latin typeface="+mj-lt"/>
              </a:endParaRPr>
            </a:p>
          </p:txBody>
        </p:sp>
        <p:sp>
          <p:nvSpPr>
            <p:cNvPr id="41" name="Freeform 13">
              <a:extLst>
                <a:ext uri="{FF2B5EF4-FFF2-40B4-BE49-F238E27FC236}">
                  <a16:creationId xmlns:a16="http://schemas.microsoft.com/office/drawing/2014/main" xmlns="" id="{4693302B-6BC8-4DE7-BB5E-73109A86262D}"/>
                </a:ext>
              </a:extLst>
            </p:cNvPr>
            <p:cNvSpPr>
              <a:spLocks/>
            </p:cNvSpPr>
            <p:nvPr/>
          </p:nvSpPr>
          <p:spPr bwMode="auto">
            <a:xfrm>
              <a:off x="4245196" y="3030652"/>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200" b="1" dirty="0">
                <a:solidFill>
                  <a:schemeClr val="accent1">
                    <a:lumMod val="60000"/>
                    <a:lumOff val="40000"/>
                  </a:schemeClr>
                </a:solidFill>
                <a:latin typeface="+mj-lt"/>
              </a:endParaRPr>
            </a:p>
          </p:txBody>
        </p:sp>
        <p:sp>
          <p:nvSpPr>
            <p:cNvPr id="42" name="Freeform 37">
              <a:extLst>
                <a:ext uri="{FF2B5EF4-FFF2-40B4-BE49-F238E27FC236}">
                  <a16:creationId xmlns:a16="http://schemas.microsoft.com/office/drawing/2014/main" xmlns="" id="{423FD4EB-5F4D-4F01-91D2-B9F8AB81EE46}"/>
                </a:ext>
              </a:extLst>
            </p:cNvPr>
            <p:cNvSpPr>
              <a:spLocks/>
            </p:cNvSpPr>
            <p:nvPr/>
          </p:nvSpPr>
          <p:spPr bwMode="auto">
            <a:xfrm>
              <a:off x="7656086" y="2940028"/>
              <a:ext cx="3728623" cy="104303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200" b="1" dirty="0">
                <a:solidFill>
                  <a:schemeClr val="accent1">
                    <a:lumMod val="60000"/>
                    <a:lumOff val="40000"/>
                  </a:schemeClr>
                </a:solidFill>
                <a:latin typeface="+mj-lt"/>
              </a:endParaRPr>
            </a:p>
          </p:txBody>
        </p:sp>
        <p:sp>
          <p:nvSpPr>
            <p:cNvPr id="46" name="Freeform 15">
              <a:extLst>
                <a:ext uri="{FF2B5EF4-FFF2-40B4-BE49-F238E27FC236}">
                  <a16:creationId xmlns:a16="http://schemas.microsoft.com/office/drawing/2014/main" xmlns="" id="{DC464549-E93E-4B5E-AFF2-961130A7C930}"/>
                </a:ext>
              </a:extLst>
            </p:cNvPr>
            <p:cNvSpPr>
              <a:spLocks/>
            </p:cNvSpPr>
            <p:nvPr/>
          </p:nvSpPr>
          <p:spPr bwMode="auto">
            <a:xfrm>
              <a:off x="7926125" y="3115239"/>
              <a:ext cx="641861" cy="864242"/>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200" b="1" dirty="0">
                <a:solidFill>
                  <a:schemeClr val="accent1">
                    <a:lumMod val="60000"/>
                    <a:lumOff val="40000"/>
                  </a:schemeClr>
                </a:solidFill>
                <a:latin typeface="+mj-lt"/>
              </a:endParaRPr>
            </a:p>
          </p:txBody>
        </p:sp>
        <p:sp>
          <p:nvSpPr>
            <p:cNvPr id="47" name="Freeform 35">
              <a:extLst>
                <a:ext uri="{FF2B5EF4-FFF2-40B4-BE49-F238E27FC236}">
                  <a16:creationId xmlns:a16="http://schemas.microsoft.com/office/drawing/2014/main" xmlns="" id="{FB675DF7-A216-4C6A-8AC4-C3854F782D3E}"/>
                </a:ext>
              </a:extLst>
            </p:cNvPr>
            <p:cNvSpPr>
              <a:spLocks/>
            </p:cNvSpPr>
            <p:nvPr/>
          </p:nvSpPr>
          <p:spPr bwMode="auto">
            <a:xfrm>
              <a:off x="3783484" y="4098162"/>
              <a:ext cx="3689568" cy="109558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200" b="1" dirty="0">
                <a:solidFill>
                  <a:schemeClr val="accent1">
                    <a:lumMod val="60000"/>
                    <a:lumOff val="40000"/>
                  </a:schemeClr>
                </a:solidFill>
                <a:latin typeface="+mj-lt"/>
              </a:endParaRPr>
            </a:p>
          </p:txBody>
        </p:sp>
        <p:sp>
          <p:nvSpPr>
            <p:cNvPr id="48" name="Freeform 16">
              <a:extLst>
                <a:ext uri="{FF2B5EF4-FFF2-40B4-BE49-F238E27FC236}">
                  <a16:creationId xmlns:a16="http://schemas.microsoft.com/office/drawing/2014/main" xmlns="" id="{57F94AFC-2691-4D45-88AE-7A103F56AE15}"/>
                </a:ext>
              </a:extLst>
            </p:cNvPr>
            <p:cNvSpPr>
              <a:spLocks/>
            </p:cNvSpPr>
            <p:nvPr/>
          </p:nvSpPr>
          <p:spPr bwMode="auto">
            <a:xfrm>
              <a:off x="4144956" y="4441267"/>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200" b="1" dirty="0">
                <a:solidFill>
                  <a:schemeClr val="accent1">
                    <a:lumMod val="60000"/>
                    <a:lumOff val="40000"/>
                  </a:schemeClr>
                </a:solidFill>
                <a:latin typeface="+mj-lt"/>
              </a:endParaRPr>
            </a:p>
          </p:txBody>
        </p:sp>
        <p:sp>
          <p:nvSpPr>
            <p:cNvPr id="58" name="Freeform 16">
              <a:extLst>
                <a:ext uri="{FF2B5EF4-FFF2-40B4-BE49-F238E27FC236}">
                  <a16:creationId xmlns:a16="http://schemas.microsoft.com/office/drawing/2014/main" xmlns="" id="{EFA26076-B7B2-49EB-A016-D0175ED78C5B}"/>
                </a:ext>
              </a:extLst>
            </p:cNvPr>
            <p:cNvSpPr>
              <a:spLocks noEditPoints="1"/>
            </p:cNvSpPr>
            <p:nvPr/>
          </p:nvSpPr>
          <p:spPr bwMode="auto">
            <a:xfrm>
              <a:off x="7623277" y="4098162"/>
              <a:ext cx="3786321" cy="1095583"/>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200" b="1" dirty="0">
                <a:solidFill>
                  <a:schemeClr val="accent1">
                    <a:lumMod val="60000"/>
                    <a:lumOff val="40000"/>
                  </a:schemeClr>
                </a:solidFill>
                <a:latin typeface="+mj-lt"/>
              </a:endParaRPr>
            </a:p>
          </p:txBody>
        </p:sp>
        <p:sp>
          <p:nvSpPr>
            <p:cNvPr id="59" name="Freeform 5">
              <a:extLst>
                <a:ext uri="{FF2B5EF4-FFF2-40B4-BE49-F238E27FC236}">
                  <a16:creationId xmlns:a16="http://schemas.microsoft.com/office/drawing/2014/main" xmlns="" id="{DBAEA3BA-F31C-4415-B529-B23C4EC31F59}"/>
                </a:ext>
              </a:extLst>
            </p:cNvPr>
            <p:cNvSpPr>
              <a:spLocks/>
            </p:cNvSpPr>
            <p:nvPr/>
          </p:nvSpPr>
          <p:spPr bwMode="auto">
            <a:xfrm>
              <a:off x="8215001" y="4239392"/>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200" b="1" dirty="0">
                <a:solidFill>
                  <a:schemeClr val="accent1">
                    <a:lumMod val="60000"/>
                    <a:lumOff val="40000"/>
                  </a:schemeClr>
                </a:solidFill>
                <a:latin typeface="+mj-lt"/>
              </a:endParaRPr>
            </a:p>
          </p:txBody>
        </p:sp>
        <p:sp>
          <p:nvSpPr>
            <p:cNvPr id="60" name="TextBox 27">
              <a:extLst>
                <a:ext uri="{FF2B5EF4-FFF2-40B4-BE49-F238E27FC236}">
                  <a16:creationId xmlns:a16="http://schemas.microsoft.com/office/drawing/2014/main" xmlns="" id="{C3B0560B-5975-49BA-B477-70366EA994B9}"/>
                </a:ext>
              </a:extLst>
            </p:cNvPr>
            <p:cNvSpPr txBox="1"/>
            <p:nvPr/>
          </p:nvSpPr>
          <p:spPr>
            <a:xfrm>
              <a:off x="8563562" y="4312906"/>
              <a:ext cx="2899693" cy="807323"/>
            </a:xfrm>
            <a:prstGeom prst="rect">
              <a:avLst/>
            </a:prstGeom>
            <a:noFill/>
          </p:spPr>
          <p:txBody>
            <a:bodyPr wrap="square" lIns="91440" tIns="45720" rIns="91440" bIns="45720" rtlCol="0" anchor="t">
              <a:spAutoFit/>
            </a:bodyPr>
            <a:lstStyle/>
            <a:p>
              <a:pPr>
                <a:lnSpc>
                  <a:spcPts val="1665"/>
                </a:lnSpc>
              </a:pPr>
              <a:r>
                <a:rPr lang="en-GB" sz="1700" dirty="0">
                  <a:solidFill>
                    <a:schemeClr val="bg1"/>
                  </a:solidFill>
                  <a:latin typeface="+mj-lt"/>
                  <a:ea typeface="Lato Light" charset="0"/>
                  <a:cs typeface="Lato Light" charset="0"/>
                </a:rPr>
                <a:t>Realice cambios en la organización que renueven fundamentalmente los sistemas o eliminen a las personas que son tóxicas para la organización.</a:t>
              </a:r>
            </a:p>
          </p:txBody>
        </p:sp>
        <p:sp>
          <p:nvSpPr>
            <p:cNvPr id="61" name="TextBox 28">
              <a:extLst>
                <a:ext uri="{FF2B5EF4-FFF2-40B4-BE49-F238E27FC236}">
                  <a16:creationId xmlns:a16="http://schemas.microsoft.com/office/drawing/2014/main" xmlns="" id="{78CCA143-2DD7-4C11-BD53-3B598DB66D2F}"/>
                </a:ext>
              </a:extLst>
            </p:cNvPr>
            <p:cNvSpPr txBox="1"/>
            <p:nvPr/>
          </p:nvSpPr>
          <p:spPr>
            <a:xfrm>
              <a:off x="8603843" y="4096182"/>
              <a:ext cx="942630" cy="272485"/>
            </a:xfrm>
            <a:prstGeom prst="rect">
              <a:avLst/>
            </a:prstGeom>
            <a:noFill/>
          </p:spPr>
          <p:txBody>
            <a:bodyPr wrap="none" lIns="91440" tIns="45720" rIns="91440" bIns="45720" rtlCol="0" anchor="t">
              <a:spAutoFit/>
            </a:bodyPr>
            <a:lstStyle/>
            <a:p>
              <a:r>
                <a:rPr lang="en-GB" sz="2000" b="1" dirty="0">
                  <a:solidFill>
                    <a:schemeClr val="bg1"/>
                  </a:solidFill>
                  <a:latin typeface="+mj-lt"/>
                  <a:ea typeface="Roboto" charset="0"/>
                  <a:cs typeface="Roboto" charset="0"/>
                </a:rPr>
                <a:t>Cambiar</a:t>
              </a:r>
            </a:p>
          </p:txBody>
        </p:sp>
        <p:sp>
          <p:nvSpPr>
            <p:cNvPr id="62" name="TextBox 29">
              <a:extLst>
                <a:ext uri="{FF2B5EF4-FFF2-40B4-BE49-F238E27FC236}">
                  <a16:creationId xmlns:a16="http://schemas.microsoft.com/office/drawing/2014/main" xmlns="" id="{21DD1B98-6F13-4CBF-981B-768F20C059D3}"/>
                </a:ext>
              </a:extLst>
            </p:cNvPr>
            <p:cNvSpPr txBox="1"/>
            <p:nvPr/>
          </p:nvSpPr>
          <p:spPr>
            <a:xfrm>
              <a:off x="4679801" y="4414790"/>
              <a:ext cx="2604564" cy="364186"/>
            </a:xfrm>
            <a:prstGeom prst="rect">
              <a:avLst/>
            </a:prstGeom>
            <a:noFill/>
          </p:spPr>
          <p:txBody>
            <a:bodyPr wrap="square" lIns="91440" tIns="45720" rIns="91440" bIns="45720" rtlCol="0" anchor="t">
              <a:spAutoFit/>
            </a:bodyPr>
            <a:lstStyle/>
            <a:p>
              <a:pPr>
                <a:lnSpc>
                  <a:spcPts val="1665"/>
                </a:lnSpc>
              </a:pPr>
              <a:r>
                <a:rPr lang="en-GB" dirty="0">
                  <a:solidFill>
                    <a:schemeClr val="bg1"/>
                  </a:solidFill>
                  <a:latin typeface="+mj-lt"/>
                  <a:ea typeface="Lato Light" charset="0"/>
                  <a:cs typeface="Lato Light" charset="0"/>
                </a:rPr>
                <a:t>Compartir la información con el equipo</a:t>
              </a:r>
            </a:p>
          </p:txBody>
        </p:sp>
        <p:sp>
          <p:nvSpPr>
            <p:cNvPr id="63" name="TextBox 30">
              <a:extLst>
                <a:ext uri="{FF2B5EF4-FFF2-40B4-BE49-F238E27FC236}">
                  <a16:creationId xmlns:a16="http://schemas.microsoft.com/office/drawing/2014/main" xmlns="" id="{29DD96F9-21FF-4B97-812F-268C253996F1}"/>
                </a:ext>
              </a:extLst>
            </p:cNvPr>
            <p:cNvSpPr txBox="1"/>
            <p:nvPr/>
          </p:nvSpPr>
          <p:spPr>
            <a:xfrm>
              <a:off x="4686887" y="4109320"/>
              <a:ext cx="756361" cy="272485"/>
            </a:xfrm>
            <a:prstGeom prst="rect">
              <a:avLst/>
            </a:prstGeom>
            <a:noFill/>
          </p:spPr>
          <p:txBody>
            <a:bodyPr wrap="none" rtlCol="0">
              <a:spAutoFit/>
            </a:bodyPr>
            <a:lstStyle/>
            <a:p>
              <a:r>
                <a:rPr lang="en-GB" sz="2000" b="1" dirty="0">
                  <a:solidFill>
                    <a:schemeClr val="bg1"/>
                  </a:solidFill>
                  <a:latin typeface="+mj-lt"/>
                  <a:ea typeface="Roboto" charset="0"/>
                  <a:cs typeface="Roboto" charset="0"/>
                </a:rPr>
                <a:t>Compartir</a:t>
              </a:r>
            </a:p>
          </p:txBody>
        </p:sp>
        <p:sp>
          <p:nvSpPr>
            <p:cNvPr id="64" name="TextBox 37">
              <a:extLst>
                <a:ext uri="{FF2B5EF4-FFF2-40B4-BE49-F238E27FC236}">
                  <a16:creationId xmlns:a16="http://schemas.microsoft.com/office/drawing/2014/main" xmlns="" id="{82000785-4B05-4E11-8F8B-778B196268FB}"/>
                </a:ext>
              </a:extLst>
            </p:cNvPr>
            <p:cNvSpPr txBox="1"/>
            <p:nvPr/>
          </p:nvSpPr>
          <p:spPr>
            <a:xfrm>
              <a:off x="8500301" y="3165343"/>
              <a:ext cx="2884408" cy="661125"/>
            </a:xfrm>
            <a:prstGeom prst="rect">
              <a:avLst/>
            </a:prstGeom>
            <a:noFill/>
          </p:spPr>
          <p:txBody>
            <a:bodyPr wrap="square" lIns="91440" tIns="45720" rIns="91440" bIns="45720" rtlCol="0" anchor="t">
              <a:spAutoFit/>
            </a:bodyPr>
            <a:lstStyle/>
            <a:p>
              <a:pPr>
                <a:lnSpc>
                  <a:spcPts val="1665"/>
                </a:lnSpc>
              </a:pPr>
              <a:r>
                <a:rPr lang="en-GB" dirty="0">
                  <a:solidFill>
                    <a:schemeClr val="bg1"/>
                  </a:solidFill>
                  <a:latin typeface="+mj-lt"/>
                  <a:ea typeface="Lato Light" charset="0"/>
                  <a:cs typeface="Lato Light" charset="0"/>
                </a:rPr>
                <a:t>alentar y recompensar a las personas que comunican información veraz sobre los problemas de la empresa</a:t>
              </a:r>
            </a:p>
          </p:txBody>
        </p:sp>
        <p:sp>
          <p:nvSpPr>
            <p:cNvPr id="65" name="TextBox 38">
              <a:extLst>
                <a:ext uri="{FF2B5EF4-FFF2-40B4-BE49-F238E27FC236}">
                  <a16:creationId xmlns:a16="http://schemas.microsoft.com/office/drawing/2014/main" xmlns="" id="{790652BD-A226-41DA-BDDD-A61E716D9ED7}"/>
                </a:ext>
              </a:extLst>
            </p:cNvPr>
            <p:cNvSpPr txBox="1"/>
            <p:nvPr/>
          </p:nvSpPr>
          <p:spPr>
            <a:xfrm>
              <a:off x="8483273" y="2938701"/>
              <a:ext cx="2505686" cy="272485"/>
            </a:xfrm>
            <a:prstGeom prst="rect">
              <a:avLst/>
            </a:prstGeom>
            <a:noFill/>
          </p:spPr>
          <p:txBody>
            <a:bodyPr wrap="none" lIns="91440" tIns="45720" rIns="91440" bIns="45720" rtlCol="0" anchor="t">
              <a:spAutoFit/>
            </a:bodyPr>
            <a:lstStyle/>
            <a:p>
              <a:r>
                <a:rPr lang="en-GB" sz="2000" b="1" dirty="0">
                  <a:solidFill>
                    <a:schemeClr val="bg1"/>
                  </a:solidFill>
                  <a:latin typeface="+mj-lt"/>
                  <a:ea typeface="Roboto" charset="0"/>
                  <a:cs typeface="Roboto" charset="0"/>
                </a:rPr>
                <a:t>Anima y recompensa</a:t>
              </a:r>
            </a:p>
          </p:txBody>
        </p:sp>
        <p:sp>
          <p:nvSpPr>
            <p:cNvPr id="66" name="TextBox 39">
              <a:extLst>
                <a:ext uri="{FF2B5EF4-FFF2-40B4-BE49-F238E27FC236}">
                  <a16:creationId xmlns:a16="http://schemas.microsoft.com/office/drawing/2014/main" xmlns="" id="{5BC8156D-5D0A-4FE8-BD26-092F6DD3D9F0}"/>
                </a:ext>
              </a:extLst>
            </p:cNvPr>
            <p:cNvSpPr txBox="1"/>
            <p:nvPr/>
          </p:nvSpPr>
          <p:spPr>
            <a:xfrm>
              <a:off x="4684624" y="3216797"/>
              <a:ext cx="2604564" cy="661125"/>
            </a:xfrm>
            <a:prstGeom prst="rect">
              <a:avLst/>
            </a:prstGeom>
            <a:noFill/>
          </p:spPr>
          <p:txBody>
            <a:bodyPr wrap="square" lIns="91440" tIns="45720" rIns="91440" bIns="45720" rtlCol="0" anchor="t">
              <a:spAutoFit/>
            </a:bodyPr>
            <a:lstStyle/>
            <a:p>
              <a:pPr>
                <a:lnSpc>
                  <a:spcPts val="1665"/>
                </a:lnSpc>
              </a:pPr>
              <a:r>
                <a:rPr lang="en-GB" dirty="0">
                  <a:solidFill>
                    <a:schemeClr val="bg1"/>
                  </a:solidFill>
                  <a:latin typeface="+mj-lt"/>
                  <a:ea typeface="Lato Light" charset="0"/>
                  <a:cs typeface="Lato Light" charset="0"/>
                </a:rPr>
                <a:t>Enfrentarse a la información que podría sugerir que la culpa es de la dirección de la empresa</a:t>
              </a:r>
            </a:p>
          </p:txBody>
        </p:sp>
        <p:sp>
          <p:nvSpPr>
            <p:cNvPr id="67" name="TextBox 40">
              <a:extLst>
                <a:ext uri="{FF2B5EF4-FFF2-40B4-BE49-F238E27FC236}">
                  <a16:creationId xmlns:a16="http://schemas.microsoft.com/office/drawing/2014/main" xmlns="" id="{EAD1C6E7-587E-4275-A7EE-BA756D04BC7D}"/>
                </a:ext>
              </a:extLst>
            </p:cNvPr>
            <p:cNvSpPr txBox="1"/>
            <p:nvPr/>
          </p:nvSpPr>
          <p:spPr>
            <a:xfrm>
              <a:off x="4701355" y="2938701"/>
              <a:ext cx="735842" cy="314405"/>
            </a:xfrm>
            <a:prstGeom prst="rect">
              <a:avLst/>
            </a:prstGeom>
            <a:noFill/>
          </p:spPr>
          <p:txBody>
            <a:bodyPr wrap="none" rtlCol="0">
              <a:spAutoFit/>
            </a:bodyPr>
            <a:lstStyle/>
            <a:p>
              <a:r>
                <a:rPr lang="en-GB" sz="2400" b="1" dirty="0">
                  <a:solidFill>
                    <a:schemeClr val="bg1"/>
                  </a:solidFill>
                  <a:latin typeface="+mj-lt"/>
                  <a:ea typeface="Roboto" charset="0"/>
                  <a:cs typeface="Roboto" charset="0"/>
                </a:rPr>
                <a:t>Cara</a:t>
              </a:r>
            </a:p>
          </p:txBody>
        </p:sp>
      </p:grpSp>
      <p:sp>
        <p:nvSpPr>
          <p:cNvPr id="24" name="TextBox 23">
            <a:extLst>
              <a:ext uri="{FF2B5EF4-FFF2-40B4-BE49-F238E27FC236}">
                <a16:creationId xmlns:a16="http://schemas.microsoft.com/office/drawing/2014/main" xmlns="" id="{4E91E03C-AE8B-4FA5-98C2-59570D839F30}"/>
              </a:ext>
            </a:extLst>
          </p:cNvPr>
          <p:cNvSpPr txBox="1"/>
          <p:nvPr/>
        </p:nvSpPr>
        <p:spPr>
          <a:xfrm>
            <a:off x="1414597" y="1069662"/>
            <a:ext cx="9231632" cy="461665"/>
          </a:xfrm>
          <a:prstGeom prst="rect">
            <a:avLst/>
          </a:prstGeom>
          <a:noFill/>
        </p:spPr>
        <p:txBody>
          <a:bodyPr wrap="square">
            <a:spAutoFit/>
          </a:bodyPr>
          <a:lstStyle/>
          <a:p>
            <a:pPr algn="l">
              <a:lnSpc>
                <a:spcPct val="100000"/>
              </a:lnSpc>
              <a:spcBef>
                <a:spcPts val="600"/>
              </a:spcBef>
            </a:pPr>
            <a:r>
              <a:rPr lang="en-GB" altLang="de-DE" sz="2400" b="1" dirty="0">
                <a:solidFill>
                  <a:srgbClr val="245473"/>
                </a:solidFill>
                <a:latin typeface="+mj-lt"/>
              </a:rPr>
              <a:t>Cuando sobrevivas a una crisis, no trates de dejarla atrás. </a:t>
            </a:r>
            <a:endParaRPr lang="en-US" sz="2400" dirty="0">
              <a:solidFill>
                <a:srgbClr val="245473"/>
              </a:solidFill>
            </a:endParaRPr>
          </a:p>
        </p:txBody>
      </p:sp>
    </p:spTree>
    <p:extLst>
      <p:ext uri="{BB962C8B-B14F-4D97-AF65-F5344CB8AC3E}">
        <p14:creationId xmlns:p14="http://schemas.microsoft.com/office/powerpoint/2010/main" val="202545595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889382" y="761944"/>
            <a:ext cx="8852375" cy="697353"/>
          </a:xfrm>
        </p:spPr>
        <p:txBody>
          <a:bodyPr>
            <a:normAutofit/>
          </a:bodyPr>
          <a:lstStyle/>
          <a:p>
            <a:r>
              <a:rPr lang="en-GB" dirty="0"/>
              <a:t>Cómo caen los poderoso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27948" y="1696908"/>
            <a:ext cx="2843426" cy="46836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100" b="1" dirty="0">
                <a:latin typeface="+mj-lt"/>
              </a:rPr>
              <a:t> Es posible remontar </a:t>
            </a:r>
            <a:r>
              <a:rPr lang="en-US" altLang="de-DE" sz="2100" dirty="0">
                <a:latin typeface="+mj-lt"/>
              </a:rPr>
              <a:t>la cuarta etapa, </a:t>
            </a:r>
            <a:r>
              <a:rPr lang="en-US" altLang="de-DE" sz="2100" b="1" dirty="0">
                <a:latin typeface="+mj-lt"/>
              </a:rPr>
              <a:t>pero es mejor evitar las etapas, sobre todo las últimas. </a:t>
            </a:r>
          </a:p>
          <a:p>
            <a:pPr algn="l">
              <a:lnSpc>
                <a:spcPct val="100000"/>
              </a:lnSpc>
              <a:spcBef>
                <a:spcPts val="600"/>
              </a:spcBef>
            </a:pPr>
            <a:r>
              <a:rPr lang="en-US" altLang="de-DE" sz="2100" dirty="0">
                <a:latin typeface="+mj-lt"/>
              </a:rPr>
              <a:t>El conocimiento de las cinco etapas sirve como caja de herramientas de diagnóstico. Es posible que reconozca que su empresa se encuentra en una de las primeras etapas y pueda solucionar el problema antes de llegar a la cuarta.</a:t>
            </a:r>
            <a:endParaRPr lang="en-GB" altLang="de-DE" sz="2100" dirty="0">
              <a:latin typeface="+mj-lt"/>
            </a:endParaRPr>
          </a:p>
        </p:txBody>
      </p:sp>
      <p:sp>
        <p:nvSpPr>
          <p:cNvPr id="51" name="object 25">
            <a:extLst>
              <a:ext uri="{FF2B5EF4-FFF2-40B4-BE49-F238E27FC236}">
                <a16:creationId xmlns:a16="http://schemas.microsoft.com/office/drawing/2014/main" xmlns="" id="{59263594-F341-40B7-B9FB-183368666F4A}"/>
              </a:ext>
            </a:extLst>
          </p:cNvPr>
          <p:cNvSpPr txBox="1"/>
          <p:nvPr/>
        </p:nvSpPr>
        <p:spPr>
          <a:xfrm>
            <a:off x="3156878" y="1946220"/>
            <a:ext cx="1585218" cy="2991540"/>
          </a:xfrm>
          <a:prstGeom prst="rect">
            <a:avLst/>
          </a:prstGeom>
          <a:solidFill>
            <a:schemeClr val="accent6">
              <a:alpha val="30000"/>
            </a:schemeClr>
          </a:solidFill>
          <a:ln>
            <a:noFill/>
          </a:ln>
        </p:spPr>
        <p:txBody>
          <a:bodyPr vert="horz" wrap="square" lIns="0" tIns="22860" rIns="0" bIns="0" rtlCol="0">
            <a:noAutofit/>
          </a:bodyPr>
          <a:lstStyle/>
          <a:p>
            <a:pPr marL="217804" marR="210185" indent="-635" algn="ctr">
              <a:lnSpc>
                <a:spcPts val="1900"/>
              </a:lnSpc>
              <a:spcBef>
                <a:spcPts val="180"/>
              </a:spcBef>
            </a:pPr>
            <a:r>
              <a:rPr lang="en-GB" sz="1600" b="1" spc="-5" dirty="0">
                <a:solidFill>
                  <a:schemeClr val="tx2"/>
                </a:solidFill>
                <a:latin typeface="+mj-lt"/>
                <a:cs typeface="Arial"/>
              </a:rPr>
              <a:t>Etapa </a:t>
            </a:r>
            <a:r>
              <a:rPr lang="en-GB" sz="1600" b="1" dirty="0">
                <a:solidFill>
                  <a:schemeClr val="tx2"/>
                </a:solidFill>
                <a:latin typeface="+mj-lt"/>
                <a:cs typeface="Arial"/>
              </a:rPr>
              <a:t>1: La </a:t>
            </a:r>
            <a:r>
              <a:rPr lang="en-GB" sz="1600" b="1" spc="10" dirty="0">
                <a:solidFill>
                  <a:schemeClr val="tx2"/>
                </a:solidFill>
                <a:latin typeface="+mj-lt"/>
                <a:cs typeface="Arial"/>
              </a:rPr>
              <a:t>arrogancia </a:t>
            </a:r>
            <a:r>
              <a:rPr lang="en-GB" sz="1600" b="1" spc="20" dirty="0">
                <a:solidFill>
                  <a:schemeClr val="tx2"/>
                </a:solidFill>
                <a:latin typeface="+mj-lt"/>
                <a:cs typeface="Arial"/>
              </a:rPr>
              <a:t>nacida </a:t>
            </a:r>
            <a:r>
              <a:rPr lang="en-GB" sz="1600" b="1" dirty="0">
                <a:solidFill>
                  <a:schemeClr val="tx2"/>
                </a:solidFill>
                <a:latin typeface="+mj-lt"/>
                <a:cs typeface="Arial"/>
              </a:rPr>
              <a:t>del </a:t>
            </a:r>
            <a:r>
              <a:rPr lang="en-GB" sz="1600" b="1" spc="25" dirty="0">
                <a:solidFill>
                  <a:schemeClr val="tx2"/>
                </a:solidFill>
                <a:latin typeface="+mj-lt"/>
                <a:cs typeface="Arial"/>
              </a:rPr>
              <a:t>éxito</a:t>
            </a:r>
            <a:endParaRPr lang="en-GB" sz="1600" b="1" dirty="0">
              <a:solidFill>
                <a:schemeClr val="tx2"/>
              </a:solidFill>
              <a:latin typeface="+mj-lt"/>
              <a:cs typeface="Arial"/>
            </a:endParaRPr>
          </a:p>
          <a:p>
            <a:pPr>
              <a:lnSpc>
                <a:spcPct val="100000"/>
              </a:lnSpc>
            </a:pPr>
            <a:endParaRPr lang="en-GB" sz="1600" dirty="0">
              <a:solidFill>
                <a:schemeClr val="tx2"/>
              </a:solidFill>
              <a:latin typeface="+mj-lt"/>
              <a:cs typeface="Arial"/>
            </a:endParaRPr>
          </a:p>
          <a:p>
            <a:pPr>
              <a:spcBef>
                <a:spcPts val="20"/>
              </a:spcBef>
            </a:pPr>
            <a:endParaRPr lang="en-GB" sz="1400" dirty="0">
              <a:solidFill>
                <a:schemeClr val="tx2"/>
              </a:solidFill>
              <a:latin typeface="+mj-lt"/>
              <a:cs typeface="Arial"/>
            </a:endParaRPr>
          </a:p>
          <a:p>
            <a:pPr marL="12065" marR="5080" algn="ctr">
              <a:lnSpc>
                <a:spcPts val="1600"/>
              </a:lnSpc>
            </a:pPr>
            <a:r>
              <a:rPr lang="en-GB" sz="1400" spc="-30" dirty="0">
                <a:solidFill>
                  <a:schemeClr val="tx2"/>
                </a:solidFill>
                <a:latin typeface="+mj-lt"/>
                <a:cs typeface="Arial"/>
              </a:rPr>
              <a:t>El </a:t>
            </a:r>
            <a:r>
              <a:rPr lang="en-GB" sz="1400" spc="15" dirty="0">
                <a:solidFill>
                  <a:schemeClr val="tx2"/>
                </a:solidFill>
                <a:latin typeface="+mj-lt"/>
                <a:cs typeface="Arial"/>
              </a:rPr>
              <a:t>punto de </a:t>
            </a:r>
            <a:r>
              <a:rPr lang="en-GB" sz="1400" spc="30" dirty="0">
                <a:solidFill>
                  <a:schemeClr val="tx2"/>
                </a:solidFill>
                <a:latin typeface="+mj-lt"/>
                <a:cs typeface="Arial"/>
              </a:rPr>
              <a:t>inflexión </a:t>
            </a:r>
            <a:r>
              <a:rPr lang="en-GB" sz="1400" spc="5" dirty="0">
                <a:solidFill>
                  <a:schemeClr val="tx2"/>
                </a:solidFill>
                <a:latin typeface="+mj-lt"/>
                <a:cs typeface="Arial"/>
              </a:rPr>
              <a:t>cultural </a:t>
            </a:r>
            <a:r>
              <a:rPr lang="en-GB" sz="1400" spc="-5" dirty="0">
                <a:solidFill>
                  <a:schemeClr val="tx2"/>
                </a:solidFill>
                <a:latin typeface="+mj-lt"/>
                <a:cs typeface="Arial"/>
              </a:rPr>
              <a:t>en el que el trabajo </a:t>
            </a:r>
            <a:r>
              <a:rPr lang="en-GB" sz="1400" spc="15" dirty="0">
                <a:solidFill>
                  <a:schemeClr val="tx2"/>
                </a:solidFill>
                <a:latin typeface="+mj-lt"/>
                <a:cs typeface="Arial"/>
              </a:rPr>
              <a:t>duro </a:t>
            </a:r>
            <a:r>
              <a:rPr lang="en-GB" sz="1400" spc="25" dirty="0">
                <a:solidFill>
                  <a:schemeClr val="tx2"/>
                </a:solidFill>
                <a:latin typeface="+mj-lt"/>
                <a:cs typeface="Arial"/>
              </a:rPr>
              <a:t>y la </a:t>
            </a:r>
            <a:r>
              <a:rPr lang="en-GB" sz="1400" spc="15" dirty="0">
                <a:solidFill>
                  <a:schemeClr val="tx2"/>
                </a:solidFill>
                <a:latin typeface="+mj-lt"/>
                <a:cs typeface="Arial"/>
              </a:rPr>
              <a:t>concentración </a:t>
            </a:r>
            <a:r>
              <a:rPr lang="en-GB" sz="1400" dirty="0">
                <a:solidFill>
                  <a:schemeClr val="tx2"/>
                </a:solidFill>
                <a:latin typeface="+mj-lt"/>
                <a:cs typeface="Arial"/>
              </a:rPr>
              <a:t>para </a:t>
            </a:r>
            <a:r>
              <a:rPr lang="en-GB" sz="1400" spc="-5" dirty="0">
                <a:solidFill>
                  <a:schemeClr val="tx2"/>
                </a:solidFill>
                <a:latin typeface="+mj-lt"/>
                <a:cs typeface="Arial"/>
              </a:rPr>
              <a:t>ganar </a:t>
            </a:r>
            <a:r>
              <a:rPr lang="en-GB" sz="1400" dirty="0">
                <a:solidFill>
                  <a:schemeClr val="tx2"/>
                </a:solidFill>
                <a:latin typeface="+mj-lt"/>
                <a:cs typeface="Arial"/>
              </a:rPr>
              <a:t>el </a:t>
            </a:r>
            <a:r>
              <a:rPr lang="en-GB" sz="1400" spc="5" dirty="0">
                <a:solidFill>
                  <a:schemeClr val="tx2"/>
                </a:solidFill>
                <a:latin typeface="+mj-lt"/>
                <a:cs typeface="Arial"/>
              </a:rPr>
              <a:t>negocio </a:t>
            </a:r>
            <a:r>
              <a:rPr lang="en-GB" sz="1400" dirty="0">
                <a:solidFill>
                  <a:schemeClr val="tx2"/>
                </a:solidFill>
                <a:latin typeface="+mj-lt"/>
                <a:cs typeface="Arial"/>
              </a:rPr>
              <a:t>se convierten </a:t>
            </a:r>
            <a:r>
              <a:rPr lang="en-GB" sz="1400" spc="-5" dirty="0">
                <a:solidFill>
                  <a:schemeClr val="tx2"/>
                </a:solidFill>
                <a:latin typeface="+mj-lt"/>
                <a:cs typeface="Arial"/>
              </a:rPr>
              <a:t>en un sentido </a:t>
            </a:r>
            <a:r>
              <a:rPr lang="en-GB" sz="1400" dirty="0">
                <a:solidFill>
                  <a:schemeClr val="tx2"/>
                </a:solidFill>
                <a:latin typeface="+mj-lt"/>
                <a:cs typeface="Arial"/>
              </a:rPr>
              <a:t>de </a:t>
            </a:r>
            <a:r>
              <a:rPr lang="en-GB" sz="1400" spc="-5" dirty="0">
                <a:solidFill>
                  <a:schemeClr val="tx2"/>
                </a:solidFill>
                <a:latin typeface="+mj-lt"/>
                <a:cs typeface="Arial"/>
              </a:rPr>
              <a:t>derecho </a:t>
            </a:r>
            <a:r>
              <a:rPr lang="en-GB" sz="1400" dirty="0">
                <a:solidFill>
                  <a:schemeClr val="tx2"/>
                </a:solidFill>
                <a:latin typeface="+mj-lt"/>
                <a:cs typeface="Arial"/>
              </a:rPr>
              <a:t>al </a:t>
            </a:r>
            <a:r>
              <a:rPr lang="en-GB" sz="1400" spc="15" dirty="0">
                <a:solidFill>
                  <a:schemeClr val="tx2"/>
                </a:solidFill>
                <a:latin typeface="+mj-lt"/>
                <a:cs typeface="Arial"/>
              </a:rPr>
              <a:t>éxito </a:t>
            </a:r>
            <a:r>
              <a:rPr lang="en-GB" sz="1400" dirty="0">
                <a:solidFill>
                  <a:schemeClr val="tx2"/>
                </a:solidFill>
                <a:latin typeface="+mj-lt"/>
                <a:cs typeface="Arial"/>
              </a:rPr>
              <a:t>futuro</a:t>
            </a:r>
            <a:r>
              <a:rPr lang="en-GB" sz="1400" spc="15" dirty="0">
                <a:solidFill>
                  <a:schemeClr val="tx2"/>
                </a:solidFill>
                <a:latin typeface="+mj-lt"/>
                <a:cs typeface="Arial"/>
              </a:rPr>
              <a:t>.</a:t>
            </a:r>
            <a:endParaRPr lang="en-GB" sz="1400" dirty="0">
              <a:solidFill>
                <a:schemeClr val="tx2"/>
              </a:solidFill>
              <a:latin typeface="+mj-lt"/>
              <a:cs typeface="Arial"/>
            </a:endParaRPr>
          </a:p>
        </p:txBody>
      </p:sp>
      <p:sp>
        <p:nvSpPr>
          <p:cNvPr id="6" name="Freihandform: Form 5">
            <a:extLst>
              <a:ext uri="{FF2B5EF4-FFF2-40B4-BE49-F238E27FC236}">
                <a16:creationId xmlns:a16="http://schemas.microsoft.com/office/drawing/2014/main" xmlns="" id="{B2AE5D6E-295E-42D8-AF5D-6AD2B0F75347}"/>
              </a:ext>
            </a:extLst>
          </p:cNvPr>
          <p:cNvSpPr/>
          <p:nvPr/>
        </p:nvSpPr>
        <p:spPr>
          <a:xfrm>
            <a:off x="3280543" y="2505477"/>
            <a:ext cx="8338726" cy="3518482"/>
          </a:xfrm>
          <a:custGeom>
            <a:avLst/>
            <a:gdLst>
              <a:gd name="connsiteX0" fmla="*/ 0 w 7934960"/>
              <a:gd name="connsiteY0" fmla="*/ 3101783 h 3518482"/>
              <a:gd name="connsiteX1" fmla="*/ 1676400 w 7934960"/>
              <a:gd name="connsiteY1" fmla="*/ 2553143 h 3518482"/>
              <a:gd name="connsiteX2" fmla="*/ 3322320 w 7934960"/>
              <a:gd name="connsiteY2" fmla="*/ 602423 h 3518482"/>
              <a:gd name="connsiteX3" fmla="*/ 3759200 w 7934960"/>
              <a:gd name="connsiteY3" fmla="*/ 267143 h 3518482"/>
              <a:gd name="connsiteX4" fmla="*/ 4602480 w 7934960"/>
              <a:gd name="connsiteY4" fmla="*/ 94423 h 3518482"/>
              <a:gd name="connsiteX5" fmla="*/ 5181600 w 7934960"/>
              <a:gd name="connsiteY5" fmla="*/ 1821623 h 3518482"/>
              <a:gd name="connsiteX6" fmla="*/ 5608320 w 7934960"/>
              <a:gd name="connsiteY6" fmla="*/ 1557463 h 3518482"/>
              <a:gd name="connsiteX7" fmla="*/ 6065520 w 7934960"/>
              <a:gd name="connsiteY7" fmla="*/ 2705543 h 3518482"/>
              <a:gd name="connsiteX8" fmla="*/ 6400800 w 7934960"/>
              <a:gd name="connsiteY8" fmla="*/ 2339783 h 3518482"/>
              <a:gd name="connsiteX9" fmla="*/ 6746240 w 7934960"/>
              <a:gd name="connsiteY9" fmla="*/ 3162743 h 3518482"/>
              <a:gd name="connsiteX10" fmla="*/ 7233920 w 7934960"/>
              <a:gd name="connsiteY10" fmla="*/ 2776663 h 3518482"/>
              <a:gd name="connsiteX11" fmla="*/ 7579360 w 7934960"/>
              <a:gd name="connsiteY11" fmla="*/ 3396423 h 3518482"/>
              <a:gd name="connsiteX12" fmla="*/ 7934960 w 7934960"/>
              <a:gd name="connsiteY12" fmla="*/ 3518343 h 3518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34960" h="3518482">
                <a:moveTo>
                  <a:pt x="0" y="3101783"/>
                </a:moveTo>
                <a:cubicBezTo>
                  <a:pt x="561340" y="3035743"/>
                  <a:pt x="1122680" y="2969703"/>
                  <a:pt x="1676400" y="2553143"/>
                </a:cubicBezTo>
                <a:cubicBezTo>
                  <a:pt x="2230120" y="2136583"/>
                  <a:pt x="2975187" y="983423"/>
                  <a:pt x="3322320" y="602423"/>
                </a:cubicBezTo>
                <a:cubicBezTo>
                  <a:pt x="3669453" y="221423"/>
                  <a:pt x="3545840" y="351810"/>
                  <a:pt x="3759200" y="267143"/>
                </a:cubicBezTo>
                <a:cubicBezTo>
                  <a:pt x="3972560" y="182476"/>
                  <a:pt x="4365413" y="-164657"/>
                  <a:pt x="4602480" y="94423"/>
                </a:cubicBezTo>
                <a:cubicBezTo>
                  <a:pt x="4839547" y="353503"/>
                  <a:pt x="5013960" y="1577783"/>
                  <a:pt x="5181600" y="1821623"/>
                </a:cubicBezTo>
                <a:cubicBezTo>
                  <a:pt x="5349240" y="2065463"/>
                  <a:pt x="5461000" y="1410143"/>
                  <a:pt x="5608320" y="1557463"/>
                </a:cubicBezTo>
                <a:cubicBezTo>
                  <a:pt x="5755640" y="1704783"/>
                  <a:pt x="5933440" y="2575156"/>
                  <a:pt x="6065520" y="2705543"/>
                </a:cubicBezTo>
                <a:cubicBezTo>
                  <a:pt x="6197600" y="2835930"/>
                  <a:pt x="6287347" y="2263583"/>
                  <a:pt x="6400800" y="2339783"/>
                </a:cubicBezTo>
                <a:cubicBezTo>
                  <a:pt x="6514253" y="2415983"/>
                  <a:pt x="6607387" y="3089930"/>
                  <a:pt x="6746240" y="3162743"/>
                </a:cubicBezTo>
                <a:cubicBezTo>
                  <a:pt x="6885093" y="3235556"/>
                  <a:pt x="7095067" y="2737716"/>
                  <a:pt x="7233920" y="2776663"/>
                </a:cubicBezTo>
                <a:cubicBezTo>
                  <a:pt x="7372773" y="2815610"/>
                  <a:pt x="7462520" y="3272810"/>
                  <a:pt x="7579360" y="3396423"/>
                </a:cubicBezTo>
                <a:cubicBezTo>
                  <a:pt x="7696200" y="3520036"/>
                  <a:pt x="7815580" y="3519189"/>
                  <a:pt x="7934960" y="3518343"/>
                </a:cubicBezTo>
              </a:path>
            </a:pathLst>
          </a:cu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object 25">
            <a:extLst>
              <a:ext uri="{FF2B5EF4-FFF2-40B4-BE49-F238E27FC236}">
                <a16:creationId xmlns:a16="http://schemas.microsoft.com/office/drawing/2014/main" xmlns="" id="{218D54CB-EDD0-4F2D-8FAE-8686B16AB153}"/>
              </a:ext>
            </a:extLst>
          </p:cNvPr>
          <p:cNvSpPr txBox="1"/>
          <p:nvPr/>
        </p:nvSpPr>
        <p:spPr>
          <a:xfrm>
            <a:off x="4927600" y="1946220"/>
            <a:ext cx="1585218" cy="2991540"/>
          </a:xfrm>
          <a:prstGeom prst="rect">
            <a:avLst/>
          </a:prstGeom>
          <a:solidFill>
            <a:schemeClr val="accent6">
              <a:lumMod val="75000"/>
              <a:alpha val="30000"/>
            </a:schemeClr>
          </a:solidFill>
          <a:ln>
            <a:noFill/>
          </a:ln>
        </p:spPr>
        <p:txBody>
          <a:bodyPr vert="horz" wrap="square" lIns="0" tIns="22860" rIns="0" bIns="0" rtlCol="0">
            <a:noAutofit/>
          </a:bodyPr>
          <a:lstStyle/>
          <a:p>
            <a:pPr marL="217804" marR="210185" indent="-635" algn="ctr">
              <a:lnSpc>
                <a:spcPts val="1900"/>
              </a:lnSpc>
              <a:spcBef>
                <a:spcPts val="180"/>
              </a:spcBef>
            </a:pPr>
            <a:r>
              <a:rPr lang="en-GB" sz="1600" b="1" spc="-5">
                <a:solidFill>
                  <a:schemeClr val="tx2"/>
                </a:solidFill>
                <a:latin typeface="+mj-lt"/>
                <a:cs typeface="Arial"/>
              </a:rPr>
              <a:t>Etapa 2: Búsqueda indisciplinada de más</a:t>
            </a:r>
          </a:p>
          <a:p>
            <a:pPr>
              <a:spcBef>
                <a:spcPts val="20"/>
              </a:spcBef>
            </a:pPr>
            <a:endParaRPr lang="en-GB" sz="1400" dirty="0">
              <a:solidFill>
                <a:schemeClr val="tx2"/>
              </a:solidFill>
              <a:latin typeface="+mj-lt"/>
              <a:cs typeface="Arial"/>
            </a:endParaRPr>
          </a:p>
          <a:p>
            <a:pPr marL="12065" marR="5080" algn="ctr">
              <a:lnSpc>
                <a:spcPts val="1600"/>
              </a:lnSpc>
            </a:pPr>
            <a:r>
              <a:rPr lang="en-GB" sz="1400" spc="-30">
                <a:solidFill>
                  <a:schemeClr val="tx2"/>
                </a:solidFill>
                <a:latin typeface="+mj-lt"/>
                <a:cs typeface="Arial"/>
              </a:rPr>
              <a:t>Construir desde la primera etapa es que la gente persiga objetivos que la alejen de su núcleo, de su ventaja competitiva, todo en nombre del crecimiento, o de la gran estrategia.</a:t>
            </a:r>
            <a:endParaRPr lang="en-GB" sz="1400" spc="-30" dirty="0">
              <a:solidFill>
                <a:schemeClr val="tx2"/>
              </a:solidFill>
              <a:latin typeface="+mj-lt"/>
              <a:cs typeface="Arial"/>
            </a:endParaRPr>
          </a:p>
        </p:txBody>
      </p:sp>
      <p:sp>
        <p:nvSpPr>
          <p:cNvPr id="11" name="object 25">
            <a:extLst>
              <a:ext uri="{FF2B5EF4-FFF2-40B4-BE49-F238E27FC236}">
                <a16:creationId xmlns:a16="http://schemas.microsoft.com/office/drawing/2014/main" xmlns="" id="{0D6015C8-25E3-4B49-B49D-F30F6FD512CE}"/>
              </a:ext>
            </a:extLst>
          </p:cNvPr>
          <p:cNvSpPr txBox="1"/>
          <p:nvPr/>
        </p:nvSpPr>
        <p:spPr>
          <a:xfrm>
            <a:off x="6698322" y="1946220"/>
            <a:ext cx="1585218" cy="2991540"/>
          </a:xfrm>
          <a:prstGeom prst="rect">
            <a:avLst/>
          </a:prstGeom>
          <a:solidFill>
            <a:schemeClr val="tx2">
              <a:alpha val="30000"/>
            </a:schemeClr>
          </a:solidFill>
          <a:ln>
            <a:noFill/>
          </a:ln>
        </p:spPr>
        <p:txBody>
          <a:bodyPr vert="horz" wrap="square" lIns="0" tIns="22860" rIns="0" bIns="0" rtlCol="0">
            <a:noAutofit/>
          </a:bodyPr>
          <a:lstStyle/>
          <a:p>
            <a:pPr marL="217804" marR="210185" indent="-635" algn="ctr">
              <a:lnSpc>
                <a:spcPts val="1900"/>
              </a:lnSpc>
              <a:spcBef>
                <a:spcPts val="180"/>
              </a:spcBef>
            </a:pPr>
            <a:r>
              <a:rPr lang="en-GB" sz="1600" b="1" spc="-5">
                <a:solidFill>
                  <a:schemeClr val="tx2"/>
                </a:solidFill>
                <a:latin typeface="+mj-lt"/>
                <a:cs typeface="Arial"/>
              </a:rPr>
              <a:t>Etapa 3: Negación del riesgo</a:t>
            </a:r>
          </a:p>
          <a:p>
            <a:pPr marL="217804" marR="210185" indent="-635" algn="ctr">
              <a:lnSpc>
                <a:spcPts val="1900"/>
              </a:lnSpc>
              <a:spcBef>
                <a:spcPts val="180"/>
              </a:spcBef>
            </a:pPr>
            <a:endParaRPr lang="en-GB" sz="1600" b="1" spc="-5">
              <a:solidFill>
                <a:schemeClr val="tx2"/>
              </a:solidFill>
              <a:latin typeface="+mj-lt"/>
              <a:cs typeface="Arial"/>
            </a:endParaRPr>
          </a:p>
          <a:p>
            <a:pPr>
              <a:lnSpc>
                <a:spcPct val="100000"/>
              </a:lnSpc>
            </a:pPr>
            <a:endParaRPr lang="en-GB" sz="1600" dirty="0">
              <a:solidFill>
                <a:schemeClr val="tx2"/>
              </a:solidFill>
              <a:latin typeface="+mj-lt"/>
              <a:cs typeface="Arial"/>
            </a:endParaRPr>
          </a:p>
          <a:p>
            <a:pPr>
              <a:spcBef>
                <a:spcPts val="20"/>
              </a:spcBef>
            </a:pPr>
            <a:endParaRPr lang="en-GB" sz="1400" dirty="0">
              <a:solidFill>
                <a:schemeClr val="tx2"/>
              </a:solidFill>
              <a:latin typeface="+mj-lt"/>
              <a:cs typeface="Arial"/>
            </a:endParaRPr>
          </a:p>
          <a:p>
            <a:pPr marL="12065" marR="5080" algn="ctr">
              <a:lnSpc>
                <a:spcPts val="1600"/>
              </a:lnSpc>
            </a:pPr>
            <a:r>
              <a:rPr lang="en-GB" sz="1400" spc="-30">
                <a:solidFill>
                  <a:schemeClr val="tx2"/>
                </a:solidFill>
                <a:latin typeface="+mj-lt"/>
                <a:cs typeface="Arial"/>
              </a:rPr>
              <a:t>Perseguir cosas que no forman parte de tu núcleo, no ver los problemas.</a:t>
            </a:r>
            <a:endParaRPr lang="en-GB" sz="1400" spc="-30" dirty="0">
              <a:solidFill>
                <a:schemeClr val="tx2"/>
              </a:solidFill>
              <a:latin typeface="+mj-lt"/>
              <a:cs typeface="Arial"/>
            </a:endParaRPr>
          </a:p>
        </p:txBody>
      </p:sp>
      <p:sp>
        <p:nvSpPr>
          <p:cNvPr id="14" name="object 25">
            <a:extLst>
              <a:ext uri="{FF2B5EF4-FFF2-40B4-BE49-F238E27FC236}">
                <a16:creationId xmlns:a16="http://schemas.microsoft.com/office/drawing/2014/main" xmlns="" id="{A0B3E0BD-55F5-44C6-8525-77853E200DC8}"/>
              </a:ext>
            </a:extLst>
          </p:cNvPr>
          <p:cNvSpPr txBox="1"/>
          <p:nvPr/>
        </p:nvSpPr>
        <p:spPr>
          <a:xfrm>
            <a:off x="8469044" y="1946220"/>
            <a:ext cx="1585218" cy="2991540"/>
          </a:xfrm>
          <a:prstGeom prst="rect">
            <a:avLst/>
          </a:prstGeom>
          <a:solidFill>
            <a:schemeClr val="accent2">
              <a:alpha val="30000"/>
            </a:schemeClr>
          </a:solidFill>
          <a:ln>
            <a:noFill/>
          </a:ln>
        </p:spPr>
        <p:txBody>
          <a:bodyPr vert="horz" wrap="square" lIns="0" tIns="22860" rIns="0" bIns="0" rtlCol="0">
            <a:noAutofit/>
          </a:bodyPr>
          <a:lstStyle/>
          <a:p>
            <a:pPr marL="217804" marR="210185" indent="-635" algn="ctr">
              <a:lnSpc>
                <a:spcPts val="1900"/>
              </a:lnSpc>
              <a:spcBef>
                <a:spcPts val="180"/>
              </a:spcBef>
            </a:pPr>
            <a:r>
              <a:rPr lang="en-GB" sz="1600" b="1" spc="-5">
                <a:solidFill>
                  <a:schemeClr val="tx2"/>
                </a:solidFill>
                <a:latin typeface="+mj-lt"/>
                <a:cs typeface="Arial"/>
              </a:rPr>
              <a:t>Etapa 4: Aferrarse a la salvación</a:t>
            </a:r>
          </a:p>
          <a:p>
            <a:pPr>
              <a:lnSpc>
                <a:spcPct val="100000"/>
              </a:lnSpc>
            </a:pPr>
            <a:endParaRPr lang="en-GB" sz="1600" dirty="0">
              <a:solidFill>
                <a:schemeClr val="tx2"/>
              </a:solidFill>
              <a:latin typeface="+mj-lt"/>
              <a:cs typeface="Arial"/>
            </a:endParaRPr>
          </a:p>
          <a:p>
            <a:pPr>
              <a:spcBef>
                <a:spcPts val="20"/>
              </a:spcBef>
            </a:pPr>
            <a:endParaRPr lang="en-GB" sz="1400" dirty="0">
              <a:solidFill>
                <a:schemeClr val="tx2"/>
              </a:solidFill>
              <a:latin typeface="+mj-lt"/>
              <a:cs typeface="Arial"/>
            </a:endParaRPr>
          </a:p>
          <a:p>
            <a:pPr marL="12065" marR="5080" algn="ctr">
              <a:lnSpc>
                <a:spcPts val="1600"/>
              </a:lnSpc>
            </a:pPr>
            <a:r>
              <a:rPr lang="en-GB" sz="1400" spc="-30">
                <a:solidFill>
                  <a:schemeClr val="tx2"/>
                </a:solidFill>
                <a:latin typeface="+mj-lt"/>
                <a:cs typeface="Arial"/>
              </a:rPr>
              <a:t>La bala de plata, abandonar el volante y perseguir cosas fuera del núcleo.</a:t>
            </a:r>
            <a:endParaRPr lang="en-GB" sz="1400" spc="-30" dirty="0">
              <a:solidFill>
                <a:schemeClr val="tx2"/>
              </a:solidFill>
              <a:latin typeface="+mj-lt"/>
              <a:cs typeface="Arial"/>
            </a:endParaRPr>
          </a:p>
        </p:txBody>
      </p:sp>
      <p:sp>
        <p:nvSpPr>
          <p:cNvPr id="15" name="object 25">
            <a:extLst>
              <a:ext uri="{FF2B5EF4-FFF2-40B4-BE49-F238E27FC236}">
                <a16:creationId xmlns:a16="http://schemas.microsoft.com/office/drawing/2014/main" xmlns="" id="{630D3B3F-353C-4EA1-B3A1-CB6B792D89F4}"/>
              </a:ext>
            </a:extLst>
          </p:cNvPr>
          <p:cNvSpPr txBox="1"/>
          <p:nvPr/>
        </p:nvSpPr>
        <p:spPr>
          <a:xfrm>
            <a:off x="10239766" y="1946220"/>
            <a:ext cx="1585218" cy="2991540"/>
          </a:xfrm>
          <a:prstGeom prst="rect">
            <a:avLst/>
          </a:prstGeom>
          <a:solidFill>
            <a:schemeClr val="accent6"/>
          </a:solidFill>
          <a:ln>
            <a:noFill/>
          </a:ln>
        </p:spPr>
        <p:txBody>
          <a:bodyPr vert="horz" wrap="square" lIns="0" tIns="22860" rIns="0" bIns="0" rtlCol="0">
            <a:noAutofit/>
          </a:bodyPr>
          <a:lstStyle/>
          <a:p>
            <a:pPr marL="217804" marR="210185" indent="-635" algn="ctr">
              <a:lnSpc>
                <a:spcPts val="1900"/>
              </a:lnSpc>
              <a:spcBef>
                <a:spcPts val="180"/>
              </a:spcBef>
            </a:pPr>
            <a:r>
              <a:rPr lang="en-GB" sz="1600" b="1" spc="-5">
                <a:solidFill>
                  <a:schemeClr val="bg1"/>
                </a:solidFill>
                <a:latin typeface="+mj-lt"/>
                <a:cs typeface="Arial"/>
              </a:rPr>
              <a:t>Etapa 5: Recuperación y renovación</a:t>
            </a:r>
          </a:p>
          <a:p>
            <a:pPr marL="217804" marR="210185" indent="-635" algn="ctr">
              <a:lnSpc>
                <a:spcPts val="1900"/>
              </a:lnSpc>
              <a:spcBef>
                <a:spcPts val="180"/>
              </a:spcBef>
            </a:pPr>
            <a:endParaRPr lang="en-GB" sz="1600" b="1" spc="-5">
              <a:solidFill>
                <a:schemeClr val="bg1"/>
              </a:solidFill>
              <a:latin typeface="+mj-lt"/>
              <a:cs typeface="Arial"/>
            </a:endParaRPr>
          </a:p>
          <a:p>
            <a:pPr>
              <a:spcBef>
                <a:spcPts val="20"/>
              </a:spcBef>
            </a:pPr>
            <a:endParaRPr lang="en-GB" sz="1400" dirty="0">
              <a:solidFill>
                <a:schemeClr val="bg1"/>
              </a:solidFill>
              <a:latin typeface="+mj-lt"/>
              <a:cs typeface="Arial"/>
            </a:endParaRPr>
          </a:p>
        </p:txBody>
      </p:sp>
      <p:sp>
        <p:nvSpPr>
          <p:cNvPr id="21" name="TextBox 87">
            <a:extLst>
              <a:ext uri="{FF2B5EF4-FFF2-40B4-BE49-F238E27FC236}">
                <a16:creationId xmlns:a16="http://schemas.microsoft.com/office/drawing/2014/main" xmlns="" id="{EA3A2207-6DCC-4FEE-970F-12A218EF8A3A}"/>
              </a:ext>
            </a:extLst>
          </p:cNvPr>
          <p:cNvSpPr txBox="1"/>
          <p:nvPr/>
        </p:nvSpPr>
        <p:spPr>
          <a:xfrm>
            <a:off x="550278" y="6528494"/>
            <a:ext cx="647028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Fuente: Adaptado de Jim Collins, "How the Mighty Fall and Why Some Companies Never Give In" y Eli </a:t>
            </a:r>
            <a:r>
              <a:rPr lang="en-GB" sz="1000" dirty="0" err="1">
                <a:latin typeface="+mj-lt"/>
                <a:ea typeface="League Spartan" charset="0"/>
                <a:cs typeface="Poppins" pitchFamily="2" charset="77"/>
              </a:rPr>
              <a:t>Zelkha</a:t>
            </a:r>
            <a:endParaRPr lang="en-GB" sz="1000" dirty="0">
              <a:latin typeface="+mj-lt"/>
              <a:ea typeface="League Spartan" charset="0"/>
              <a:cs typeface="Poppins" pitchFamily="2" charset="77"/>
            </a:endParaRPr>
          </a:p>
        </p:txBody>
      </p:sp>
      <p:sp>
        <p:nvSpPr>
          <p:cNvPr id="7" name="Rechteck 6">
            <a:extLst>
              <a:ext uri="{FF2B5EF4-FFF2-40B4-BE49-F238E27FC236}">
                <a16:creationId xmlns:a16="http://schemas.microsoft.com/office/drawing/2014/main" xmlns="" id="{3993E674-5585-4A17-96AC-434C9E29F07E}"/>
              </a:ext>
            </a:extLst>
          </p:cNvPr>
          <p:cNvSpPr/>
          <p:nvPr/>
        </p:nvSpPr>
        <p:spPr>
          <a:xfrm>
            <a:off x="10139422" y="5171440"/>
            <a:ext cx="1685562" cy="1056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Freihandform: Form 4">
            <a:extLst>
              <a:ext uri="{FF2B5EF4-FFF2-40B4-BE49-F238E27FC236}">
                <a16:creationId xmlns:a16="http://schemas.microsoft.com/office/drawing/2014/main" xmlns="" id="{48F0A160-D9CA-46D5-A2B9-1788280BDD5E}"/>
              </a:ext>
            </a:extLst>
          </p:cNvPr>
          <p:cNvSpPr/>
          <p:nvPr/>
        </p:nvSpPr>
        <p:spPr>
          <a:xfrm>
            <a:off x="10149582" y="3860800"/>
            <a:ext cx="1585218" cy="1490705"/>
          </a:xfrm>
          <a:custGeom>
            <a:avLst/>
            <a:gdLst>
              <a:gd name="connsiteX0" fmla="*/ 0 w 1554480"/>
              <a:gd name="connsiteY0" fmla="*/ 1300480 h 1490705"/>
              <a:gd name="connsiteX1" fmla="*/ 304800 w 1554480"/>
              <a:gd name="connsiteY1" fmla="*/ 1381760 h 1490705"/>
              <a:gd name="connsiteX2" fmla="*/ 1554480 w 1554480"/>
              <a:gd name="connsiteY2" fmla="*/ 0 h 1490705"/>
            </a:gdLst>
            <a:ahLst/>
            <a:cxnLst>
              <a:cxn ang="0">
                <a:pos x="connsiteX0" y="connsiteY0"/>
              </a:cxn>
              <a:cxn ang="0">
                <a:pos x="connsiteX1" y="connsiteY1"/>
              </a:cxn>
              <a:cxn ang="0">
                <a:pos x="connsiteX2" y="connsiteY2"/>
              </a:cxn>
            </a:cxnLst>
            <a:rect l="l" t="t" r="r" b="b"/>
            <a:pathLst>
              <a:path w="1554480" h="1490705">
                <a:moveTo>
                  <a:pt x="0" y="1300480"/>
                </a:moveTo>
                <a:cubicBezTo>
                  <a:pt x="22860" y="1449493"/>
                  <a:pt x="45720" y="1598507"/>
                  <a:pt x="304800" y="1381760"/>
                </a:cubicBezTo>
                <a:cubicBezTo>
                  <a:pt x="563880" y="1165013"/>
                  <a:pt x="1059180" y="582506"/>
                  <a:pt x="1554480" y="0"/>
                </a:cubicBezTo>
              </a:path>
            </a:pathLst>
          </a:cu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8974244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524626"/>
            <a:ext cx="8852375" cy="697353"/>
          </a:xfrm>
        </p:spPr>
        <p:txBody>
          <a:bodyPr>
            <a:normAutofit/>
          </a:bodyPr>
          <a:lstStyle/>
          <a:p>
            <a:r>
              <a:rPr lang="en-GB" dirty="0"/>
              <a:t>Cómo caen los poderoso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8" y="2927445"/>
            <a:ext cx="1856039" cy="119037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3600" dirty="0">
                <a:latin typeface="+mj-lt"/>
              </a:rPr>
              <a:t>Puntos clave:</a:t>
            </a:r>
            <a:endParaRPr lang="en-GB" altLang="de-DE" sz="3600" dirty="0">
              <a:latin typeface="+mj-lt"/>
            </a:endParaRPr>
          </a:p>
        </p:txBody>
      </p:sp>
      <p:sp>
        <p:nvSpPr>
          <p:cNvPr id="21" name="TextBox 87">
            <a:extLst>
              <a:ext uri="{FF2B5EF4-FFF2-40B4-BE49-F238E27FC236}">
                <a16:creationId xmlns:a16="http://schemas.microsoft.com/office/drawing/2014/main" xmlns="" id="{EA3A2207-6DCC-4FEE-970F-12A218EF8A3A}"/>
              </a:ext>
            </a:extLst>
          </p:cNvPr>
          <p:cNvSpPr txBox="1"/>
          <p:nvPr/>
        </p:nvSpPr>
        <p:spPr>
          <a:xfrm>
            <a:off x="550278" y="6528494"/>
            <a:ext cx="647028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Fuente: Adaptado de Jim Collins, "How the Mighty Fall and Why Some Companies Never Give In" y Eli </a:t>
            </a:r>
            <a:r>
              <a:rPr lang="en-GB" sz="1000" dirty="0" err="1">
                <a:latin typeface="+mj-lt"/>
                <a:ea typeface="League Spartan" charset="0"/>
                <a:cs typeface="Poppins" pitchFamily="2" charset="77"/>
              </a:rPr>
              <a:t>Zelkha</a:t>
            </a:r>
            <a:endParaRPr lang="en-GB" sz="1000" dirty="0">
              <a:latin typeface="+mj-lt"/>
              <a:ea typeface="League Spartan" charset="0"/>
              <a:cs typeface="Poppins" pitchFamily="2" charset="77"/>
            </a:endParaRPr>
          </a:p>
        </p:txBody>
      </p:sp>
      <p:sp>
        <p:nvSpPr>
          <p:cNvPr id="7" name="Rechteck 6">
            <a:extLst>
              <a:ext uri="{FF2B5EF4-FFF2-40B4-BE49-F238E27FC236}">
                <a16:creationId xmlns:a16="http://schemas.microsoft.com/office/drawing/2014/main" xmlns="" id="{3993E674-5585-4A17-96AC-434C9E29F07E}"/>
              </a:ext>
            </a:extLst>
          </p:cNvPr>
          <p:cNvSpPr/>
          <p:nvPr/>
        </p:nvSpPr>
        <p:spPr>
          <a:xfrm>
            <a:off x="10139422" y="5171440"/>
            <a:ext cx="1685562" cy="1056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Freeform 43">
            <a:extLst>
              <a:ext uri="{FF2B5EF4-FFF2-40B4-BE49-F238E27FC236}">
                <a16:creationId xmlns:a16="http://schemas.microsoft.com/office/drawing/2014/main" xmlns="" id="{13A6E936-9A8C-4F27-9933-76E26D5DD7C6}"/>
              </a:ext>
            </a:extLst>
          </p:cNvPr>
          <p:cNvSpPr>
            <a:spLocks/>
          </p:cNvSpPr>
          <p:nvPr/>
        </p:nvSpPr>
        <p:spPr bwMode="auto">
          <a:xfrm>
            <a:off x="4637282" y="3473243"/>
            <a:ext cx="7004440" cy="133376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18" name="Freeform 36">
            <a:extLst>
              <a:ext uri="{FF2B5EF4-FFF2-40B4-BE49-F238E27FC236}">
                <a16:creationId xmlns:a16="http://schemas.microsoft.com/office/drawing/2014/main" xmlns="" id="{72AC7196-E3D5-4962-BE37-04C2FDA12D07}"/>
              </a:ext>
            </a:extLst>
          </p:cNvPr>
          <p:cNvSpPr>
            <a:spLocks/>
          </p:cNvSpPr>
          <p:nvPr/>
        </p:nvSpPr>
        <p:spPr bwMode="auto">
          <a:xfrm>
            <a:off x="3914336" y="3473244"/>
            <a:ext cx="1449185" cy="130342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19" name="Freeform 37">
            <a:extLst>
              <a:ext uri="{FF2B5EF4-FFF2-40B4-BE49-F238E27FC236}">
                <a16:creationId xmlns:a16="http://schemas.microsoft.com/office/drawing/2014/main" xmlns="" id="{242A148C-4717-4214-A402-24BA0AA53EE7}"/>
              </a:ext>
            </a:extLst>
          </p:cNvPr>
          <p:cNvSpPr>
            <a:spLocks/>
          </p:cNvSpPr>
          <p:nvPr/>
        </p:nvSpPr>
        <p:spPr bwMode="auto">
          <a:xfrm>
            <a:off x="3914336" y="3473244"/>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22" name="Rectangle 48">
            <a:extLst>
              <a:ext uri="{FF2B5EF4-FFF2-40B4-BE49-F238E27FC236}">
                <a16:creationId xmlns:a16="http://schemas.microsoft.com/office/drawing/2014/main" xmlns="" id="{954B69F5-D996-441E-B795-683939A721C5}"/>
              </a:ext>
            </a:extLst>
          </p:cNvPr>
          <p:cNvSpPr>
            <a:spLocks/>
          </p:cNvSpPr>
          <p:nvPr/>
        </p:nvSpPr>
        <p:spPr bwMode="auto">
          <a:xfrm>
            <a:off x="4222722" y="3784328"/>
            <a:ext cx="484236"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US" sz="3200" b="1" spc="113" dirty="0">
                <a:solidFill>
                  <a:schemeClr val="bg1"/>
                </a:solidFill>
                <a:latin typeface="Roboto" charset="0"/>
                <a:ea typeface="Roboto" charset="0"/>
                <a:cs typeface="Roboto" charset="0"/>
                <a:sym typeface="Bebas Neue" charset="0"/>
              </a:rPr>
              <a:t>02</a:t>
            </a:r>
          </a:p>
        </p:txBody>
      </p:sp>
      <p:sp>
        <p:nvSpPr>
          <p:cNvPr id="23" name="TextBox 49">
            <a:extLst>
              <a:ext uri="{FF2B5EF4-FFF2-40B4-BE49-F238E27FC236}">
                <a16:creationId xmlns:a16="http://schemas.microsoft.com/office/drawing/2014/main" xmlns="" id="{F14A08AD-642C-47B6-BA3F-31928D2A8EFB}"/>
              </a:ext>
            </a:extLst>
          </p:cNvPr>
          <p:cNvSpPr txBox="1"/>
          <p:nvPr/>
        </p:nvSpPr>
        <p:spPr>
          <a:xfrm>
            <a:off x="5429904" y="3552864"/>
            <a:ext cx="6067961" cy="1015663"/>
          </a:xfrm>
          <a:prstGeom prst="rect">
            <a:avLst/>
          </a:prstGeom>
          <a:noFill/>
        </p:spPr>
        <p:txBody>
          <a:bodyPr wrap="square" rtlCol="0">
            <a:spAutoFit/>
          </a:bodyPr>
          <a:lstStyle/>
          <a:p>
            <a:r>
              <a:rPr lang="en-US" sz="2000" b="1" dirty="0">
                <a:solidFill>
                  <a:schemeClr val="bg1"/>
                </a:solidFill>
                <a:latin typeface="+mj-lt"/>
                <a:ea typeface="Lato Light" charset="0"/>
                <a:cs typeface="Lato Light" charset="0"/>
              </a:rPr>
              <a:t>Conozca cuáles son las etapas del declive de una empresa y en qué punto se encuentra la suya. </a:t>
            </a:r>
            <a:r>
              <a:rPr lang="en-US" sz="2000" dirty="0">
                <a:solidFill>
                  <a:schemeClr val="bg1"/>
                </a:solidFill>
                <a:latin typeface="+mj-lt"/>
                <a:ea typeface="Lato Light" charset="0"/>
                <a:cs typeface="Lato Light" charset="0"/>
              </a:rPr>
              <a:t>Tal vez pueda evitar que su empresa caiga en el declive.</a:t>
            </a:r>
          </a:p>
        </p:txBody>
      </p:sp>
      <p:sp>
        <p:nvSpPr>
          <p:cNvPr id="24" name="Freeform 43">
            <a:extLst>
              <a:ext uri="{FF2B5EF4-FFF2-40B4-BE49-F238E27FC236}">
                <a16:creationId xmlns:a16="http://schemas.microsoft.com/office/drawing/2014/main" xmlns="" id="{E70E40B2-4F68-4465-A6C3-23D539FB67C7}"/>
              </a:ext>
            </a:extLst>
          </p:cNvPr>
          <p:cNvSpPr>
            <a:spLocks/>
          </p:cNvSpPr>
          <p:nvPr/>
        </p:nvSpPr>
        <p:spPr bwMode="auto">
          <a:xfrm>
            <a:off x="4637282" y="4916884"/>
            <a:ext cx="7004440" cy="140038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25" name="Freeform 36">
            <a:extLst>
              <a:ext uri="{FF2B5EF4-FFF2-40B4-BE49-F238E27FC236}">
                <a16:creationId xmlns:a16="http://schemas.microsoft.com/office/drawing/2014/main" xmlns="" id="{649FE9EE-4376-45D2-A835-3383F9520B56}"/>
              </a:ext>
            </a:extLst>
          </p:cNvPr>
          <p:cNvSpPr>
            <a:spLocks/>
          </p:cNvSpPr>
          <p:nvPr/>
        </p:nvSpPr>
        <p:spPr bwMode="auto">
          <a:xfrm>
            <a:off x="3890620" y="4916884"/>
            <a:ext cx="1485693" cy="137709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26" name="Freeform 37">
            <a:extLst>
              <a:ext uri="{FF2B5EF4-FFF2-40B4-BE49-F238E27FC236}">
                <a16:creationId xmlns:a16="http://schemas.microsoft.com/office/drawing/2014/main" xmlns="" id="{D91E1F1E-C24E-4E31-ACB1-D343084F5772}"/>
              </a:ext>
            </a:extLst>
          </p:cNvPr>
          <p:cNvSpPr>
            <a:spLocks/>
          </p:cNvSpPr>
          <p:nvPr/>
        </p:nvSpPr>
        <p:spPr bwMode="auto">
          <a:xfrm>
            <a:off x="3914336" y="4703796"/>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28" name="Rectangle 59">
            <a:extLst>
              <a:ext uri="{FF2B5EF4-FFF2-40B4-BE49-F238E27FC236}">
                <a16:creationId xmlns:a16="http://schemas.microsoft.com/office/drawing/2014/main" xmlns="" id="{A280D296-0B69-4674-9E4D-24933B3D8907}"/>
              </a:ext>
            </a:extLst>
          </p:cNvPr>
          <p:cNvSpPr>
            <a:spLocks/>
          </p:cNvSpPr>
          <p:nvPr/>
        </p:nvSpPr>
        <p:spPr bwMode="auto">
          <a:xfrm>
            <a:off x="4222722" y="5235190"/>
            <a:ext cx="484236"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US" sz="3200" b="1" spc="113" dirty="0">
                <a:solidFill>
                  <a:schemeClr val="bg1"/>
                </a:solidFill>
                <a:latin typeface="Roboto" charset="0"/>
                <a:ea typeface="Roboto" charset="0"/>
                <a:cs typeface="Roboto" charset="0"/>
                <a:sym typeface="Bebas Neue" charset="0"/>
              </a:rPr>
              <a:t>03</a:t>
            </a:r>
          </a:p>
        </p:txBody>
      </p:sp>
      <p:sp>
        <p:nvSpPr>
          <p:cNvPr id="29" name="TextBox 80">
            <a:extLst>
              <a:ext uri="{FF2B5EF4-FFF2-40B4-BE49-F238E27FC236}">
                <a16:creationId xmlns:a16="http://schemas.microsoft.com/office/drawing/2014/main" xmlns="" id="{1BCCD530-2422-43A0-A77B-65D19B37D75C}"/>
              </a:ext>
            </a:extLst>
          </p:cNvPr>
          <p:cNvSpPr txBox="1"/>
          <p:nvPr/>
        </p:nvSpPr>
        <p:spPr>
          <a:xfrm>
            <a:off x="5376313" y="4916039"/>
            <a:ext cx="6121552" cy="1541448"/>
          </a:xfrm>
          <a:prstGeom prst="rect">
            <a:avLst/>
          </a:prstGeom>
          <a:noFill/>
        </p:spPr>
        <p:txBody>
          <a:bodyPr wrap="square" rtlCol="0">
            <a:spAutoFit/>
          </a:bodyPr>
          <a:lstStyle/>
          <a:p>
            <a:r>
              <a:rPr lang="en-US" sz="2000" b="1" dirty="0">
                <a:solidFill>
                  <a:schemeClr val="bg1"/>
                </a:solidFill>
                <a:latin typeface="+mj-lt"/>
                <a:ea typeface="Lato Light" charset="0"/>
                <a:cs typeface="Lato Light" charset="0"/>
              </a:rPr>
              <a:t>Si reconoce que su empresa está en una fase temprana de declive, actúe ahora para detener el declive. </a:t>
            </a:r>
            <a:r>
              <a:rPr lang="en-US" sz="2000" dirty="0">
                <a:solidFill>
                  <a:schemeClr val="bg1"/>
                </a:solidFill>
                <a:latin typeface="+mj-lt"/>
                <a:ea typeface="Lato Light" charset="0"/>
                <a:cs typeface="Lato Light" charset="0"/>
              </a:rPr>
              <a:t>Es posible detener el declive especialmente en las primeras etapas, pero es muy difícil detener el declive en la última etapa.</a:t>
            </a:r>
          </a:p>
          <a:p>
            <a:pPr>
              <a:lnSpc>
                <a:spcPts val="1665"/>
              </a:lnSpc>
            </a:pPr>
            <a:endParaRPr lang="en-US" sz="1600" dirty="0">
              <a:solidFill>
                <a:schemeClr val="bg1"/>
              </a:solidFill>
              <a:latin typeface="Lato Light" charset="0"/>
              <a:ea typeface="Lato Light" charset="0"/>
              <a:cs typeface="Lato Light" charset="0"/>
            </a:endParaRPr>
          </a:p>
        </p:txBody>
      </p:sp>
      <p:sp>
        <p:nvSpPr>
          <p:cNvPr id="30" name="Freeform 43">
            <a:extLst>
              <a:ext uri="{FF2B5EF4-FFF2-40B4-BE49-F238E27FC236}">
                <a16:creationId xmlns:a16="http://schemas.microsoft.com/office/drawing/2014/main" xmlns="" id="{18232E6A-382B-4B6A-A87A-03D84C4F5706}"/>
              </a:ext>
            </a:extLst>
          </p:cNvPr>
          <p:cNvSpPr>
            <a:spLocks/>
          </p:cNvSpPr>
          <p:nvPr/>
        </p:nvSpPr>
        <p:spPr bwMode="auto">
          <a:xfrm>
            <a:off x="4637282" y="1924135"/>
            <a:ext cx="7004440" cy="142632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31" name="Freeform 36">
            <a:extLst>
              <a:ext uri="{FF2B5EF4-FFF2-40B4-BE49-F238E27FC236}">
                <a16:creationId xmlns:a16="http://schemas.microsoft.com/office/drawing/2014/main" xmlns="" id="{D220535A-62AF-4A01-88C8-B61F30BC6DD9}"/>
              </a:ext>
            </a:extLst>
          </p:cNvPr>
          <p:cNvSpPr>
            <a:spLocks/>
          </p:cNvSpPr>
          <p:nvPr/>
        </p:nvSpPr>
        <p:spPr bwMode="auto">
          <a:xfrm>
            <a:off x="3914336" y="1924135"/>
            <a:ext cx="1449185" cy="1426327"/>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32" name="Freeform 37">
            <a:extLst>
              <a:ext uri="{FF2B5EF4-FFF2-40B4-BE49-F238E27FC236}">
                <a16:creationId xmlns:a16="http://schemas.microsoft.com/office/drawing/2014/main" xmlns="" id="{483E9501-E861-41C9-B708-2579223FBCD4}"/>
              </a:ext>
            </a:extLst>
          </p:cNvPr>
          <p:cNvSpPr>
            <a:spLocks/>
          </p:cNvSpPr>
          <p:nvPr/>
        </p:nvSpPr>
        <p:spPr bwMode="auto">
          <a:xfrm>
            <a:off x="3914336" y="22279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34" name="Rectangle 85">
            <a:extLst>
              <a:ext uri="{FF2B5EF4-FFF2-40B4-BE49-F238E27FC236}">
                <a16:creationId xmlns:a16="http://schemas.microsoft.com/office/drawing/2014/main" xmlns="" id="{A19B0DCF-CA4E-4C72-B1E0-E3D5139C88D8}"/>
              </a:ext>
            </a:extLst>
          </p:cNvPr>
          <p:cNvSpPr>
            <a:spLocks/>
          </p:cNvSpPr>
          <p:nvPr/>
        </p:nvSpPr>
        <p:spPr bwMode="auto">
          <a:xfrm>
            <a:off x="4222722" y="2539004"/>
            <a:ext cx="484236"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US" sz="3200" b="1" spc="113" dirty="0">
                <a:solidFill>
                  <a:schemeClr val="bg1"/>
                </a:solidFill>
                <a:latin typeface="Roboto" charset="0"/>
                <a:ea typeface="Roboto" charset="0"/>
                <a:cs typeface="Roboto" charset="0"/>
                <a:sym typeface="Bebas Neue" charset="0"/>
              </a:rPr>
              <a:t>01</a:t>
            </a:r>
          </a:p>
        </p:txBody>
      </p:sp>
      <p:sp>
        <p:nvSpPr>
          <p:cNvPr id="35" name="TextBox 86">
            <a:extLst>
              <a:ext uri="{FF2B5EF4-FFF2-40B4-BE49-F238E27FC236}">
                <a16:creationId xmlns:a16="http://schemas.microsoft.com/office/drawing/2014/main" xmlns="" id="{0E770631-6BA5-4B28-A54A-42438C9D6C7F}"/>
              </a:ext>
            </a:extLst>
          </p:cNvPr>
          <p:cNvSpPr txBox="1"/>
          <p:nvPr/>
        </p:nvSpPr>
        <p:spPr>
          <a:xfrm>
            <a:off x="5363521" y="1938578"/>
            <a:ext cx="6134344" cy="1323439"/>
          </a:xfrm>
          <a:prstGeom prst="rect">
            <a:avLst/>
          </a:prstGeom>
          <a:noFill/>
        </p:spPr>
        <p:txBody>
          <a:bodyPr wrap="square" rtlCol="0">
            <a:spAutoFit/>
          </a:bodyPr>
          <a:lstStyle/>
          <a:p>
            <a:r>
              <a:rPr lang="en-US" sz="2000" b="1" dirty="0">
                <a:solidFill>
                  <a:schemeClr val="bg1"/>
                </a:solidFill>
                <a:latin typeface="+mj-lt"/>
                <a:ea typeface="Lato Light" charset="0"/>
                <a:cs typeface="Lato Light" charset="0"/>
              </a:rPr>
              <a:t>Nadie quiere pensar en cómo fracasa una empresa, pero al hacerlo se aprende lo que no se debe hacer. </a:t>
            </a:r>
            <a:r>
              <a:rPr lang="en-US" sz="2000" dirty="0">
                <a:solidFill>
                  <a:schemeClr val="bg1"/>
                </a:solidFill>
                <a:latin typeface="+mj-lt"/>
                <a:ea typeface="Lato Light" charset="0"/>
                <a:cs typeface="Lato Light" charset="0"/>
              </a:rPr>
              <a:t>Además, es posible que reconozcas que tu empresa está en las primeras fases del declive.</a:t>
            </a:r>
          </a:p>
        </p:txBody>
      </p:sp>
    </p:spTree>
    <p:extLst>
      <p:ext uri="{BB962C8B-B14F-4D97-AF65-F5344CB8AC3E}">
        <p14:creationId xmlns:p14="http://schemas.microsoft.com/office/powerpoint/2010/main" val="32551455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1" y="853210"/>
            <a:ext cx="6539395" cy="697353"/>
          </a:xfrm>
        </p:spPr>
        <p:txBody>
          <a:bodyPr/>
          <a:lstStyle/>
          <a:p>
            <a:r>
              <a:rPr lang="en-GB" dirty="0"/>
              <a:t>SIGUIENT      E </a:t>
            </a:r>
            <a:r>
              <a:rPr lang="en-GB" sz="5400" i="0" dirty="0">
                <a:solidFill>
                  <a:srgbClr val="E64D92"/>
                </a:solidFill>
              </a:rPr>
              <a:t>Módulo 8 </a:t>
            </a:r>
          </a:p>
        </p:txBody>
      </p:sp>
      <p:sp>
        <p:nvSpPr>
          <p:cNvPr id="3" name="Text Placeholder 2"/>
          <p:cNvSpPr>
            <a:spLocks noGrp="1"/>
          </p:cNvSpPr>
          <p:nvPr>
            <p:ph type="body" sz="quarter" idx="14"/>
          </p:nvPr>
        </p:nvSpPr>
        <p:spPr>
          <a:xfrm>
            <a:off x="296833" y="3233207"/>
            <a:ext cx="5886252" cy="697353"/>
          </a:xfrm>
        </p:spPr>
        <p:txBody>
          <a:bodyPr/>
          <a:lstStyle/>
          <a:p>
            <a:r>
              <a:rPr lang="en-GB" sz="3200" i="0" dirty="0"/>
              <a:t>Resistencia a las crisis - Continuidad de las actividades </a:t>
            </a:r>
          </a:p>
          <a:p>
            <a:endParaRPr lang="en-GB" dirty="0"/>
          </a:p>
        </p:txBody>
      </p:sp>
      <p:grpSp>
        <p:nvGrpSpPr>
          <p:cNvPr id="10" name="Google Shape;664;p39"/>
          <p:cNvGrpSpPr/>
          <p:nvPr/>
        </p:nvGrpSpPr>
        <p:grpSpPr>
          <a:xfrm>
            <a:off x="7142053" y="4060110"/>
            <a:ext cx="301041" cy="301041"/>
            <a:chOff x="5941025" y="3634400"/>
            <a:chExt cx="467650" cy="467650"/>
          </a:xfrm>
        </p:grpSpPr>
        <p:sp>
          <p:nvSpPr>
            <p:cNvPr id="11" name="Google Shape;665;p39"/>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2" name="Google Shape;666;p39"/>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3" name="Google Shape;667;p39"/>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4" name="Google Shape;668;p39"/>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5" name="Google Shape;669;p39"/>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grpSp>
    </p:spTree>
    <p:extLst>
      <p:ext uri="{BB962C8B-B14F-4D97-AF65-F5344CB8AC3E}">
        <p14:creationId xmlns:p14="http://schemas.microsoft.com/office/powerpoint/2010/main" val="425612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99525" y="578168"/>
            <a:ext cx="8852375" cy="697353"/>
          </a:xfrm>
        </p:spPr>
        <p:txBody>
          <a:bodyPr>
            <a:normAutofit/>
          </a:bodyPr>
          <a:lstStyle/>
          <a:p>
            <a:r>
              <a:rPr lang="en-GB" dirty="0"/>
              <a:t>Aprender de la crisis: Pruebas estadística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21051" y="1814542"/>
            <a:ext cx="4008148" cy="443741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100" dirty="0">
                <a:solidFill>
                  <a:srgbClr val="245473"/>
                </a:solidFill>
                <a:latin typeface="+mj-lt"/>
              </a:rPr>
              <a:t>La experiencia de la crisis es común. Según un estudio reciente realizado por Brightline Initiative en colaboración con Quartz Insights</a:t>
            </a:r>
            <a:r>
              <a:rPr lang="en-US" altLang="de-DE" sz="2100" dirty="0">
                <a:solidFill>
                  <a:srgbClr val="245473"/>
                </a:solidFill>
                <a:latin typeface="+mj-lt"/>
              </a:rPr>
              <a:t>, </a:t>
            </a:r>
            <a:r>
              <a:rPr lang="en-GB" altLang="de-DE" sz="2100" dirty="0">
                <a:solidFill>
                  <a:srgbClr val="245473"/>
                </a:solidFill>
                <a:latin typeface="+mj-lt"/>
              </a:rPr>
              <a:t>el 68% de los encuestados estaba de acuerdo con la inevitabilidad de que sus organizaciones se enfrentaran a una crisis en el futuro.</a:t>
            </a:r>
          </a:p>
          <a:p>
            <a:pPr algn="l">
              <a:lnSpc>
                <a:spcPct val="100000"/>
              </a:lnSpc>
              <a:spcBef>
                <a:spcPts val="600"/>
              </a:spcBef>
            </a:pPr>
            <a:r>
              <a:rPr lang="en-GB" altLang="de-DE" sz="2100" dirty="0">
                <a:solidFill>
                  <a:srgbClr val="245473"/>
                </a:solidFill>
                <a:latin typeface="+mj-lt"/>
              </a:rPr>
              <a:t>(la investigación incluyó a 1258 ejecutivos que han </a:t>
            </a:r>
            <a:br>
              <a:rPr lang="en-GB" altLang="de-DE" sz="2100" dirty="0">
                <a:solidFill>
                  <a:srgbClr val="245473"/>
                </a:solidFill>
                <a:latin typeface="+mj-lt"/>
              </a:rPr>
            </a:br>
            <a:r>
              <a:rPr lang="en-GB" altLang="de-DE" sz="2100" dirty="0">
                <a:solidFill>
                  <a:srgbClr val="245473"/>
                </a:solidFill>
                <a:latin typeface="+mj-lt"/>
              </a:rPr>
              <a:t>experimentado una crisis)</a:t>
            </a:r>
          </a:p>
          <a:p>
            <a:pPr algn="l">
              <a:lnSpc>
                <a:spcPct val="100000"/>
              </a:lnSpc>
              <a:spcBef>
                <a:spcPts val="600"/>
              </a:spcBef>
            </a:pPr>
            <a:r>
              <a:rPr lang="en-GB" altLang="de-DE" sz="2100" b="1" dirty="0">
                <a:solidFill>
                  <a:srgbClr val="245473"/>
                </a:solidFill>
                <a:latin typeface="+mj-lt"/>
              </a:rPr>
              <a:t>De la investigación se desprenden tres conclusiones principales:</a:t>
            </a:r>
            <a:endParaRPr lang="en-GB" sz="2100" b="1" dirty="0">
              <a:solidFill>
                <a:srgbClr val="245473"/>
              </a:solidFill>
              <a:latin typeface="+mj-lt"/>
            </a:endParaRPr>
          </a:p>
        </p:txBody>
      </p:sp>
      <p:sp>
        <p:nvSpPr>
          <p:cNvPr id="23" name="Freeform 43">
            <a:extLst>
              <a:ext uri="{FF2B5EF4-FFF2-40B4-BE49-F238E27FC236}">
                <a16:creationId xmlns:a16="http://schemas.microsoft.com/office/drawing/2014/main" xmlns="" id="{45A0FE69-72F5-4A79-AE02-A43F3F7190CD}"/>
              </a:ext>
            </a:extLst>
          </p:cNvPr>
          <p:cNvSpPr>
            <a:spLocks/>
          </p:cNvSpPr>
          <p:nvPr/>
        </p:nvSpPr>
        <p:spPr bwMode="auto">
          <a:xfrm>
            <a:off x="5571938" y="3521626"/>
            <a:ext cx="6496012" cy="128651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E64D9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4" name="Freeform 36">
            <a:extLst>
              <a:ext uri="{FF2B5EF4-FFF2-40B4-BE49-F238E27FC236}">
                <a16:creationId xmlns:a16="http://schemas.microsoft.com/office/drawing/2014/main" xmlns="" id="{7C25B049-5F8D-4304-9191-08CDED88B907}"/>
              </a:ext>
            </a:extLst>
          </p:cNvPr>
          <p:cNvSpPr>
            <a:spLocks/>
          </p:cNvSpPr>
          <p:nvPr/>
        </p:nvSpPr>
        <p:spPr bwMode="auto">
          <a:xfrm>
            <a:off x="4356693" y="3521625"/>
            <a:ext cx="1955152" cy="1286517"/>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E64D9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5" name="Freeform 37">
            <a:extLst>
              <a:ext uri="{FF2B5EF4-FFF2-40B4-BE49-F238E27FC236}">
                <a16:creationId xmlns:a16="http://schemas.microsoft.com/office/drawing/2014/main" xmlns="" id="{3AECC8B1-9660-4C92-A142-1CB15CEDD314}"/>
              </a:ext>
            </a:extLst>
          </p:cNvPr>
          <p:cNvSpPr>
            <a:spLocks/>
          </p:cNvSpPr>
          <p:nvPr/>
        </p:nvSpPr>
        <p:spPr bwMode="auto">
          <a:xfrm>
            <a:off x="4129598" y="3878511"/>
            <a:ext cx="1458830" cy="105984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7" name="Rectangle 48">
            <a:extLst>
              <a:ext uri="{FF2B5EF4-FFF2-40B4-BE49-F238E27FC236}">
                <a16:creationId xmlns:a16="http://schemas.microsoft.com/office/drawing/2014/main" xmlns="" id="{9D2C1986-4F59-4557-B92A-021FDD40E5CD}"/>
              </a:ext>
            </a:extLst>
          </p:cNvPr>
          <p:cNvSpPr>
            <a:spLocks/>
          </p:cNvSpPr>
          <p:nvPr/>
        </p:nvSpPr>
        <p:spPr bwMode="auto">
          <a:xfrm>
            <a:off x="4589442" y="3880408"/>
            <a:ext cx="1049339" cy="492443"/>
          </a:xfrm>
          <a:prstGeom prst="rect">
            <a:avLst/>
          </a:prstGeom>
          <a:solidFill>
            <a:srgbClr val="E64D92"/>
          </a:solidFill>
          <a:ln>
            <a:noFill/>
          </a:ln>
          <a:extLs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a:solidFill>
                  <a:schemeClr val="bg1"/>
                </a:solidFill>
                <a:latin typeface="+mj-lt"/>
                <a:ea typeface="Roboto" charset="0"/>
                <a:cs typeface="Roboto" charset="0"/>
                <a:sym typeface="Bebas Neue" charset="0"/>
              </a:rPr>
              <a:t>Personas y</a:t>
            </a:r>
            <a:br>
              <a:rPr lang="en-GB" sz="1600" b="1" spc="113">
                <a:solidFill>
                  <a:schemeClr val="bg1"/>
                </a:solidFill>
                <a:latin typeface="+mj-lt"/>
                <a:ea typeface="Roboto" charset="0"/>
                <a:cs typeface="Roboto" charset="0"/>
                <a:sym typeface="Bebas Neue" charset="0"/>
              </a:rPr>
            </a:br>
            <a:r>
              <a:rPr lang="en-GB" sz="1600" b="1" spc="113">
                <a:solidFill>
                  <a:schemeClr val="bg1"/>
                </a:solidFill>
                <a:latin typeface="+mj-lt"/>
                <a:ea typeface="Roboto" charset="0"/>
                <a:cs typeface="Roboto" charset="0"/>
                <a:sym typeface="Bebas Neue" charset="0"/>
              </a:rPr>
              <a:t>Procesos</a:t>
            </a:r>
            <a:endParaRPr lang="en-GB" sz="1600" b="1" spc="113" dirty="0">
              <a:solidFill>
                <a:schemeClr val="bg1"/>
              </a:solidFill>
              <a:latin typeface="+mj-lt"/>
              <a:ea typeface="Roboto" charset="0"/>
              <a:cs typeface="Roboto" charset="0"/>
              <a:sym typeface="Bebas Neue" charset="0"/>
            </a:endParaRPr>
          </a:p>
        </p:txBody>
      </p:sp>
      <p:sp>
        <p:nvSpPr>
          <p:cNvPr id="28" name="TextBox 49">
            <a:extLst>
              <a:ext uri="{FF2B5EF4-FFF2-40B4-BE49-F238E27FC236}">
                <a16:creationId xmlns:a16="http://schemas.microsoft.com/office/drawing/2014/main" xmlns="" id="{6E2A66DA-AAFA-4E43-A8A6-C08542182F95}"/>
              </a:ext>
            </a:extLst>
          </p:cNvPr>
          <p:cNvSpPr txBox="1"/>
          <p:nvPr/>
        </p:nvSpPr>
        <p:spPr>
          <a:xfrm>
            <a:off x="6005092" y="3558065"/>
            <a:ext cx="6128243" cy="1185453"/>
          </a:xfrm>
          <a:prstGeom prst="rect">
            <a:avLst/>
          </a:prstGeom>
          <a:noFill/>
        </p:spPr>
        <p:txBody>
          <a:bodyPr wrap="square" lIns="91440" tIns="45720" rIns="91440" bIns="45720" rtlCol="0" anchor="t">
            <a:spAutoFit/>
          </a:bodyPr>
          <a:lstStyle/>
          <a:p>
            <a:pPr>
              <a:lnSpc>
                <a:spcPts val="1665"/>
              </a:lnSpc>
            </a:pPr>
            <a:r>
              <a:rPr lang="en-GB" sz="1700" dirty="0">
                <a:solidFill>
                  <a:schemeClr val="bg1"/>
                </a:solidFill>
                <a:latin typeface="+mj-lt"/>
                <a:ea typeface="Lato Light" charset="0"/>
                <a:cs typeface="Lato Light" charset="0"/>
              </a:rPr>
              <a:t>Las organizaciones que salen reforzadas tras la crisis realizan cambios en el modo de crisis en dos áreas clave: las personas y los procesos. Las empresas que otorgaron poderes a los empleados </a:t>
            </a:r>
            <a:r>
              <a:rPr lang="en-GB" sz="1700" dirty="0" err="1">
                <a:solidFill>
                  <a:schemeClr val="bg1"/>
                </a:solidFill>
                <a:latin typeface="+mj-lt"/>
                <a:ea typeface="Lato Light" charset="0"/>
                <a:cs typeface="Lato Light" charset="0"/>
              </a:rPr>
              <a:t>que no estaban en el nivel de liderazgo </a:t>
            </a:r>
            <a:r>
              <a:rPr lang="en-GB" sz="1700" dirty="0">
                <a:solidFill>
                  <a:schemeClr val="bg1"/>
                </a:solidFill>
                <a:latin typeface="+mj-lt"/>
                <a:ea typeface="Lato Light" charset="0"/>
                <a:cs typeface="Lato Light" charset="0"/>
              </a:rPr>
              <a:t>y que estaban más cerca de la crisis para tomar decisiones y aumentaron la flexibilidad de los procesos internos tendieron a salir más fuertes después de la crisis que las que no lo hicieron.</a:t>
            </a:r>
          </a:p>
        </p:txBody>
      </p:sp>
      <p:sp>
        <p:nvSpPr>
          <p:cNvPr id="29" name="Freeform 43">
            <a:extLst>
              <a:ext uri="{FF2B5EF4-FFF2-40B4-BE49-F238E27FC236}">
                <a16:creationId xmlns:a16="http://schemas.microsoft.com/office/drawing/2014/main" xmlns="" id="{0F236B4A-D890-4EC9-B558-9E02F0497973}"/>
              </a:ext>
            </a:extLst>
          </p:cNvPr>
          <p:cNvSpPr>
            <a:spLocks/>
          </p:cNvSpPr>
          <p:nvPr/>
        </p:nvSpPr>
        <p:spPr bwMode="auto">
          <a:xfrm>
            <a:off x="5591229" y="4983671"/>
            <a:ext cx="6476721" cy="129133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30" name="Freeform 36">
            <a:extLst>
              <a:ext uri="{FF2B5EF4-FFF2-40B4-BE49-F238E27FC236}">
                <a16:creationId xmlns:a16="http://schemas.microsoft.com/office/drawing/2014/main" xmlns="" id="{E7D447B0-6C13-4816-B9AE-5C70502B44D5}"/>
              </a:ext>
            </a:extLst>
          </p:cNvPr>
          <p:cNvSpPr>
            <a:spLocks/>
          </p:cNvSpPr>
          <p:nvPr/>
        </p:nvSpPr>
        <p:spPr bwMode="auto">
          <a:xfrm>
            <a:off x="4314469" y="4979558"/>
            <a:ext cx="1955152" cy="129133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31" name="Freeform 37">
            <a:extLst>
              <a:ext uri="{FF2B5EF4-FFF2-40B4-BE49-F238E27FC236}">
                <a16:creationId xmlns:a16="http://schemas.microsoft.com/office/drawing/2014/main" xmlns="" id="{7B778120-2DC9-42C5-A665-B02D02270E11}"/>
              </a:ext>
            </a:extLst>
          </p:cNvPr>
          <p:cNvSpPr>
            <a:spLocks/>
          </p:cNvSpPr>
          <p:nvPr/>
        </p:nvSpPr>
        <p:spPr bwMode="auto">
          <a:xfrm>
            <a:off x="4978408" y="4593025"/>
            <a:ext cx="1458830" cy="105984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33" name="Rectangle 59">
            <a:extLst>
              <a:ext uri="{FF2B5EF4-FFF2-40B4-BE49-F238E27FC236}">
                <a16:creationId xmlns:a16="http://schemas.microsoft.com/office/drawing/2014/main" xmlns="" id="{7906442B-13FB-4C4C-9EDC-4C16C018050D}"/>
              </a:ext>
            </a:extLst>
          </p:cNvPr>
          <p:cNvSpPr>
            <a:spLocks/>
          </p:cNvSpPr>
          <p:nvPr/>
        </p:nvSpPr>
        <p:spPr bwMode="auto">
          <a:xfrm>
            <a:off x="4718563" y="5409774"/>
            <a:ext cx="78118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a:solidFill>
                  <a:schemeClr val="bg1"/>
                </a:solidFill>
                <a:latin typeface="+mj-lt"/>
                <a:ea typeface="Roboto" charset="0"/>
                <a:cs typeface="Roboto" charset="0"/>
                <a:sym typeface="Bebas Neue" charset="0"/>
              </a:rPr>
              <a:t>Estrategia</a:t>
            </a:r>
            <a:endParaRPr lang="en-GB" sz="1600" b="1" spc="113" dirty="0">
              <a:solidFill>
                <a:schemeClr val="bg1"/>
              </a:solidFill>
              <a:latin typeface="+mj-lt"/>
              <a:ea typeface="Roboto" charset="0"/>
              <a:cs typeface="Roboto" charset="0"/>
              <a:sym typeface="Bebas Neue" charset="0"/>
            </a:endParaRPr>
          </a:p>
        </p:txBody>
      </p:sp>
      <p:sp>
        <p:nvSpPr>
          <p:cNvPr id="34" name="TextBox 80">
            <a:extLst>
              <a:ext uri="{FF2B5EF4-FFF2-40B4-BE49-F238E27FC236}">
                <a16:creationId xmlns:a16="http://schemas.microsoft.com/office/drawing/2014/main" xmlns="" id="{8F6E910E-0943-41FE-976C-CC73D2EB1A76}"/>
              </a:ext>
            </a:extLst>
          </p:cNvPr>
          <p:cNvSpPr txBox="1"/>
          <p:nvPr/>
        </p:nvSpPr>
        <p:spPr>
          <a:xfrm>
            <a:off x="6189598" y="5043986"/>
            <a:ext cx="5943737" cy="1182375"/>
          </a:xfrm>
          <a:prstGeom prst="rect">
            <a:avLst/>
          </a:prstGeom>
          <a:noFill/>
        </p:spPr>
        <p:txBody>
          <a:bodyPr wrap="square" lIns="91440" tIns="45720" rIns="91440" bIns="45720" rtlCol="0" anchor="t">
            <a:spAutoFit/>
          </a:bodyPr>
          <a:lstStyle/>
          <a:p>
            <a:pPr>
              <a:lnSpc>
                <a:spcPts val="1665"/>
              </a:lnSpc>
            </a:pPr>
            <a:r>
              <a:rPr lang="en-GB" sz="1600" dirty="0">
                <a:solidFill>
                  <a:schemeClr val="bg1"/>
                </a:solidFill>
                <a:latin typeface="+mj-lt"/>
                <a:ea typeface="Lato Light" charset="0"/>
                <a:cs typeface="Lato Light" charset="0"/>
              </a:rPr>
              <a:t>El modo de crisis obliga a las empresas a examinar tres áreas clave que pueden ayudar a todas las empresas a mejorar la aplicación de la estrategia, independientemente de si están en la fase posterior a la crisis o disfrutan de la actividad habitual: la priorización de las iniciativas estratégicas, la rapidez en la toma de decisiones y la ejecución </a:t>
            </a:r>
            <a:br>
              <a:rPr lang="en-GB" sz="1600" dirty="0">
                <a:solidFill>
                  <a:schemeClr val="bg1"/>
                </a:solidFill>
                <a:latin typeface="+mj-lt"/>
                <a:ea typeface="Lato Light" charset="0"/>
                <a:cs typeface="Lato Light" charset="0"/>
              </a:rPr>
            </a:br>
            <a:r>
              <a:rPr lang="en-GB" sz="1600" dirty="0">
                <a:solidFill>
                  <a:schemeClr val="bg1"/>
                </a:solidFill>
                <a:latin typeface="+mj-lt"/>
                <a:ea typeface="Lato Light" charset="0"/>
                <a:cs typeface="Lato Light" charset="0"/>
              </a:rPr>
              <a:t>del proceso, y la potenciación de los equipos.</a:t>
            </a:r>
            <a:endParaRPr lang="en-US" dirty="0">
              <a:solidFill>
                <a:schemeClr val="bg1"/>
              </a:solidFill>
            </a:endParaRPr>
          </a:p>
        </p:txBody>
      </p:sp>
      <p:sp>
        <p:nvSpPr>
          <p:cNvPr id="35" name="Freeform 43">
            <a:extLst>
              <a:ext uri="{FF2B5EF4-FFF2-40B4-BE49-F238E27FC236}">
                <a16:creationId xmlns:a16="http://schemas.microsoft.com/office/drawing/2014/main" xmlns="" id="{647E2B95-C802-4ED7-8721-B804429F0331}"/>
              </a:ext>
            </a:extLst>
          </p:cNvPr>
          <p:cNvSpPr>
            <a:spLocks/>
          </p:cNvSpPr>
          <p:nvPr/>
        </p:nvSpPr>
        <p:spPr bwMode="auto">
          <a:xfrm>
            <a:off x="5591230" y="2035163"/>
            <a:ext cx="6476721" cy="129133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36" name="Freeform 36">
            <a:extLst>
              <a:ext uri="{FF2B5EF4-FFF2-40B4-BE49-F238E27FC236}">
                <a16:creationId xmlns:a16="http://schemas.microsoft.com/office/drawing/2014/main" xmlns="" id="{285FC458-EFB1-4D75-B57C-C24A124897A1}"/>
              </a:ext>
            </a:extLst>
          </p:cNvPr>
          <p:cNvSpPr>
            <a:spLocks/>
          </p:cNvSpPr>
          <p:nvPr/>
        </p:nvSpPr>
        <p:spPr bwMode="auto">
          <a:xfrm>
            <a:off x="4356693" y="2035163"/>
            <a:ext cx="2109481" cy="1291339"/>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37" name="Freeform 37">
            <a:extLst>
              <a:ext uri="{FF2B5EF4-FFF2-40B4-BE49-F238E27FC236}">
                <a16:creationId xmlns:a16="http://schemas.microsoft.com/office/drawing/2014/main" xmlns="" id="{7346BE2A-D897-4C05-B74D-9B47012AB7F9}"/>
              </a:ext>
            </a:extLst>
          </p:cNvPr>
          <p:cNvSpPr>
            <a:spLocks/>
          </p:cNvSpPr>
          <p:nvPr/>
        </p:nvSpPr>
        <p:spPr bwMode="auto">
          <a:xfrm>
            <a:off x="4799965" y="2126795"/>
            <a:ext cx="1458830" cy="105984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3" name="Rectangle 85">
            <a:extLst>
              <a:ext uri="{FF2B5EF4-FFF2-40B4-BE49-F238E27FC236}">
                <a16:creationId xmlns:a16="http://schemas.microsoft.com/office/drawing/2014/main" xmlns="" id="{320AC777-3668-4D7C-8D01-60212166A5A5}"/>
              </a:ext>
            </a:extLst>
          </p:cNvPr>
          <p:cNvSpPr>
            <a:spLocks/>
          </p:cNvSpPr>
          <p:nvPr/>
        </p:nvSpPr>
        <p:spPr bwMode="auto">
          <a:xfrm>
            <a:off x="4553358" y="2557720"/>
            <a:ext cx="111159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a:solidFill>
                  <a:schemeClr val="bg1"/>
                </a:solidFill>
                <a:latin typeface="+mj-lt"/>
                <a:ea typeface="Roboto" charset="0"/>
                <a:cs typeface="Roboto" charset="0"/>
                <a:sym typeface="Bebas Neue" charset="0"/>
              </a:rPr>
              <a:t>Modo crisis</a:t>
            </a:r>
            <a:endParaRPr lang="en-GB" sz="1600" b="1" spc="113" dirty="0">
              <a:solidFill>
                <a:schemeClr val="bg1"/>
              </a:solidFill>
              <a:latin typeface="+mj-lt"/>
              <a:ea typeface="Roboto" charset="0"/>
              <a:cs typeface="Roboto" charset="0"/>
              <a:sym typeface="Bebas Neue" charset="0"/>
            </a:endParaRPr>
          </a:p>
        </p:txBody>
      </p:sp>
      <p:sp>
        <p:nvSpPr>
          <p:cNvPr id="44" name="TextBox 86">
            <a:extLst>
              <a:ext uri="{FF2B5EF4-FFF2-40B4-BE49-F238E27FC236}">
                <a16:creationId xmlns:a16="http://schemas.microsoft.com/office/drawing/2014/main" xmlns="" id="{3CCECADB-2EC2-4FD7-8087-4FD1511C2B51}"/>
              </a:ext>
            </a:extLst>
          </p:cNvPr>
          <p:cNvSpPr txBox="1"/>
          <p:nvPr/>
        </p:nvSpPr>
        <p:spPr>
          <a:xfrm>
            <a:off x="6311844" y="2126795"/>
            <a:ext cx="5662441" cy="1188787"/>
          </a:xfrm>
          <a:prstGeom prst="rect">
            <a:avLst/>
          </a:prstGeom>
          <a:noFill/>
        </p:spPr>
        <p:txBody>
          <a:bodyPr wrap="square" lIns="91440" tIns="45720" rIns="91440" bIns="45720" rtlCol="0" anchor="t">
            <a:spAutoFit/>
          </a:bodyPr>
          <a:lstStyle/>
          <a:p>
            <a:pPr>
              <a:lnSpc>
                <a:spcPts val="1665"/>
              </a:lnSpc>
            </a:pPr>
            <a:r>
              <a:rPr lang="en-GB" dirty="0">
                <a:solidFill>
                  <a:schemeClr val="bg1"/>
                </a:solidFill>
                <a:latin typeface="+mj-lt"/>
                <a:ea typeface="Lato Light" charset="0"/>
                <a:cs typeface="Lato Light" charset="0"/>
              </a:rPr>
              <a:t>Cuando se enfrentan a una crisis, las organizaciones deben romper deliberadamente con su forma tradicional de trabajar. Operar como "de costumbre" impide a las organizaciones aislar sus aprendizajes durante la crisis y aplicarlos a las mejoras posteriores. </a:t>
            </a: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550278" y="6528494"/>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Fuente: Adaptado de Brightline Initiative en colaboración con Quartz Insights 2018</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29651610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839373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19" imgW="592" imgH="595" progId="TCLayout.ActiveDocument.1">
                  <p:embed/>
                </p:oleObj>
              </mc:Choice>
              <mc:Fallback>
                <p:oleObj name="think-cell Folie" r:id="rId19"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40296" y="524626"/>
            <a:ext cx="8852375" cy="697353"/>
          </a:xfrm>
        </p:spPr>
        <p:txBody>
          <a:bodyPr>
            <a:normAutofit/>
          </a:bodyPr>
          <a:lstStyle/>
          <a:p>
            <a:r>
              <a:rPr lang="en-GB" dirty="0"/>
              <a:t>Aprender de la crisis: </a:t>
            </a:r>
            <a:r>
              <a:rPr lang="en-GB"/>
              <a:t>Pruebas estadísticas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76511" y="1738386"/>
            <a:ext cx="4108658" cy="514530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solidFill>
                  <a:srgbClr val="245473"/>
                </a:solidFill>
                <a:latin typeface="+mj-lt"/>
              </a:rPr>
              <a:t>Está claro que los líderes van a estar bajo escrutinio en el Modo Crisis: el 58% de los encuestados estuvo de acuerdo (y sólo el 20% estuvo en desacuerdo) en que la crisis a la que se enfrentaba la organización era un síntoma de liderazgo deficiente, un sentimiento que fue universal en todos los ingresos de la empresa, el tamaño y el tipo (sin fines de lucro, sector privado, gobierno). </a:t>
            </a:r>
            <a:endParaRPr lang="en-US" sz="1800" dirty="0">
              <a:solidFill>
                <a:srgbClr val="245473"/>
              </a:solidFill>
            </a:endParaRPr>
          </a:p>
          <a:p>
            <a:pPr algn="l">
              <a:lnSpc>
                <a:spcPct val="100000"/>
              </a:lnSpc>
              <a:spcBef>
                <a:spcPts val="600"/>
              </a:spcBef>
            </a:pPr>
            <a:r>
              <a:rPr lang="en-GB" altLang="de-DE" sz="1800" dirty="0">
                <a:solidFill>
                  <a:srgbClr val="245473"/>
                </a:solidFill>
                <a:latin typeface="+mj-lt"/>
              </a:rPr>
              <a:t>También se reveló que los no líderes ven el modo de crisis como una oportunidad para dar un paso adelante y demostrar su rendimiento superior: el 75% de los encuestados estuvo de acuerdo en que la gente se unió para trabajar con un gran propósito hacia un objetivo compartido cuando su organización se enfrentó a la crisis, y el 80% de ellos estuvo de acuerdo en que, habiendo superado una crisis, su organización era más fuerte que si no se hubiera enfrentado a la crisis. </a:t>
            </a:r>
            <a:endParaRPr lang="en-GB" sz="1800" b="1" dirty="0">
              <a:solidFill>
                <a:srgbClr val="245473"/>
              </a:solidFill>
              <a:latin typeface="+mj-lt"/>
            </a:endParaRP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4200470" y="6516500"/>
            <a:ext cx="554572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Fuente: Adaptado de Brightline Initiative en colaboración con Quartz Insights 2018</a:t>
            </a:r>
          </a:p>
        </p:txBody>
      </p:sp>
      <p:graphicFrame>
        <p:nvGraphicFramePr>
          <p:cNvPr id="99" name="Chart 3">
            <a:extLst>
              <a:ext uri="{FF2B5EF4-FFF2-40B4-BE49-F238E27FC236}">
                <a16:creationId xmlns:a16="http://schemas.microsoft.com/office/drawing/2014/main" xmlns="" id="{C3A81E58-37ED-48CF-8ADB-51DD9946B3F9}"/>
              </a:ext>
            </a:extLst>
          </p:cNvPr>
          <p:cNvGraphicFramePr/>
          <p:nvPr>
            <p:custDataLst>
              <p:tags r:id="rId4"/>
            </p:custDataLst>
            <p:extLst>
              <p:ext uri="{D42A27DB-BD31-4B8C-83A1-F6EECF244321}">
                <p14:modId xmlns:p14="http://schemas.microsoft.com/office/powerpoint/2010/main" val="2281473506"/>
              </p:ext>
            </p:extLst>
          </p:nvPr>
        </p:nvGraphicFramePr>
        <p:xfrm>
          <a:off x="7237915" y="2619616"/>
          <a:ext cx="4903788" cy="3684588"/>
        </p:xfrm>
        <a:graphic>
          <a:graphicData uri="http://schemas.openxmlformats.org/drawingml/2006/chart">
            <c:chart xmlns:c="http://schemas.openxmlformats.org/drawingml/2006/chart" xmlns:r="http://schemas.openxmlformats.org/officeDocument/2006/relationships" r:id="rId21"/>
          </a:graphicData>
        </a:graphic>
      </p:graphicFrame>
      <p:sp>
        <p:nvSpPr>
          <p:cNvPr id="32" name="Text Placeholder 2">
            <a:extLst>
              <a:ext uri="{FF2B5EF4-FFF2-40B4-BE49-F238E27FC236}">
                <a16:creationId xmlns:a16="http://schemas.microsoft.com/office/drawing/2014/main" xmlns="" id="{68FF770E-5432-4219-8467-E0C7E8C2981C}"/>
              </a:ext>
            </a:extLst>
          </p:cNvPr>
          <p:cNvSpPr>
            <a:spLocks noGrp="1"/>
          </p:cNvSpPr>
          <p:nvPr>
            <p:custDataLst>
              <p:tags r:id="rId5"/>
            </p:custDataLst>
          </p:nvPr>
        </p:nvSpPr>
        <p:spPr bwMode="auto">
          <a:xfrm>
            <a:off x="6339993" y="3333931"/>
            <a:ext cx="9112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450F3875-EAD0-4565-8983-17E95E389B2C}" type="datetime'''''''''''''Go''''''''ve''''''''r''''''''n''m''''e''''nt'">
              <a:rPr lang="en-GB" altLang="en-US" sz="1400" smtClean="0"/>
              <a:pPr algn="r">
                <a:spcBef>
                  <a:spcPct val="0"/>
                </a:spcBef>
                <a:spcAft>
                  <a:spcPct val="0"/>
                </a:spcAft>
              </a:pPr>
              <a:t>Government</a:t>
            </a:fld>
            <a:endParaRPr lang="en-GB" sz="1400" dirty="0">
              <a:sym typeface="+mn-lt"/>
            </a:endParaRPr>
          </a:p>
        </p:txBody>
      </p:sp>
      <p:sp>
        <p:nvSpPr>
          <p:cNvPr id="21" name="Text Placeholder 2">
            <a:extLst>
              <a:ext uri="{FF2B5EF4-FFF2-40B4-BE49-F238E27FC236}">
                <a16:creationId xmlns:a16="http://schemas.microsoft.com/office/drawing/2014/main" xmlns="" id="{E3E1D45F-C3DB-4C2C-9BD9-D0ED318F7971}"/>
              </a:ext>
            </a:extLst>
          </p:cNvPr>
          <p:cNvSpPr>
            <a:spLocks noGrp="1"/>
          </p:cNvSpPr>
          <p:nvPr>
            <p:custDataLst>
              <p:tags r:id="rId6"/>
            </p:custDataLst>
          </p:nvPr>
        </p:nvSpPr>
        <p:spPr bwMode="auto">
          <a:xfrm>
            <a:off x="6243095" y="2733675"/>
            <a:ext cx="10033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0DBE733C-C0AC-4162-9DF7-9D8F81A56268}" type="datetime'P''''''''''''riv''''at''''''e ''''S''ecto''''''''''''r'''''">
              <a:rPr lang="en-GB" altLang="en-US" sz="1400" smtClean="0"/>
              <a:pPr algn="r">
                <a:spcBef>
                  <a:spcPct val="0"/>
                </a:spcBef>
                <a:spcAft>
                  <a:spcPct val="0"/>
                </a:spcAft>
              </a:pPr>
              <a:t>Private Sector</a:t>
            </a:fld>
            <a:endParaRPr lang="en-GB" sz="1400" dirty="0">
              <a:sym typeface="+mn-lt"/>
            </a:endParaRPr>
          </a:p>
        </p:txBody>
      </p:sp>
      <p:sp>
        <p:nvSpPr>
          <p:cNvPr id="26" name="Text Placeholder 2">
            <a:extLst>
              <a:ext uri="{FF2B5EF4-FFF2-40B4-BE49-F238E27FC236}">
                <a16:creationId xmlns:a16="http://schemas.microsoft.com/office/drawing/2014/main" xmlns="" id="{E42323D5-61D2-4C36-8CAC-914D9A0BE683}"/>
              </a:ext>
            </a:extLst>
          </p:cNvPr>
          <p:cNvSpPr>
            <a:spLocks noGrp="1"/>
          </p:cNvSpPr>
          <p:nvPr>
            <p:custDataLst>
              <p:tags r:id="rId7"/>
            </p:custDataLst>
          </p:nvPr>
        </p:nvSpPr>
        <p:spPr bwMode="auto">
          <a:xfrm>
            <a:off x="6479512" y="3027363"/>
            <a:ext cx="7572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F054AA1D-E113-4322-B642-8A420D5DE3D1}" type="datetime'No''''''''''n-''''''''''''p''''r''''''o''''''''''''''fi''''t'">
              <a:rPr lang="en-GB" altLang="en-US" sz="1400" smtClean="0"/>
              <a:pPr algn="r">
                <a:spcBef>
                  <a:spcPct val="0"/>
                </a:spcBef>
                <a:spcAft>
                  <a:spcPct val="0"/>
                </a:spcAft>
              </a:pPr>
              <a:t>Non-profit</a:t>
            </a:fld>
            <a:endParaRPr lang="en-GB" sz="1400" dirty="0">
              <a:sym typeface="+mn-lt"/>
            </a:endParaRPr>
          </a:p>
        </p:txBody>
      </p:sp>
      <p:sp>
        <p:nvSpPr>
          <p:cNvPr id="63" name="Text Placeholder 2">
            <a:extLst>
              <a:ext uri="{FF2B5EF4-FFF2-40B4-BE49-F238E27FC236}">
                <a16:creationId xmlns:a16="http://schemas.microsoft.com/office/drawing/2014/main" xmlns="" id="{27BA9DF7-DCA4-4B9D-9A6D-240D4E91108C}"/>
              </a:ext>
            </a:extLst>
          </p:cNvPr>
          <p:cNvSpPr>
            <a:spLocks noGrp="1"/>
          </p:cNvSpPr>
          <p:nvPr>
            <p:custDataLst>
              <p:tags r:id="rId8"/>
            </p:custDataLst>
          </p:nvPr>
        </p:nvSpPr>
        <p:spPr bwMode="auto">
          <a:xfrm>
            <a:off x="6570120" y="3613150"/>
            <a:ext cx="6762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FECD026C-7E45-4907-B06C-9071ECD9BFE2}" type="datetime'''''10''''''''0 -'''''''''''''''' 4''''9''''''9'''''''''''">
              <a:rPr lang="en-GB" altLang="en-US" sz="1400" smtClean="0"/>
              <a:pPr/>
              <a:t>100 - 499</a:t>
            </a:fld>
            <a:endParaRPr lang="en-GB" sz="1400" dirty="0">
              <a:sym typeface="+mn-lt"/>
            </a:endParaRPr>
          </a:p>
        </p:txBody>
      </p:sp>
      <p:sp>
        <p:nvSpPr>
          <p:cNvPr id="65" name="Text Placeholder 2">
            <a:extLst>
              <a:ext uri="{FF2B5EF4-FFF2-40B4-BE49-F238E27FC236}">
                <a16:creationId xmlns:a16="http://schemas.microsoft.com/office/drawing/2014/main" xmlns="" id="{1C094B38-AE41-40A7-9C5E-89601D310139}"/>
              </a:ext>
            </a:extLst>
          </p:cNvPr>
          <p:cNvSpPr>
            <a:spLocks noGrp="1"/>
          </p:cNvSpPr>
          <p:nvPr>
            <p:custDataLst>
              <p:tags r:id="rId9"/>
            </p:custDataLst>
          </p:nvPr>
        </p:nvSpPr>
        <p:spPr bwMode="auto">
          <a:xfrm>
            <a:off x="6584588" y="3916484"/>
            <a:ext cx="6762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523CA527-F70E-4212-AC62-20500C52F4C8}" type="datetime'''50''''''0'''''''''''' - 99''''9'''''''''''''''''''''''">
              <a:rPr lang="en-GB" altLang="en-US" sz="1400" smtClean="0"/>
              <a:pPr/>
              <a:t>500 - 999</a:t>
            </a:fld>
            <a:endParaRPr lang="en-GB" sz="1400" dirty="0">
              <a:sym typeface="+mn-lt"/>
            </a:endParaRPr>
          </a:p>
        </p:txBody>
      </p:sp>
      <p:sp>
        <p:nvSpPr>
          <p:cNvPr id="69" name="Text Placeholder 2">
            <a:extLst>
              <a:ext uri="{FF2B5EF4-FFF2-40B4-BE49-F238E27FC236}">
                <a16:creationId xmlns:a16="http://schemas.microsoft.com/office/drawing/2014/main" xmlns="" id="{D41783AF-E51D-48C2-9CBE-4F3A27672F8F}"/>
              </a:ext>
            </a:extLst>
          </p:cNvPr>
          <p:cNvSpPr>
            <a:spLocks noGrp="1"/>
          </p:cNvSpPr>
          <p:nvPr>
            <p:custDataLst>
              <p:tags r:id="rId10"/>
            </p:custDataLst>
          </p:nvPr>
        </p:nvSpPr>
        <p:spPr bwMode="auto">
          <a:xfrm>
            <a:off x="6379499" y="4507093"/>
            <a:ext cx="8572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D671E3F3-78C2-4151-B31D-529C3E075A9B}" type="datetime'5''''''''''''000'''''' - 9999'''''''''''''''">
              <a:rPr lang="en-GB" altLang="en-US" sz="1400" smtClean="0"/>
              <a:pPr/>
              <a:t>5000 - 9999</a:t>
            </a:fld>
            <a:endParaRPr lang="en-GB" sz="1400" dirty="0">
              <a:sym typeface="+mn-lt"/>
            </a:endParaRPr>
          </a:p>
        </p:txBody>
      </p:sp>
      <p:sp>
        <p:nvSpPr>
          <p:cNvPr id="67" name="Text Placeholder 2">
            <a:extLst>
              <a:ext uri="{FF2B5EF4-FFF2-40B4-BE49-F238E27FC236}">
                <a16:creationId xmlns:a16="http://schemas.microsoft.com/office/drawing/2014/main" xmlns="" id="{C999ABAB-D41E-43EF-9A40-6FE3F3D90D0D}"/>
              </a:ext>
            </a:extLst>
          </p:cNvPr>
          <p:cNvSpPr>
            <a:spLocks noGrp="1"/>
          </p:cNvSpPr>
          <p:nvPr>
            <p:custDataLst>
              <p:tags r:id="rId11"/>
            </p:custDataLst>
          </p:nvPr>
        </p:nvSpPr>
        <p:spPr bwMode="auto">
          <a:xfrm>
            <a:off x="6413259" y="4214993"/>
            <a:ext cx="8572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6F683F46-6947-42EA-AE8D-F900159896C1}" type="datetime'''1''''''''''''0''''''''''00 ''''''-'' 4''''''''''''''9''99'">
              <a:rPr lang="en-GB" altLang="en-US" sz="1400" smtClean="0"/>
              <a:pPr/>
              <a:t>1000 - 4999</a:t>
            </a:fld>
            <a:endParaRPr lang="en-GB" sz="1400" dirty="0">
              <a:sym typeface="+mn-lt"/>
            </a:endParaRPr>
          </a:p>
        </p:txBody>
      </p:sp>
      <p:sp>
        <p:nvSpPr>
          <p:cNvPr id="71" name="Text Placeholder 2">
            <a:extLst>
              <a:ext uri="{FF2B5EF4-FFF2-40B4-BE49-F238E27FC236}">
                <a16:creationId xmlns:a16="http://schemas.microsoft.com/office/drawing/2014/main" xmlns="" id="{2432F471-9C8C-4EA8-8A91-20104E13C823}"/>
              </a:ext>
            </a:extLst>
          </p:cNvPr>
          <p:cNvSpPr>
            <a:spLocks noGrp="1"/>
          </p:cNvSpPr>
          <p:nvPr>
            <p:custDataLst>
              <p:tags r:id="rId12"/>
            </p:custDataLst>
          </p:nvPr>
        </p:nvSpPr>
        <p:spPr bwMode="auto">
          <a:xfrm>
            <a:off x="6719526" y="4786313"/>
            <a:ext cx="5413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4E814470-3E0B-4F7C-B4FF-91F151A637D8}" type="datetime'''''''1''''0''''''''''0''''0''''''''''''0''''''''+'">
              <a:rPr lang="en-GB" altLang="en-US" sz="1400" smtClean="0"/>
              <a:pPr/>
              <a:t>10000+</a:t>
            </a:fld>
            <a:endParaRPr lang="en-GB" sz="1400" dirty="0">
              <a:sym typeface="+mn-lt"/>
            </a:endParaRPr>
          </a:p>
        </p:txBody>
      </p:sp>
      <p:sp>
        <p:nvSpPr>
          <p:cNvPr id="73" name="Text Placeholder 2">
            <a:extLst>
              <a:ext uri="{FF2B5EF4-FFF2-40B4-BE49-F238E27FC236}">
                <a16:creationId xmlns:a16="http://schemas.microsoft.com/office/drawing/2014/main" xmlns="" id="{000BF3B7-154B-4B9C-ABF6-1A2D69D4FA95}"/>
              </a:ext>
            </a:extLst>
          </p:cNvPr>
          <p:cNvSpPr>
            <a:spLocks noGrp="1"/>
          </p:cNvSpPr>
          <p:nvPr>
            <p:custDataLst>
              <p:tags r:id="rId13"/>
            </p:custDataLst>
          </p:nvPr>
        </p:nvSpPr>
        <p:spPr bwMode="auto">
          <a:xfrm>
            <a:off x="5794013" y="5084823"/>
            <a:ext cx="14668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97A4C5A8-61A9-425F-823F-8D938469D8BC}" type="datetime'''$''''''''''''''15''''''0MM -'' $499M''''''''''M'''''''''">
              <a:rPr lang="en-GB" altLang="en-US" sz="1400" smtClean="0"/>
              <a:pPr algn="r">
                <a:spcBef>
                  <a:spcPct val="0"/>
                </a:spcBef>
                <a:spcAft>
                  <a:spcPct val="0"/>
                </a:spcAft>
              </a:pPr>
              <a:t>$150MM - $499MM</a:t>
            </a:fld>
            <a:endParaRPr lang="en-GB" sz="1400" dirty="0">
              <a:sym typeface="+mn-lt"/>
            </a:endParaRPr>
          </a:p>
        </p:txBody>
      </p:sp>
      <p:sp>
        <p:nvSpPr>
          <p:cNvPr id="75" name="Text Placeholder 2">
            <a:extLst>
              <a:ext uri="{FF2B5EF4-FFF2-40B4-BE49-F238E27FC236}">
                <a16:creationId xmlns:a16="http://schemas.microsoft.com/office/drawing/2014/main" xmlns="" id="{E8A73395-91BB-4C4B-8B23-758BA381F1BA}"/>
              </a:ext>
            </a:extLst>
          </p:cNvPr>
          <p:cNvSpPr>
            <a:spLocks noGrp="1"/>
          </p:cNvSpPr>
          <p:nvPr>
            <p:custDataLst>
              <p:tags r:id="rId14"/>
            </p:custDataLst>
          </p:nvPr>
        </p:nvSpPr>
        <p:spPr bwMode="auto">
          <a:xfrm>
            <a:off x="5794013" y="5402625"/>
            <a:ext cx="14668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E81C33E7-4D69-4F38-889F-37D92993842C}" type="datetime'''''$''''500''''''M''''''''''M'' -'''' $''''''99''9''''M''''M'">
              <a:rPr lang="en-GB" altLang="en-US" sz="1400" smtClean="0"/>
              <a:pPr algn="r">
                <a:spcBef>
                  <a:spcPct val="0"/>
                </a:spcBef>
                <a:spcAft>
                  <a:spcPct val="0"/>
                </a:spcAft>
              </a:pPr>
              <a:t>$500MM - $999MM</a:t>
            </a:fld>
            <a:endParaRPr lang="en-GB" sz="1400" dirty="0">
              <a:sym typeface="+mn-lt"/>
            </a:endParaRPr>
          </a:p>
        </p:txBody>
      </p:sp>
      <p:sp>
        <p:nvSpPr>
          <p:cNvPr id="77" name="Text Placeholder 2">
            <a:extLst>
              <a:ext uri="{FF2B5EF4-FFF2-40B4-BE49-F238E27FC236}">
                <a16:creationId xmlns:a16="http://schemas.microsoft.com/office/drawing/2014/main" xmlns="" id="{98EA5BD5-6BEA-47F6-8AB9-A416E522352B}"/>
              </a:ext>
            </a:extLst>
          </p:cNvPr>
          <p:cNvSpPr>
            <a:spLocks noGrp="1"/>
          </p:cNvSpPr>
          <p:nvPr>
            <p:custDataLst>
              <p:tags r:id="rId15"/>
            </p:custDataLst>
          </p:nvPr>
        </p:nvSpPr>
        <p:spPr bwMode="auto">
          <a:xfrm>
            <a:off x="6322349" y="5689902"/>
            <a:ext cx="9144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68241EE7-522F-4B81-9DE2-15830741A47F}" type="datetime'''''$1''''''''B -'''' ''''''''''''''''$4'',''9''''9''''B'">
              <a:rPr lang="en-GB" altLang="en-US" sz="1400" smtClean="0"/>
              <a:pPr algn="r">
                <a:spcBef>
                  <a:spcPct val="0"/>
                </a:spcBef>
                <a:spcAft>
                  <a:spcPct val="0"/>
                </a:spcAft>
              </a:pPr>
              <a:t>$1B - $4,99B</a:t>
            </a:fld>
            <a:endParaRPr lang="en-GB" sz="1400" dirty="0">
              <a:sym typeface="+mn-lt"/>
            </a:endParaRPr>
          </a:p>
        </p:txBody>
      </p:sp>
      <p:sp>
        <p:nvSpPr>
          <p:cNvPr id="81" name="Text Placeholder 2">
            <a:extLst>
              <a:ext uri="{FF2B5EF4-FFF2-40B4-BE49-F238E27FC236}">
                <a16:creationId xmlns:a16="http://schemas.microsoft.com/office/drawing/2014/main" xmlns="" id="{167AA7F2-DF88-49B8-A914-A0B065000C96}"/>
              </a:ext>
            </a:extLst>
          </p:cNvPr>
          <p:cNvSpPr>
            <a:spLocks noGrp="1"/>
          </p:cNvSpPr>
          <p:nvPr>
            <p:custDataLst>
              <p:tags r:id="rId16"/>
            </p:custDataLst>
          </p:nvPr>
        </p:nvSpPr>
        <p:spPr bwMode="auto">
          <a:xfrm>
            <a:off x="6865215" y="6017348"/>
            <a:ext cx="366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4C92BAC4-7539-4761-ACEB-0B9A481CAA33}" type="datetime'''''$''5''''''''''''''B''''''''''''''''+'''''''''''''''''''">
              <a:rPr lang="en-GB" altLang="en-US" sz="1400" smtClean="0"/>
              <a:pPr/>
              <a:t>$5B+</a:t>
            </a:fld>
            <a:endParaRPr lang="en-GB" sz="1400" dirty="0">
              <a:sym typeface="+mn-lt"/>
            </a:endParaRPr>
          </a:p>
        </p:txBody>
      </p:sp>
      <p:sp>
        <p:nvSpPr>
          <p:cNvPr id="51" name="Subtitle 2">
            <a:extLst>
              <a:ext uri="{FF2B5EF4-FFF2-40B4-BE49-F238E27FC236}">
                <a16:creationId xmlns:a16="http://schemas.microsoft.com/office/drawing/2014/main" xmlns="" id="{1E04ACF3-59B5-48F9-B9F8-6B8F95B01226}"/>
              </a:ext>
            </a:extLst>
          </p:cNvPr>
          <p:cNvSpPr txBox="1">
            <a:spLocks/>
          </p:cNvSpPr>
          <p:nvPr/>
        </p:nvSpPr>
        <p:spPr>
          <a:xfrm>
            <a:off x="4388929" y="2142491"/>
            <a:ext cx="7626222" cy="31163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latin typeface="+mj-lt"/>
                <a:ea typeface="Lato Light" panose="020F0502020204030203" pitchFamily="34" charset="0"/>
                <a:cs typeface="Mukta ExtraLight" panose="020B0000000000000000" pitchFamily="34" charset="77"/>
              </a:rPr>
              <a:t>Liderazgo: </a:t>
            </a:r>
            <a:r>
              <a:rPr lang="en-GB" sz="1800" dirty="0">
                <a:latin typeface="+mj-lt"/>
                <a:ea typeface="Lato Light" panose="020F0502020204030203" pitchFamily="34" charset="0"/>
                <a:cs typeface="Mukta ExtraLight" panose="020B0000000000000000" pitchFamily="34" charset="77"/>
              </a:rPr>
              <a:t>"La crisis fue una señal de mal liderazgo (por tipo, tamaño e ingresos)"</a:t>
            </a:r>
          </a:p>
        </p:txBody>
      </p:sp>
      <p:cxnSp>
        <p:nvCxnSpPr>
          <p:cNvPr id="9" name="Gerader Verbinder 8">
            <a:extLst>
              <a:ext uri="{FF2B5EF4-FFF2-40B4-BE49-F238E27FC236}">
                <a16:creationId xmlns:a16="http://schemas.microsoft.com/office/drawing/2014/main" xmlns="" id="{BFDE964B-FAA2-49AA-B3BB-27BF13342C51}"/>
              </a:ext>
            </a:extLst>
          </p:cNvPr>
          <p:cNvCxnSpPr>
            <a:cxnSpLocks/>
          </p:cNvCxnSpPr>
          <p:nvPr/>
        </p:nvCxnSpPr>
        <p:spPr>
          <a:xfrm flipH="1" flipV="1">
            <a:off x="4319956" y="3570598"/>
            <a:ext cx="7398280" cy="19291"/>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xmlns="" id="{02BF95E7-F42A-4A9A-8F9D-B0BFA3D7CAF8}"/>
              </a:ext>
            </a:extLst>
          </p:cNvPr>
          <p:cNvCxnSpPr>
            <a:cxnSpLocks/>
          </p:cNvCxnSpPr>
          <p:nvPr/>
        </p:nvCxnSpPr>
        <p:spPr>
          <a:xfrm flipH="1" flipV="1">
            <a:off x="4266905" y="5042564"/>
            <a:ext cx="7451331" cy="43405"/>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01" name="Subtitle 2">
            <a:extLst>
              <a:ext uri="{FF2B5EF4-FFF2-40B4-BE49-F238E27FC236}">
                <a16:creationId xmlns:a16="http://schemas.microsoft.com/office/drawing/2014/main" xmlns="" id="{7E4BF5E8-0F01-4230-9BD8-FE7916160986}"/>
              </a:ext>
            </a:extLst>
          </p:cNvPr>
          <p:cNvSpPr txBox="1">
            <a:spLocks/>
          </p:cNvSpPr>
          <p:nvPr/>
        </p:nvSpPr>
        <p:spPr>
          <a:xfrm>
            <a:off x="4527336" y="2858988"/>
            <a:ext cx="1308239"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b="1">
                <a:latin typeface="+mj-lt"/>
                <a:ea typeface="Lato Light" panose="020F0502020204030203" pitchFamily="34" charset="0"/>
                <a:cs typeface="Mukta ExtraLight" panose="020B0000000000000000" pitchFamily="34" charset="77"/>
              </a:rPr>
              <a:t>Organización</a:t>
            </a:r>
            <a:br>
              <a:rPr lang="en-GB" sz="1600" b="1">
                <a:latin typeface="+mj-lt"/>
                <a:ea typeface="Lato Light" panose="020F0502020204030203" pitchFamily="34" charset="0"/>
                <a:cs typeface="Mukta ExtraLight" panose="020B0000000000000000" pitchFamily="34" charset="77"/>
              </a:rPr>
            </a:br>
            <a:r>
              <a:rPr lang="en-GB" sz="1600" b="1">
                <a:latin typeface="+mj-lt"/>
                <a:ea typeface="Lato Light" panose="020F0502020204030203" pitchFamily="34" charset="0"/>
                <a:cs typeface="Mukta ExtraLight" panose="020B0000000000000000" pitchFamily="34" charset="77"/>
              </a:rPr>
              <a:t>Tipo</a:t>
            </a:r>
            <a:endParaRPr lang="en-GB" sz="1600" dirty="0">
              <a:latin typeface="+mj-lt"/>
              <a:ea typeface="Lato Light" panose="020F0502020204030203" pitchFamily="34" charset="0"/>
              <a:cs typeface="Mukta ExtraLight" panose="020B0000000000000000" pitchFamily="34" charset="77"/>
            </a:endParaRPr>
          </a:p>
        </p:txBody>
      </p:sp>
      <p:sp>
        <p:nvSpPr>
          <p:cNvPr id="102" name="Subtitle 2">
            <a:extLst>
              <a:ext uri="{FF2B5EF4-FFF2-40B4-BE49-F238E27FC236}">
                <a16:creationId xmlns:a16="http://schemas.microsoft.com/office/drawing/2014/main" xmlns="" id="{F78EB88B-14CD-41DE-976C-EC5300EF26CE}"/>
              </a:ext>
            </a:extLst>
          </p:cNvPr>
          <p:cNvSpPr txBox="1">
            <a:spLocks/>
          </p:cNvSpPr>
          <p:nvPr/>
        </p:nvSpPr>
        <p:spPr>
          <a:xfrm>
            <a:off x="4527336" y="4012953"/>
            <a:ext cx="1308239"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b="1">
                <a:latin typeface="+mj-lt"/>
                <a:ea typeface="Lato Light" panose="020F0502020204030203" pitchFamily="34" charset="0"/>
                <a:cs typeface="Mukta ExtraLight" panose="020B0000000000000000" pitchFamily="34" charset="77"/>
              </a:rPr>
              <a:t>Organización</a:t>
            </a:r>
            <a:br>
              <a:rPr lang="en-GB" sz="1600" b="1">
                <a:latin typeface="+mj-lt"/>
                <a:ea typeface="Lato Light" panose="020F0502020204030203" pitchFamily="34" charset="0"/>
                <a:cs typeface="Mukta ExtraLight" panose="020B0000000000000000" pitchFamily="34" charset="77"/>
              </a:rPr>
            </a:br>
            <a:r>
              <a:rPr lang="en-GB" sz="1600" b="1">
                <a:latin typeface="+mj-lt"/>
                <a:ea typeface="Lato Light" panose="020F0502020204030203" pitchFamily="34" charset="0"/>
                <a:cs typeface="Mukta ExtraLight" panose="020B0000000000000000" pitchFamily="34" charset="77"/>
              </a:rPr>
              <a:t>Tamaño</a:t>
            </a:r>
            <a:endParaRPr lang="en-GB" sz="1600" dirty="0">
              <a:latin typeface="+mj-lt"/>
              <a:ea typeface="Lato Light" panose="020F0502020204030203" pitchFamily="34" charset="0"/>
              <a:cs typeface="Mukta ExtraLight" panose="020B0000000000000000" pitchFamily="34" charset="77"/>
            </a:endParaRPr>
          </a:p>
        </p:txBody>
      </p:sp>
      <p:sp>
        <p:nvSpPr>
          <p:cNvPr id="103" name="Subtitle 2">
            <a:extLst>
              <a:ext uri="{FF2B5EF4-FFF2-40B4-BE49-F238E27FC236}">
                <a16:creationId xmlns:a16="http://schemas.microsoft.com/office/drawing/2014/main" xmlns="" id="{F939531B-4221-4CA6-A0FC-E9329DB88F89}"/>
              </a:ext>
            </a:extLst>
          </p:cNvPr>
          <p:cNvSpPr txBox="1">
            <a:spLocks/>
          </p:cNvSpPr>
          <p:nvPr/>
        </p:nvSpPr>
        <p:spPr>
          <a:xfrm>
            <a:off x="4450170" y="5277750"/>
            <a:ext cx="1308239"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b="1">
                <a:latin typeface="+mj-lt"/>
                <a:ea typeface="Lato Light" panose="020F0502020204030203" pitchFamily="34" charset="0"/>
                <a:cs typeface="Mukta ExtraLight" panose="020B0000000000000000" pitchFamily="34" charset="77"/>
              </a:rPr>
              <a:t>Organización</a:t>
            </a:r>
            <a:br>
              <a:rPr lang="en-GB" sz="1600" b="1">
                <a:latin typeface="+mj-lt"/>
                <a:ea typeface="Lato Light" panose="020F0502020204030203" pitchFamily="34" charset="0"/>
                <a:cs typeface="Mukta ExtraLight" panose="020B0000000000000000" pitchFamily="34" charset="77"/>
              </a:rPr>
            </a:br>
            <a:r>
              <a:rPr lang="en-GB" sz="1600" b="1">
                <a:latin typeface="+mj-lt"/>
                <a:ea typeface="Lato Light" panose="020F0502020204030203" pitchFamily="34" charset="0"/>
                <a:cs typeface="Mukta ExtraLight" panose="020B0000000000000000" pitchFamily="34" charset="77"/>
              </a:rPr>
              <a:t>Ingresos</a:t>
            </a:r>
            <a:endParaRPr lang="en-GB" sz="1600" dirty="0">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24378014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1789449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23325" y="329507"/>
            <a:ext cx="9442646" cy="789046"/>
          </a:xfrm>
        </p:spPr>
        <p:txBody>
          <a:bodyPr>
            <a:normAutofit/>
          </a:bodyPr>
          <a:lstStyle/>
          <a:p>
            <a:r>
              <a:rPr lang="en-GB" dirty="0"/>
              <a:t>Aprender de la crisis: Mirar más allá del modo de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48706" y="1737377"/>
            <a:ext cx="3894383" cy="486830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latin typeface="+mj-lt"/>
              </a:rPr>
              <a:t>De las organizaciones que entraron en modo de crisis, el 78% de los encuestados están de acuerdo en que sus capacidades de implementación de estrategias se fortalecieron como resultado de la crisis. </a:t>
            </a:r>
            <a:endParaRPr lang="en-US" sz="1800" dirty="0"/>
          </a:p>
          <a:p>
            <a:pPr algn="l">
              <a:lnSpc>
                <a:spcPct val="100000"/>
              </a:lnSpc>
              <a:spcBef>
                <a:spcPts val="600"/>
              </a:spcBef>
            </a:pPr>
            <a:r>
              <a:rPr lang="en-GB" sz="1800" dirty="0">
                <a:latin typeface="+mj-lt"/>
                <a:sym typeface="Wingdings" panose="05000000000000000000" pitchFamily="2" charset="2"/>
              </a:rPr>
              <a:t>Los descubrimientos positivos del Modo Crisis pueden trasladarse a la vida posterior a la crisis: el 79% de los encuestados coincidieron en que las modificaciones de las estructuras de los equipos que se introdujeron a raíz de la crisis se mantuvieron, el 74% coincidió en que se mantuvieron las estrechas asociaciones de trabajo entre los equipos multifuncionales y el 71% coincidió en que una comprensión más clara de las prioridades de la organización renovó su visión y sentido de la dirección.</a:t>
            </a:r>
            <a:endParaRPr lang="en-GB" sz="1800" dirty="0">
              <a:latin typeface="+mj-lt"/>
            </a:endParaRP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550278" y="6528494"/>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Fuente: Adaptado de Brightline Initiative en colaboración con Quartz Insights 2018</a:t>
            </a:r>
            <a:endParaRPr lang="en-GB" sz="1000" dirty="0">
              <a:latin typeface="+mj-lt"/>
              <a:ea typeface="League Spartan" charset="0"/>
              <a:cs typeface="Poppins" pitchFamily="2" charset="77"/>
            </a:endParaRPr>
          </a:p>
        </p:txBody>
      </p:sp>
      <p:sp>
        <p:nvSpPr>
          <p:cNvPr id="51" name="Subtitle 2">
            <a:extLst>
              <a:ext uri="{FF2B5EF4-FFF2-40B4-BE49-F238E27FC236}">
                <a16:creationId xmlns:a16="http://schemas.microsoft.com/office/drawing/2014/main" xmlns="" id="{1E04ACF3-59B5-48F9-B9F8-6B8F95B01226}"/>
              </a:ext>
            </a:extLst>
          </p:cNvPr>
          <p:cNvSpPr txBox="1">
            <a:spLocks/>
          </p:cNvSpPr>
          <p:nvPr/>
        </p:nvSpPr>
        <p:spPr>
          <a:xfrm>
            <a:off x="4774200" y="1194478"/>
            <a:ext cx="7626222" cy="14196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dirty="0">
                <a:latin typeface="+mj-lt"/>
                <a:ea typeface="Lato Light" panose="020F0502020204030203" pitchFamily="34" charset="0"/>
                <a:cs typeface="Mukta ExtraLight" panose="020B0000000000000000" pitchFamily="34" charset="77"/>
              </a:rPr>
              <a:t>"En general, las capacidades de implementación de la estrategia de mi organización se fortalecieron como resultado </a:t>
            </a:r>
            <a:br>
              <a:rPr lang="en-GB" sz="1600" dirty="0">
                <a:latin typeface="+mj-lt"/>
                <a:ea typeface="Lato Light" panose="020F0502020204030203" pitchFamily="34" charset="0"/>
                <a:cs typeface="Mukta ExtraLight" panose="020B0000000000000000" pitchFamily="34" charset="77"/>
              </a:rPr>
            </a:br>
            <a:r>
              <a:rPr lang="en-GB" sz="1600" dirty="0">
                <a:latin typeface="+mj-lt"/>
                <a:ea typeface="Lato Light" panose="020F0502020204030203" pitchFamily="34" charset="0"/>
                <a:cs typeface="Mukta ExtraLight" panose="020B0000000000000000" pitchFamily="34" charset="77"/>
              </a:rPr>
              <a:t>de la crisis" y "las capacidades de implementación de la estrategia se fortalecieron" </a:t>
            </a:r>
          </a:p>
          <a:p>
            <a:pPr algn="l">
              <a:lnSpc>
                <a:spcPct val="100000"/>
              </a:lnSpc>
              <a:spcBef>
                <a:spcPts val="600"/>
              </a:spcBef>
            </a:pPr>
            <a:endParaRPr lang="en-GB" sz="1600" dirty="0">
              <a:latin typeface="+mj-lt"/>
              <a:ea typeface="Lato Light" panose="020F0502020204030203" pitchFamily="34" charset="0"/>
              <a:cs typeface="Mukta ExtraLight" panose="020B0000000000000000" pitchFamily="34" charset="77"/>
            </a:endParaRPr>
          </a:p>
          <a:p>
            <a:pPr algn="l">
              <a:lnSpc>
                <a:spcPct val="100000"/>
              </a:lnSpc>
              <a:spcBef>
                <a:spcPts val="600"/>
              </a:spcBef>
            </a:pPr>
            <a:r>
              <a:rPr lang="en-GB" sz="1600" dirty="0">
                <a:latin typeface="+mj-lt"/>
                <a:ea typeface="Lato Light" panose="020F0502020204030203" pitchFamily="34" charset="0"/>
                <a:cs typeface="Mukta ExtraLight" panose="020B0000000000000000" pitchFamily="34" charset="77"/>
              </a:rPr>
              <a:t/>
            </a:r>
            <a:br>
              <a:rPr lang="en-GB" sz="1600" dirty="0">
                <a:latin typeface="+mj-lt"/>
                <a:ea typeface="Lato Light" panose="020F0502020204030203" pitchFamily="34" charset="0"/>
                <a:cs typeface="Mukta ExtraLight" panose="020B0000000000000000" pitchFamily="34" charset="77"/>
              </a:rPr>
            </a:br>
            <a:endParaRPr lang="en-GB" sz="1600" dirty="0">
              <a:latin typeface="+mj-lt"/>
              <a:ea typeface="Lato Light" panose="020F0502020204030203" pitchFamily="34" charset="0"/>
              <a:cs typeface="Mukta ExtraLight" panose="020B0000000000000000" pitchFamily="34" charset="77"/>
            </a:endParaRPr>
          </a:p>
        </p:txBody>
      </p:sp>
      <p:graphicFrame>
        <p:nvGraphicFramePr>
          <p:cNvPr id="27" name="Content Placeholder 6">
            <a:extLst>
              <a:ext uri="{FF2B5EF4-FFF2-40B4-BE49-F238E27FC236}">
                <a16:creationId xmlns:a16="http://schemas.microsoft.com/office/drawing/2014/main" xmlns="" id="{C9872CAE-D37F-49B7-A93E-4D93FC7A3F74}"/>
              </a:ext>
            </a:extLst>
          </p:cNvPr>
          <p:cNvGraphicFramePr>
            <a:graphicFrameLocks/>
          </p:cNvGraphicFramePr>
          <p:nvPr>
            <p:extLst>
              <p:ext uri="{D42A27DB-BD31-4B8C-83A1-F6EECF244321}">
                <p14:modId xmlns:p14="http://schemas.microsoft.com/office/powerpoint/2010/main" val="2980958884"/>
              </p:ext>
            </p:extLst>
          </p:nvPr>
        </p:nvGraphicFramePr>
        <p:xfrm>
          <a:off x="3943089" y="1822782"/>
          <a:ext cx="8112786" cy="4705712"/>
        </p:xfrm>
        <a:graphic>
          <a:graphicData uri="http://schemas.openxmlformats.org/drawingml/2006/table">
            <a:tbl>
              <a:tblPr firstRow="1" bandRow="1">
                <a:tableStyleId>{93296810-A885-4BE3-A3E7-6D5BEEA58F35}</a:tableStyleId>
              </a:tblPr>
              <a:tblGrid>
                <a:gridCol w="2704262">
                  <a:extLst>
                    <a:ext uri="{9D8B030D-6E8A-4147-A177-3AD203B41FA5}">
                      <a16:colId xmlns:a16="http://schemas.microsoft.com/office/drawing/2014/main" xmlns="" val="20000"/>
                    </a:ext>
                  </a:extLst>
                </a:gridCol>
                <a:gridCol w="2704262">
                  <a:extLst>
                    <a:ext uri="{9D8B030D-6E8A-4147-A177-3AD203B41FA5}">
                      <a16:colId xmlns:a16="http://schemas.microsoft.com/office/drawing/2014/main" xmlns="" val="20001"/>
                    </a:ext>
                  </a:extLst>
                </a:gridCol>
                <a:gridCol w="2704262">
                  <a:extLst>
                    <a:ext uri="{9D8B030D-6E8A-4147-A177-3AD203B41FA5}">
                      <a16:colId xmlns:a16="http://schemas.microsoft.com/office/drawing/2014/main" xmlns="" val="20002"/>
                    </a:ext>
                  </a:extLst>
                </a:gridCol>
              </a:tblGrid>
              <a:tr h="432598">
                <a:tc rowSpan="2">
                  <a:txBody>
                    <a:bodyPr/>
                    <a:lstStyle/>
                    <a:p>
                      <a:pPr lvl="0">
                        <a:buNone/>
                      </a:pPr>
                      <a:endParaRPr lang="en-GB" sz="1400" b="0" dirty="0">
                        <a:solidFill>
                          <a:schemeClr val="tx1"/>
                        </a:solidFill>
                      </a:endParaRPr>
                    </a:p>
                  </a:txBody>
                  <a:tcPr marT="45729" marB="45729" anchor="b"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endParaRPr lang="en-GB" sz="1600" b="0" i="1" dirty="0">
                        <a:solidFill>
                          <a:schemeClr val="tx1"/>
                        </a:solidFill>
                      </a:endParaRP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dirty="0"/>
                    </a:p>
                  </a:txBody>
                  <a:tcPr/>
                </a:tc>
                <a:extLst>
                  <a:ext uri="{0D108BD9-81ED-4DB2-BD59-A6C34878D82A}">
                    <a16:rowId xmlns:a16="http://schemas.microsoft.com/office/drawing/2014/main" xmlns="" val="10000"/>
                  </a:ext>
                </a:extLst>
              </a:tr>
              <a:tr h="432598">
                <a:tc vMerge="1">
                  <a:txBody>
                    <a:bodyPr/>
                    <a:lstStyle/>
                    <a:p>
                      <a:endParaRPr lang="en-US" dirty="0"/>
                    </a:p>
                  </a:txBody>
                  <a:tcPr/>
                </a:tc>
                <a:tc>
                  <a:txBody>
                    <a:bodyPr/>
                    <a:lstStyle/>
                    <a:p>
                      <a:pPr algn="ctr"/>
                      <a:r>
                        <a:rPr lang="en-GB" sz="1600" b="1" dirty="0">
                          <a:solidFill>
                            <a:srgbClr val="245473"/>
                          </a:solidFill>
                          <a:latin typeface="+mj-lt"/>
                        </a:rPr>
                        <a:t>De acuerdo</a:t>
                      </a: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600" b="1" dirty="0">
                          <a:solidFill>
                            <a:srgbClr val="245473"/>
                          </a:solidFill>
                          <a:latin typeface="+mj-lt"/>
                        </a:rPr>
                        <a:t>No estoy de acuerdo</a:t>
                      </a: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1436401">
                <a:tc>
                  <a:txBody>
                    <a:bodyPr/>
                    <a:lstStyle/>
                    <a:p>
                      <a:pPr marL="0" indent="0" algn="l"/>
                      <a:r>
                        <a:rPr lang="en-GB" sz="1600" b="1" dirty="0">
                          <a:solidFill>
                            <a:srgbClr val="245473"/>
                          </a:solidFill>
                          <a:latin typeface="+mj-lt"/>
                        </a:rPr>
                        <a:t>La empresa entró en </a:t>
                      </a:r>
                      <a:br>
                        <a:rPr lang="en-GB" sz="1600" b="1" dirty="0">
                          <a:solidFill>
                            <a:srgbClr val="245473"/>
                          </a:solidFill>
                          <a:latin typeface="+mj-lt"/>
                        </a:rPr>
                      </a:br>
                      <a:r>
                        <a:rPr lang="en-GB" sz="1600" b="1" dirty="0">
                          <a:solidFill>
                            <a:srgbClr val="245473"/>
                          </a:solidFill>
                          <a:latin typeface="+mj-lt"/>
                        </a:rPr>
                        <a:t>Modo de crisis</a:t>
                      </a: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600" dirty="0">
                          <a:latin typeface="+mj-lt"/>
                        </a:rPr>
                        <a:t>El 78% de los encuestados que están de acuerdo en que sus organizaciones entraron en Modo Crisis también están de acuerdo en que las capacidades de implementación de la estrategia de su organización se fortalecieron como resultado de la crisis (n=890)</a:t>
                      </a:r>
                      <a:endParaRPr lang="en-GB" sz="1600" dirty="0">
                        <a:solidFill>
                          <a:schemeClr val="accent4">
                            <a:lumMod val="10000"/>
                          </a:schemeClr>
                        </a:solidFill>
                        <a:latin typeface="+mj-lt"/>
                      </a:endParaRP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a:latin typeface="+mj-lt"/>
                        </a:rPr>
                        <a:t>El 5% de los encuestados que están de acuerdo en que sus organizaciones entraron en Modo Crisis también están en desacuerdo con que las capacidades de implementación de la estrategia de su organización se fortalecieron como resultado de la crisis (n=59)</a:t>
                      </a:r>
                      <a:endParaRPr lang="en-GB" sz="1600" dirty="0">
                        <a:solidFill>
                          <a:schemeClr val="accent4">
                            <a:lumMod val="10000"/>
                          </a:schemeClr>
                        </a:solidFill>
                        <a:latin typeface="+mj-lt"/>
                      </a:endParaRP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xmlns="" val="10002"/>
                  </a:ext>
                </a:extLst>
              </a:tr>
              <a:tr h="1436401">
                <a:tc>
                  <a:txBody>
                    <a:bodyPr/>
                    <a:lstStyle/>
                    <a:p>
                      <a:pPr marL="267970" indent="0" algn="l" defTabSz="914400" rtl="0" eaLnBrk="1" latinLnBrk="0" hangingPunct="1"/>
                      <a:r>
                        <a:rPr lang="en-GB" sz="1600" b="1" kern="1200" dirty="0">
                          <a:solidFill>
                            <a:srgbClr val="245473"/>
                          </a:solidFill>
                          <a:latin typeface="+mj-lt"/>
                          <a:ea typeface="+mn-ea"/>
                          <a:cs typeface="+mn-cs"/>
                        </a:rPr>
                        <a:t>La empresa no entró en modo crisis</a:t>
                      </a: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600" dirty="0">
                          <a:latin typeface="+mj-lt"/>
                        </a:rPr>
                        <a:t>El 47% de los encuestados que no están de acuerdo con que sus organizaciones entraran en Modo Crisis también están de acuerdo con que las capacidades de implementación de la estrategia de su organización se fortalecieron como resultado de la crisis (n=18)</a:t>
                      </a:r>
                      <a:endParaRPr lang="en-GB" sz="1600" dirty="0">
                        <a:solidFill>
                          <a:schemeClr val="accent4">
                            <a:lumMod val="10000"/>
                          </a:schemeClr>
                        </a:solidFill>
                        <a:latin typeface="+mj-lt"/>
                      </a:endParaRP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r>
                        <a:rPr lang="en-GB" sz="1600" dirty="0">
                          <a:latin typeface="+mj-lt"/>
                        </a:rPr>
                        <a:t>El 39% de los encuestados que no están de acuerdo con que sus organizaciones entraran en Modo Crisis también están en desacuerdo con que la capacidad de implementación de la estrategia de su organización se fortaleciera como resultado de la crisis (n=14)</a:t>
                      </a:r>
                      <a:endParaRPr lang="en-GB" sz="1600" dirty="0">
                        <a:solidFill>
                          <a:schemeClr val="accent4">
                            <a:lumMod val="10000"/>
                          </a:schemeClr>
                        </a:solidFill>
                        <a:latin typeface="+mj-lt"/>
                      </a:endParaRP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39754651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2808766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7" imgW="592" imgH="595" progId="TCLayout.ActiveDocument.1">
                  <p:embed/>
                </p:oleObj>
              </mc:Choice>
              <mc:Fallback>
                <p:oleObj name="think-cell Folie" r:id="rId7"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73180" y="519499"/>
            <a:ext cx="10901333" cy="1013016"/>
          </a:xfrm>
        </p:spPr>
        <p:txBody>
          <a:bodyPr>
            <a:normAutofit/>
          </a:bodyPr>
          <a:lstStyle/>
          <a:p>
            <a:r>
              <a:rPr lang="en-GB" dirty="0"/>
              <a:t>Aprender de la crisis: Aplicando las lecciones del Modo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4593" y="1759092"/>
            <a:ext cx="3645005" cy="514530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solidFill>
                  <a:srgbClr val="245473"/>
                </a:solidFill>
                <a:latin typeface="+mj-lt"/>
              </a:rPr>
              <a:t>De las organizaciones que entraron en modo de crisis, el 78% de los encuestados están de acuerdo en que sus capacidades de implementación de estrategias se fortalecieron como resultado de la crisis.</a:t>
            </a:r>
            <a:endParaRPr lang="en-US" sz="1800" dirty="0">
              <a:solidFill>
                <a:srgbClr val="245473"/>
              </a:solidFill>
            </a:endParaRPr>
          </a:p>
          <a:p>
            <a:pPr algn="l">
              <a:lnSpc>
                <a:spcPct val="100000"/>
              </a:lnSpc>
              <a:spcBef>
                <a:spcPts val="600"/>
              </a:spcBef>
            </a:pPr>
            <a:r>
              <a:rPr lang="en-GB" sz="1800" dirty="0">
                <a:solidFill>
                  <a:srgbClr val="245473"/>
                </a:solidFill>
                <a:latin typeface="+mj-lt"/>
                <a:sym typeface="Wingdings" panose="05000000000000000000" pitchFamily="2" charset="2"/>
              </a:rPr>
              <a:t>Los descubrimientos positivos del Modo Crisis pueden trasladarse a la vida posterior a la crisis: el 79% de los encuestados coincidieron en que las modificaciones de las estructuras de los equipos que se introdujeron a raíz de la crisis se mantuvieron, el 74% coincidió en que se mantuvieron las estrechas asociaciones de trabajo entre los equipos multifuncionales y el 71% coincidió en que una comprensión más clara de las prioridades de la organización renovó su visión y sentido de la dirección.</a:t>
            </a:r>
            <a:endParaRPr lang="en-GB" sz="1800" dirty="0">
              <a:solidFill>
                <a:srgbClr val="245473"/>
              </a:solidFill>
              <a:latin typeface="+mj-lt"/>
            </a:endParaRP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4011935" y="6408939"/>
            <a:ext cx="554572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Fuente: Adaptado de Brightline Initiative en colaboración con Quartz Insights 2018</a:t>
            </a:r>
          </a:p>
        </p:txBody>
      </p:sp>
      <p:sp>
        <p:nvSpPr>
          <p:cNvPr id="51" name="Subtitle 2">
            <a:extLst>
              <a:ext uri="{FF2B5EF4-FFF2-40B4-BE49-F238E27FC236}">
                <a16:creationId xmlns:a16="http://schemas.microsoft.com/office/drawing/2014/main" xmlns="" id="{1E04ACF3-59B5-48F9-B9F8-6B8F95B01226}"/>
              </a:ext>
            </a:extLst>
          </p:cNvPr>
          <p:cNvSpPr txBox="1">
            <a:spLocks/>
          </p:cNvSpPr>
          <p:nvPr/>
        </p:nvSpPr>
        <p:spPr>
          <a:xfrm>
            <a:off x="3694447" y="1901017"/>
            <a:ext cx="8235949"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latin typeface="+mj-lt"/>
                <a:ea typeface="Lato Light" panose="020F0502020204030203" pitchFamily="34" charset="0"/>
                <a:cs typeface="Mukta ExtraLight" panose="020B0000000000000000" pitchFamily="34" charset="77"/>
              </a:rPr>
              <a:t>"Del 75% de los encuestados que están de acuerdo en que las capacidades de implementación de la estrategia de su organización se fortalecieron como resultado de la crisis, estos son los cambios más comunes:"</a:t>
            </a:r>
          </a:p>
        </p:txBody>
      </p:sp>
      <p:graphicFrame>
        <p:nvGraphicFramePr>
          <p:cNvPr id="19" name="Chart 3">
            <a:extLst>
              <a:ext uri="{FF2B5EF4-FFF2-40B4-BE49-F238E27FC236}">
                <a16:creationId xmlns:a16="http://schemas.microsoft.com/office/drawing/2014/main" xmlns="" id="{846C8C18-4588-4C7A-9B95-2FE96F8C5D30}"/>
              </a:ext>
            </a:extLst>
          </p:cNvPr>
          <p:cNvGraphicFramePr/>
          <p:nvPr>
            <p:custDataLst>
              <p:tags r:id="rId4"/>
            </p:custDataLst>
            <p:extLst>
              <p:ext uri="{D42A27DB-BD31-4B8C-83A1-F6EECF244321}">
                <p14:modId xmlns:p14="http://schemas.microsoft.com/office/powerpoint/2010/main" val="1570107987"/>
              </p:ext>
            </p:extLst>
          </p:nvPr>
        </p:nvGraphicFramePr>
        <p:xfrm>
          <a:off x="8156575" y="2740025"/>
          <a:ext cx="3817938" cy="3106738"/>
        </p:xfrm>
        <a:graphic>
          <a:graphicData uri="http://schemas.openxmlformats.org/drawingml/2006/chart">
            <c:chart xmlns:c="http://schemas.openxmlformats.org/drawingml/2006/chart" xmlns:r="http://schemas.openxmlformats.org/officeDocument/2006/relationships" r:id="rId9"/>
          </a:graphicData>
        </a:graphic>
      </p:graphicFrame>
      <p:sp>
        <p:nvSpPr>
          <p:cNvPr id="69" name="Subtitle 2">
            <a:extLst>
              <a:ext uri="{FF2B5EF4-FFF2-40B4-BE49-F238E27FC236}">
                <a16:creationId xmlns:a16="http://schemas.microsoft.com/office/drawing/2014/main" xmlns="" id="{BA706CD8-A072-4FF3-804E-62BCBE48919C}"/>
              </a:ext>
            </a:extLst>
          </p:cNvPr>
          <p:cNvSpPr txBox="1">
            <a:spLocks/>
          </p:cNvSpPr>
          <p:nvPr/>
        </p:nvSpPr>
        <p:spPr>
          <a:xfrm>
            <a:off x="4133029" y="2847153"/>
            <a:ext cx="381793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dirty="0">
                <a:solidFill>
                  <a:schemeClr val="accent1"/>
                </a:solidFill>
                <a:latin typeface="+mj-lt"/>
                <a:ea typeface="Lato Light" panose="020F0502020204030203" pitchFamily="34" charset="0"/>
                <a:cs typeface="Mukta ExtraLight" panose="020B0000000000000000" pitchFamily="34" charset="77"/>
              </a:rPr>
              <a:t>Priorización de las iniciativas estratégicas</a:t>
            </a:r>
          </a:p>
        </p:txBody>
      </p:sp>
      <p:sp>
        <p:nvSpPr>
          <p:cNvPr id="70" name="Subtitle 2">
            <a:extLst>
              <a:ext uri="{FF2B5EF4-FFF2-40B4-BE49-F238E27FC236}">
                <a16:creationId xmlns:a16="http://schemas.microsoft.com/office/drawing/2014/main" xmlns="" id="{779F8CBA-9AB7-4F85-A52F-3C25A6D13AD1}"/>
              </a:ext>
            </a:extLst>
          </p:cNvPr>
          <p:cNvSpPr txBox="1">
            <a:spLocks/>
          </p:cNvSpPr>
          <p:nvPr/>
        </p:nvSpPr>
        <p:spPr>
          <a:xfrm>
            <a:off x="4133029" y="3174754"/>
            <a:ext cx="381793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dirty="0">
                <a:solidFill>
                  <a:schemeClr val="accent1"/>
                </a:solidFill>
                <a:latin typeface="+mj-lt"/>
                <a:ea typeface="Lato Light" panose="020F0502020204030203" pitchFamily="34" charset="0"/>
                <a:cs typeface="Mukta ExtraLight" panose="020B0000000000000000" pitchFamily="34" charset="77"/>
              </a:rPr>
              <a:t>Rapidez en la ejecución de los procesos existentes</a:t>
            </a:r>
          </a:p>
        </p:txBody>
      </p:sp>
      <p:sp>
        <p:nvSpPr>
          <p:cNvPr id="71" name="Subtitle 2">
            <a:extLst>
              <a:ext uri="{FF2B5EF4-FFF2-40B4-BE49-F238E27FC236}">
                <a16:creationId xmlns:a16="http://schemas.microsoft.com/office/drawing/2014/main" xmlns="" id="{8C6B0BBA-ED2F-480B-870B-61D8E4D22F7C}"/>
              </a:ext>
            </a:extLst>
          </p:cNvPr>
          <p:cNvSpPr txBox="1">
            <a:spLocks/>
          </p:cNvSpPr>
          <p:nvPr/>
        </p:nvSpPr>
        <p:spPr>
          <a:xfrm>
            <a:off x="4133029" y="3502355"/>
            <a:ext cx="381793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Rapidez en la toma de decisiones en general</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72" name="Subtitle 2">
            <a:extLst>
              <a:ext uri="{FF2B5EF4-FFF2-40B4-BE49-F238E27FC236}">
                <a16:creationId xmlns:a16="http://schemas.microsoft.com/office/drawing/2014/main" xmlns="" id="{520E7A87-8385-45E3-995B-453DF7A9A74D}"/>
              </a:ext>
            </a:extLst>
          </p:cNvPr>
          <p:cNvSpPr txBox="1">
            <a:spLocks/>
          </p:cNvSpPr>
          <p:nvPr/>
        </p:nvSpPr>
        <p:spPr>
          <a:xfrm>
            <a:off x="4133029" y="3829956"/>
            <a:ext cx="381793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Potenciación del equipo de crisis</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73" name="Subtitle 2">
            <a:extLst>
              <a:ext uri="{FF2B5EF4-FFF2-40B4-BE49-F238E27FC236}">
                <a16:creationId xmlns:a16="http://schemas.microsoft.com/office/drawing/2014/main" xmlns="" id="{22FB9E40-3009-4F70-9FE6-743E77B97F98}"/>
              </a:ext>
            </a:extLst>
          </p:cNvPr>
          <p:cNvSpPr txBox="1">
            <a:spLocks/>
          </p:cNvSpPr>
          <p:nvPr/>
        </p:nvSpPr>
        <p:spPr>
          <a:xfrm>
            <a:off x="3602080" y="4191316"/>
            <a:ext cx="4416405"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dirty="0">
                <a:solidFill>
                  <a:schemeClr val="accent1"/>
                </a:solidFill>
                <a:latin typeface="+mj-lt"/>
                <a:ea typeface="Lato Light" panose="020F0502020204030203" pitchFamily="34" charset="0"/>
                <a:cs typeface="Mukta ExtraLight" panose="020B0000000000000000" pitchFamily="34" charset="77"/>
              </a:rPr>
              <a:t>Participación de alto nivel en las actividades diarias del equipo</a:t>
            </a:r>
          </a:p>
        </p:txBody>
      </p:sp>
      <p:sp>
        <p:nvSpPr>
          <p:cNvPr id="76" name="Subtitle 2">
            <a:extLst>
              <a:ext uri="{FF2B5EF4-FFF2-40B4-BE49-F238E27FC236}">
                <a16:creationId xmlns:a16="http://schemas.microsoft.com/office/drawing/2014/main" xmlns="" id="{8AA6FE4B-D876-46E0-B0D4-4AF9EA19CD92}"/>
              </a:ext>
            </a:extLst>
          </p:cNvPr>
          <p:cNvSpPr txBox="1">
            <a:spLocks/>
          </p:cNvSpPr>
          <p:nvPr/>
        </p:nvSpPr>
        <p:spPr>
          <a:xfrm>
            <a:off x="3669598" y="4543031"/>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Responsabilidades de liderazgo</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77" name="Subtitle 2">
            <a:extLst>
              <a:ext uri="{FF2B5EF4-FFF2-40B4-BE49-F238E27FC236}">
                <a16:creationId xmlns:a16="http://schemas.microsoft.com/office/drawing/2014/main" xmlns="" id="{F7B5B3D8-814A-4123-AA47-82501C1B8462}"/>
              </a:ext>
            </a:extLst>
          </p:cNvPr>
          <p:cNvSpPr txBox="1">
            <a:spLocks/>
          </p:cNvSpPr>
          <p:nvPr/>
        </p:nvSpPr>
        <p:spPr>
          <a:xfrm>
            <a:off x="3669598" y="4812759"/>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Mayor toma de decisiones por parte de los equipos autónomos</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78" name="Subtitle 2">
            <a:extLst>
              <a:ext uri="{FF2B5EF4-FFF2-40B4-BE49-F238E27FC236}">
                <a16:creationId xmlns:a16="http://schemas.microsoft.com/office/drawing/2014/main" xmlns="" id="{D2AC08E5-C080-4291-8AC7-B4604958391D}"/>
              </a:ext>
            </a:extLst>
          </p:cNvPr>
          <p:cNvSpPr txBox="1">
            <a:spLocks/>
          </p:cNvSpPr>
          <p:nvPr/>
        </p:nvSpPr>
        <p:spPr>
          <a:xfrm>
            <a:off x="3669598" y="5140360"/>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Estructuras y responsabilidades del equipo</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79" name="Subtitle 2">
            <a:extLst>
              <a:ext uri="{FF2B5EF4-FFF2-40B4-BE49-F238E27FC236}">
                <a16:creationId xmlns:a16="http://schemas.microsoft.com/office/drawing/2014/main" xmlns="" id="{80E87F8D-153F-4DF7-84C3-39F5A9511F9C}"/>
              </a:ext>
            </a:extLst>
          </p:cNvPr>
          <p:cNvSpPr txBox="1">
            <a:spLocks/>
          </p:cNvSpPr>
          <p:nvPr/>
        </p:nvSpPr>
        <p:spPr>
          <a:xfrm>
            <a:off x="3669598" y="5467961"/>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Comunicaciones internas</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23517633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P.OPPEB4eJ1QELZK.wfG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7UmAbO0JOneCaEq9H5WU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L76jNrXhYOiOBMwdY57t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PrBRxdU.nz7FpeHARX3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DRCOIuJlIpjitVt2IpD2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s6O6jKTewWn2mwxcxG2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6fzZeSif8wfOvEDpA1QTP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RLHAuMFpWfvkY8b84b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PRcOE80K7LPQg2EGGSS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5zY5DBIuvDQbSXbT2sY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UZhYgDBPgDtA1MLG6uoW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JfmGs9LnW0urMqsOp1R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1992ml82FbeAXrrubaT7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5K8JE8cz3823jiEVUBJ7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bDcAyBHandUNz.ehUtse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LJWidb8PVMvzWfHuHQkD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7</TotalTime>
  <Words>8323</Words>
  <Application>Microsoft Office PowerPoint</Application>
  <PresentationFormat>Custom</PresentationFormat>
  <Paragraphs>688</Paragraphs>
  <Slides>52</Slides>
  <Notes>51</Notes>
  <HiddenSlides>0</HiddenSlides>
  <MMClips>1</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52</vt:i4>
      </vt:variant>
    </vt:vector>
  </HeadingPairs>
  <TitlesOfParts>
    <vt:vector size="55" baseType="lpstr">
      <vt:lpstr>Office Theme</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Carol Daniels</cp:lastModifiedBy>
  <cp:revision>864</cp:revision>
  <cp:lastPrinted>2021-03-15T08:04:24Z</cp:lastPrinted>
  <dcterms:created xsi:type="dcterms:W3CDTF">2020-11-19T10:19:39Z</dcterms:created>
  <dcterms:modified xsi:type="dcterms:W3CDTF">2022-04-21T15:10:04Z</dcterms:modified>
</cp:coreProperties>
</file>